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5.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1.xml" ContentType="application/vnd.openxmlformats-officedocument.presentationml.notesSlid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685" r:id="rId5"/>
    <p:sldMasterId id="2147484711" r:id="rId6"/>
    <p:sldMasterId id="2147484728" r:id="rId7"/>
    <p:sldMasterId id="2147484742" r:id="rId8"/>
    <p:sldMasterId id="2147484776" r:id="rId9"/>
    <p:sldMasterId id="2147484790" r:id="rId10"/>
    <p:sldMasterId id="2147484811" r:id="rId11"/>
    <p:sldMasterId id="2147484848" r:id="rId12"/>
    <p:sldMasterId id="2147484887" r:id="rId13"/>
  </p:sldMasterIdLst>
  <p:notesMasterIdLst>
    <p:notesMasterId r:id="rId39"/>
  </p:notesMasterIdLst>
  <p:handoutMasterIdLst>
    <p:handoutMasterId r:id="rId40"/>
  </p:handoutMasterIdLst>
  <p:sldIdLst>
    <p:sldId id="1661" r:id="rId14"/>
    <p:sldId id="2147470286" r:id="rId15"/>
    <p:sldId id="2147469889" r:id="rId16"/>
    <p:sldId id="2145706546" r:id="rId17"/>
    <p:sldId id="2147469877" r:id="rId18"/>
    <p:sldId id="390" r:id="rId19"/>
    <p:sldId id="2145706505" r:id="rId20"/>
    <p:sldId id="2145706506" r:id="rId21"/>
    <p:sldId id="2145706507" r:id="rId22"/>
    <p:sldId id="2145706508" r:id="rId23"/>
    <p:sldId id="2134804697" r:id="rId24"/>
    <p:sldId id="4088" r:id="rId25"/>
    <p:sldId id="410" r:id="rId26"/>
    <p:sldId id="590" r:id="rId27"/>
    <p:sldId id="359" r:id="rId28"/>
    <p:sldId id="2076136339" r:id="rId29"/>
    <p:sldId id="2134805770" r:id="rId30"/>
    <p:sldId id="2147470412" r:id="rId31"/>
    <p:sldId id="275" r:id="rId32"/>
    <p:sldId id="276" r:id="rId33"/>
    <p:sldId id="2134804703" r:id="rId34"/>
    <p:sldId id="2140" r:id="rId35"/>
    <p:sldId id="2143" r:id="rId36"/>
    <p:sldId id="562" r:id="rId37"/>
    <p:sldId id="1848" r:id="rId38"/>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2FA0"/>
    <a:srgbClr val="832B8F"/>
    <a:srgbClr val="5E5E60"/>
    <a:srgbClr val="B02E7F"/>
    <a:srgbClr val="F26224"/>
    <a:srgbClr val="FFFFFF"/>
    <a:srgbClr val="1A1A1A"/>
    <a:srgbClr val="0078D4"/>
    <a:srgbClr val="107C1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840" autoAdjust="0"/>
    <p:restoredTop sz="92109" autoAdjust="0"/>
  </p:normalViewPr>
  <p:slideViewPr>
    <p:cSldViewPr snapToGrid="0">
      <p:cViewPr varScale="1">
        <p:scale>
          <a:sx n="96" d="100"/>
          <a:sy n="96" d="100"/>
        </p:scale>
        <p:origin x="76" y="396"/>
      </p:cViewPr>
      <p:guideLst/>
    </p:cSldViewPr>
  </p:slideViewPr>
  <p:outlineViewPr>
    <p:cViewPr>
      <p:scale>
        <a:sx n="33" d="100"/>
        <a:sy n="33" d="100"/>
      </p:scale>
      <p:origin x="0" y="-6516"/>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5" d="100"/>
          <a:sy n="75" d="100"/>
        </p:scale>
        <p:origin x="2766" y="3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notesMaster" Target="notesMasters/notesMaster1.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microsoft.com/office/2016/11/relationships/changesInfo" Target="changesInfos/changesInfo1.xml"/><Relationship Id="rId20" Type="http://schemas.openxmlformats.org/officeDocument/2006/relationships/slide" Target="slides/slide7.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iver Zofic" userId="d6ddd209-c29f-4460-a224-78978e8bea08" providerId="ADAL" clId="{C9EF86D7-374D-4F01-9565-EA57B1340A87}"/>
    <pc:docChg chg="undo redo custSel delSld modSld">
      <pc:chgData name="Oliver Zofic" userId="d6ddd209-c29f-4460-a224-78978e8bea08" providerId="ADAL" clId="{C9EF86D7-374D-4F01-9565-EA57B1340A87}" dt="2022-10-26T08:59:11.370" v="19" actId="478"/>
      <pc:docMkLst>
        <pc:docMk/>
      </pc:docMkLst>
      <pc:sldChg chg="del">
        <pc:chgData name="Oliver Zofic" userId="d6ddd209-c29f-4460-a224-78978e8bea08" providerId="ADAL" clId="{C9EF86D7-374D-4F01-9565-EA57B1340A87}" dt="2022-10-26T08:58:23.593" v="14" actId="47"/>
        <pc:sldMkLst>
          <pc:docMk/>
          <pc:sldMk cId="4108671185" sldId="391"/>
        </pc:sldMkLst>
      </pc:sldChg>
      <pc:sldChg chg="del">
        <pc:chgData name="Oliver Zofic" userId="d6ddd209-c29f-4460-a224-78978e8bea08" providerId="ADAL" clId="{C9EF86D7-374D-4F01-9565-EA57B1340A87}" dt="2022-10-26T08:58:23.593" v="14" actId="47"/>
        <pc:sldMkLst>
          <pc:docMk/>
          <pc:sldMk cId="2499513754" sldId="392"/>
        </pc:sldMkLst>
      </pc:sldChg>
      <pc:sldChg chg="del">
        <pc:chgData name="Oliver Zofic" userId="d6ddd209-c29f-4460-a224-78978e8bea08" providerId="ADAL" clId="{C9EF86D7-374D-4F01-9565-EA57B1340A87}" dt="2022-10-26T08:58:23.593" v="14" actId="47"/>
        <pc:sldMkLst>
          <pc:docMk/>
          <pc:sldMk cId="1159353737" sldId="393"/>
        </pc:sldMkLst>
      </pc:sldChg>
      <pc:sldChg chg="del">
        <pc:chgData name="Oliver Zofic" userId="d6ddd209-c29f-4460-a224-78978e8bea08" providerId="ADAL" clId="{C9EF86D7-374D-4F01-9565-EA57B1340A87}" dt="2022-10-26T08:58:23.593" v="14" actId="47"/>
        <pc:sldMkLst>
          <pc:docMk/>
          <pc:sldMk cId="2079260248" sldId="394"/>
        </pc:sldMkLst>
      </pc:sldChg>
      <pc:sldChg chg="del">
        <pc:chgData name="Oliver Zofic" userId="d6ddd209-c29f-4460-a224-78978e8bea08" providerId="ADAL" clId="{C9EF86D7-374D-4F01-9565-EA57B1340A87}" dt="2022-10-26T08:58:23.593" v="14" actId="47"/>
        <pc:sldMkLst>
          <pc:docMk/>
          <pc:sldMk cId="2548628166" sldId="395"/>
        </pc:sldMkLst>
      </pc:sldChg>
      <pc:sldChg chg="addSp delSp modSp mod modClrScheme chgLayout">
        <pc:chgData name="Oliver Zofic" userId="d6ddd209-c29f-4460-a224-78978e8bea08" providerId="ADAL" clId="{C9EF86D7-374D-4F01-9565-EA57B1340A87}" dt="2022-10-26T08:58:01.491" v="13"/>
        <pc:sldMkLst>
          <pc:docMk/>
          <pc:sldMk cId="1795078537" sldId="1661"/>
        </pc:sldMkLst>
        <pc:spChg chg="add del mod ord">
          <ac:chgData name="Oliver Zofic" userId="d6ddd209-c29f-4460-a224-78978e8bea08" providerId="ADAL" clId="{C9EF86D7-374D-4F01-9565-EA57B1340A87}" dt="2022-10-26T08:57:36.450" v="2" actId="700"/>
          <ac:spMkLst>
            <pc:docMk/>
            <pc:sldMk cId="1795078537" sldId="1661"/>
            <ac:spMk id="2" creationId="{42C10DB3-C1AB-51CD-DB53-BBC001AF573E}"/>
          </ac:spMkLst>
        </pc:spChg>
        <pc:spChg chg="mod ord">
          <ac:chgData name="Oliver Zofic" userId="d6ddd209-c29f-4460-a224-78978e8bea08" providerId="ADAL" clId="{C9EF86D7-374D-4F01-9565-EA57B1340A87}" dt="2022-10-26T08:58:01.491" v="13"/>
          <ac:spMkLst>
            <pc:docMk/>
            <pc:sldMk cId="1795078537" sldId="1661"/>
            <ac:spMk id="3" creationId="{504AD249-6AA7-EA85-CF4B-DF9536C1E352}"/>
          </ac:spMkLst>
        </pc:spChg>
        <pc:spChg chg="mod ord">
          <ac:chgData name="Oliver Zofic" userId="d6ddd209-c29f-4460-a224-78978e8bea08" providerId="ADAL" clId="{C9EF86D7-374D-4F01-9565-EA57B1340A87}" dt="2022-10-26T08:57:45.560" v="3" actId="1076"/>
          <ac:spMkLst>
            <pc:docMk/>
            <pc:sldMk cId="1795078537" sldId="1661"/>
            <ac:spMk id="7" creationId="{EDFBDDBD-5C64-9EAE-90C8-6F39B22C3273}"/>
          </ac:spMkLst>
        </pc:spChg>
      </pc:sldChg>
      <pc:sldChg chg="del">
        <pc:chgData name="Oliver Zofic" userId="d6ddd209-c29f-4460-a224-78978e8bea08" providerId="ADAL" clId="{C9EF86D7-374D-4F01-9565-EA57B1340A87}" dt="2022-10-26T08:57:20.553" v="0" actId="47"/>
        <pc:sldMkLst>
          <pc:docMk/>
          <pc:sldMk cId="836624634" sldId="1841"/>
        </pc:sldMkLst>
      </pc:sldChg>
      <pc:sldChg chg="addSp delSp modSp mod modClrScheme chgLayout">
        <pc:chgData name="Oliver Zofic" userId="d6ddd209-c29f-4460-a224-78978e8bea08" providerId="ADAL" clId="{C9EF86D7-374D-4F01-9565-EA57B1340A87}" dt="2022-10-26T08:59:11.370" v="19" actId="478"/>
        <pc:sldMkLst>
          <pc:docMk/>
          <pc:sldMk cId="2233339425" sldId="1848"/>
        </pc:sldMkLst>
        <pc:spChg chg="del mod ord">
          <ac:chgData name="Oliver Zofic" userId="d6ddd209-c29f-4460-a224-78978e8bea08" providerId="ADAL" clId="{C9EF86D7-374D-4F01-9565-EA57B1340A87}" dt="2022-10-26T08:59:11.370" v="19" actId="478"/>
          <ac:spMkLst>
            <pc:docMk/>
            <pc:sldMk cId="2233339425" sldId="1848"/>
            <ac:spMk id="2" creationId="{E8055DAE-F89C-4A41-8A5F-108692B6BBE3}"/>
          </ac:spMkLst>
        </pc:spChg>
        <pc:spChg chg="add mod ord">
          <ac:chgData name="Oliver Zofic" userId="d6ddd209-c29f-4460-a224-78978e8bea08" providerId="ADAL" clId="{C9EF86D7-374D-4F01-9565-EA57B1340A87}" dt="2022-10-26T08:59:07.176" v="18" actId="20577"/>
          <ac:spMkLst>
            <pc:docMk/>
            <pc:sldMk cId="2233339425" sldId="1848"/>
            <ac:spMk id="3" creationId="{198EDC6D-E610-1C77-5EA2-4141E9FD8736}"/>
          </ac:spMkLst>
        </pc:spChg>
      </pc:sldChg>
    </pc:docChg>
  </pc:docChgLst>
  <pc:docChgLst>
    <pc:chgData name="Oliver Zofic" userId="d6ddd209-c29f-4460-a224-78978e8bea08" providerId="ADAL" clId="{E45245C7-89AD-47A4-B490-2B868262D57E}"/>
    <pc:docChg chg="undo redo custSel addSld delSld modSld sldOrd delMainMaster">
      <pc:chgData name="Oliver Zofic" userId="d6ddd209-c29f-4460-a224-78978e8bea08" providerId="ADAL" clId="{E45245C7-89AD-47A4-B490-2B868262D57E}" dt="2022-09-25T07:42:14.093" v="204"/>
      <pc:docMkLst>
        <pc:docMk/>
      </pc:docMkLst>
      <pc:sldChg chg="add del ord">
        <pc:chgData name="Oliver Zofic" userId="d6ddd209-c29f-4460-a224-78978e8bea08" providerId="ADAL" clId="{E45245C7-89AD-47A4-B490-2B868262D57E}" dt="2022-09-25T07:32:32.465" v="190"/>
        <pc:sldMkLst>
          <pc:docMk/>
          <pc:sldMk cId="394045490" sldId="275"/>
        </pc:sldMkLst>
      </pc:sldChg>
      <pc:sldChg chg="add del ord">
        <pc:chgData name="Oliver Zofic" userId="d6ddd209-c29f-4460-a224-78978e8bea08" providerId="ADAL" clId="{E45245C7-89AD-47A4-B490-2B868262D57E}" dt="2022-09-25T07:32:32.465" v="190"/>
        <pc:sldMkLst>
          <pc:docMk/>
          <pc:sldMk cId="2758250939" sldId="276"/>
        </pc:sldMkLst>
      </pc:sldChg>
      <pc:sldChg chg="add del ord setBg">
        <pc:chgData name="Oliver Zofic" userId="d6ddd209-c29f-4460-a224-78978e8bea08" providerId="ADAL" clId="{E45245C7-89AD-47A4-B490-2B868262D57E}" dt="2022-09-25T06:52:55.264" v="125"/>
        <pc:sldMkLst>
          <pc:docMk/>
          <pc:sldMk cId="859274207" sldId="359"/>
        </pc:sldMkLst>
      </pc:sldChg>
      <pc:sldChg chg="add del ord">
        <pc:chgData name="Oliver Zofic" userId="d6ddd209-c29f-4460-a224-78978e8bea08" providerId="ADAL" clId="{E45245C7-89AD-47A4-B490-2B868262D57E}" dt="2022-09-25T07:19:59.172" v="144"/>
        <pc:sldMkLst>
          <pc:docMk/>
          <pc:sldMk cId="4211451807" sldId="390"/>
        </pc:sldMkLst>
      </pc:sldChg>
      <pc:sldChg chg="add del ord">
        <pc:chgData name="Oliver Zofic" userId="d6ddd209-c29f-4460-a224-78978e8bea08" providerId="ADAL" clId="{E45245C7-89AD-47A4-B490-2B868262D57E}" dt="2022-09-25T07:19:59.172" v="144"/>
        <pc:sldMkLst>
          <pc:docMk/>
          <pc:sldMk cId="4108671185" sldId="391"/>
        </pc:sldMkLst>
      </pc:sldChg>
      <pc:sldChg chg="add del ord">
        <pc:chgData name="Oliver Zofic" userId="d6ddd209-c29f-4460-a224-78978e8bea08" providerId="ADAL" clId="{E45245C7-89AD-47A4-B490-2B868262D57E}" dt="2022-09-25T07:19:59.172" v="144"/>
        <pc:sldMkLst>
          <pc:docMk/>
          <pc:sldMk cId="2499513754" sldId="392"/>
        </pc:sldMkLst>
      </pc:sldChg>
      <pc:sldChg chg="add del ord">
        <pc:chgData name="Oliver Zofic" userId="d6ddd209-c29f-4460-a224-78978e8bea08" providerId="ADAL" clId="{E45245C7-89AD-47A4-B490-2B868262D57E}" dt="2022-09-25T07:19:59.172" v="144"/>
        <pc:sldMkLst>
          <pc:docMk/>
          <pc:sldMk cId="1159353737" sldId="393"/>
        </pc:sldMkLst>
      </pc:sldChg>
      <pc:sldChg chg="add del ord">
        <pc:chgData name="Oliver Zofic" userId="d6ddd209-c29f-4460-a224-78978e8bea08" providerId="ADAL" clId="{E45245C7-89AD-47A4-B490-2B868262D57E}" dt="2022-09-25T07:19:59.172" v="144"/>
        <pc:sldMkLst>
          <pc:docMk/>
          <pc:sldMk cId="2079260248" sldId="394"/>
        </pc:sldMkLst>
      </pc:sldChg>
      <pc:sldChg chg="add del ord">
        <pc:chgData name="Oliver Zofic" userId="d6ddd209-c29f-4460-a224-78978e8bea08" providerId="ADAL" clId="{E45245C7-89AD-47A4-B490-2B868262D57E}" dt="2022-09-25T07:19:59.172" v="144"/>
        <pc:sldMkLst>
          <pc:docMk/>
          <pc:sldMk cId="2548628166" sldId="395"/>
        </pc:sldMkLst>
      </pc:sldChg>
      <pc:sldChg chg="add ord">
        <pc:chgData name="Oliver Zofic" userId="d6ddd209-c29f-4460-a224-78978e8bea08" providerId="ADAL" clId="{E45245C7-89AD-47A4-B490-2B868262D57E}" dt="2022-09-25T07:36:50.045" v="198"/>
        <pc:sldMkLst>
          <pc:docMk/>
          <pc:sldMk cId="2897349093" sldId="410"/>
        </pc:sldMkLst>
      </pc:sldChg>
      <pc:sldChg chg="add del ord">
        <pc:chgData name="Oliver Zofic" userId="d6ddd209-c29f-4460-a224-78978e8bea08" providerId="ADAL" clId="{E45245C7-89AD-47A4-B490-2B868262D57E}" dt="2022-09-25T07:30:41.163" v="186" actId="47"/>
        <pc:sldMkLst>
          <pc:docMk/>
          <pc:sldMk cId="3641275945" sldId="435"/>
        </pc:sldMkLst>
      </pc:sldChg>
      <pc:sldChg chg="add del ord setBg">
        <pc:chgData name="Oliver Zofic" userId="d6ddd209-c29f-4460-a224-78978e8bea08" providerId="ADAL" clId="{E45245C7-89AD-47A4-B490-2B868262D57E}" dt="2022-09-25T06:53:01.989" v="127"/>
        <pc:sldMkLst>
          <pc:docMk/>
          <pc:sldMk cId="75133594" sldId="562"/>
        </pc:sldMkLst>
      </pc:sldChg>
      <pc:sldChg chg="add del mod setBg modShow">
        <pc:chgData name="Oliver Zofic" userId="d6ddd209-c29f-4460-a224-78978e8bea08" providerId="ADAL" clId="{E45245C7-89AD-47A4-B490-2B868262D57E}" dt="2022-09-25T06:52:30.369" v="123" actId="729"/>
        <pc:sldMkLst>
          <pc:docMk/>
          <pc:sldMk cId="3496817489" sldId="590"/>
        </pc:sldMkLst>
      </pc:sldChg>
      <pc:sldChg chg="del">
        <pc:chgData name="Oliver Zofic" userId="d6ddd209-c29f-4460-a224-78978e8bea08" providerId="ADAL" clId="{E45245C7-89AD-47A4-B490-2B868262D57E}" dt="2022-09-25T06:38:46.024" v="74" actId="47"/>
        <pc:sldMkLst>
          <pc:docMk/>
          <pc:sldMk cId="203203085" sldId="1527"/>
        </pc:sldMkLst>
      </pc:sldChg>
      <pc:sldChg chg="del">
        <pc:chgData name="Oliver Zofic" userId="d6ddd209-c29f-4460-a224-78978e8bea08" providerId="ADAL" clId="{E45245C7-89AD-47A4-B490-2B868262D57E}" dt="2022-09-25T06:38:46.024" v="74" actId="47"/>
        <pc:sldMkLst>
          <pc:docMk/>
          <pc:sldMk cId="1437568374" sldId="1580"/>
        </pc:sldMkLst>
      </pc:sldChg>
      <pc:sldChg chg="del">
        <pc:chgData name="Oliver Zofic" userId="d6ddd209-c29f-4460-a224-78978e8bea08" providerId="ADAL" clId="{E45245C7-89AD-47A4-B490-2B868262D57E}" dt="2022-09-25T06:38:46.024" v="74" actId="47"/>
        <pc:sldMkLst>
          <pc:docMk/>
          <pc:sldMk cId="1726605425" sldId="1581"/>
        </pc:sldMkLst>
      </pc:sldChg>
      <pc:sldChg chg="del">
        <pc:chgData name="Oliver Zofic" userId="d6ddd209-c29f-4460-a224-78978e8bea08" providerId="ADAL" clId="{E45245C7-89AD-47A4-B490-2B868262D57E}" dt="2022-09-25T06:38:46.024" v="74" actId="47"/>
        <pc:sldMkLst>
          <pc:docMk/>
          <pc:sldMk cId="1132156054" sldId="1582"/>
        </pc:sldMkLst>
      </pc:sldChg>
      <pc:sldChg chg="del">
        <pc:chgData name="Oliver Zofic" userId="d6ddd209-c29f-4460-a224-78978e8bea08" providerId="ADAL" clId="{E45245C7-89AD-47A4-B490-2B868262D57E}" dt="2022-09-25T06:38:46.024" v="74" actId="47"/>
        <pc:sldMkLst>
          <pc:docMk/>
          <pc:sldMk cId="3957722359" sldId="1660"/>
        </pc:sldMkLst>
      </pc:sldChg>
      <pc:sldChg chg="modSp mod">
        <pc:chgData name="Oliver Zofic" userId="d6ddd209-c29f-4460-a224-78978e8bea08" providerId="ADAL" clId="{E45245C7-89AD-47A4-B490-2B868262D57E}" dt="2022-09-25T06:34:42.626" v="61" actId="20577"/>
        <pc:sldMkLst>
          <pc:docMk/>
          <pc:sldMk cId="1795078537" sldId="1661"/>
        </pc:sldMkLst>
        <pc:spChg chg="mod">
          <ac:chgData name="Oliver Zofic" userId="d6ddd209-c29f-4460-a224-78978e8bea08" providerId="ADAL" clId="{E45245C7-89AD-47A4-B490-2B868262D57E}" dt="2022-09-25T06:34:05.026" v="6"/>
          <ac:spMkLst>
            <pc:docMk/>
            <pc:sldMk cId="1795078537" sldId="1661"/>
            <ac:spMk id="3" creationId="{504AD249-6AA7-EA85-CF4B-DF9536C1E352}"/>
          </ac:spMkLst>
        </pc:spChg>
        <pc:spChg chg="mod">
          <ac:chgData name="Oliver Zofic" userId="d6ddd209-c29f-4460-a224-78978e8bea08" providerId="ADAL" clId="{E45245C7-89AD-47A4-B490-2B868262D57E}" dt="2022-09-25T06:34:42.626" v="61" actId="20577"/>
          <ac:spMkLst>
            <pc:docMk/>
            <pc:sldMk cId="1795078537" sldId="1661"/>
            <ac:spMk id="7" creationId="{EDFBDDBD-5C64-9EAE-90C8-6F39B22C3273}"/>
          </ac:spMkLst>
        </pc:spChg>
      </pc:sldChg>
      <pc:sldChg chg="del">
        <pc:chgData name="Oliver Zofic" userId="d6ddd209-c29f-4460-a224-78978e8bea08" providerId="ADAL" clId="{E45245C7-89AD-47A4-B490-2B868262D57E}" dt="2022-09-25T06:38:46.024" v="74" actId="47"/>
        <pc:sldMkLst>
          <pc:docMk/>
          <pc:sldMk cId="1793706927" sldId="1670"/>
        </pc:sldMkLst>
      </pc:sldChg>
      <pc:sldChg chg="del">
        <pc:chgData name="Oliver Zofic" userId="d6ddd209-c29f-4460-a224-78978e8bea08" providerId="ADAL" clId="{E45245C7-89AD-47A4-B490-2B868262D57E}" dt="2022-09-25T06:38:46.024" v="74" actId="47"/>
        <pc:sldMkLst>
          <pc:docMk/>
          <pc:sldMk cId="1490695021" sldId="1716"/>
        </pc:sldMkLst>
      </pc:sldChg>
      <pc:sldChg chg="del">
        <pc:chgData name="Oliver Zofic" userId="d6ddd209-c29f-4460-a224-78978e8bea08" providerId="ADAL" clId="{E45245C7-89AD-47A4-B490-2B868262D57E}" dt="2022-09-25T06:35:15.111" v="62" actId="47"/>
        <pc:sldMkLst>
          <pc:docMk/>
          <pc:sldMk cId="886646989" sldId="1844"/>
        </pc:sldMkLst>
      </pc:sldChg>
      <pc:sldChg chg="del">
        <pc:chgData name="Oliver Zofic" userId="d6ddd209-c29f-4460-a224-78978e8bea08" providerId="ADAL" clId="{E45245C7-89AD-47A4-B490-2B868262D57E}" dt="2022-09-25T06:38:46.024" v="74" actId="47"/>
        <pc:sldMkLst>
          <pc:docMk/>
          <pc:sldMk cId="674557883" sldId="1845"/>
        </pc:sldMkLst>
      </pc:sldChg>
      <pc:sldChg chg="del">
        <pc:chgData name="Oliver Zofic" userId="d6ddd209-c29f-4460-a224-78978e8bea08" providerId="ADAL" clId="{E45245C7-89AD-47A4-B490-2B868262D57E}" dt="2022-09-25T06:38:46.024" v="74" actId="47"/>
        <pc:sldMkLst>
          <pc:docMk/>
          <pc:sldMk cId="3297877624" sldId="1847"/>
        </pc:sldMkLst>
      </pc:sldChg>
      <pc:sldChg chg="modSp mod">
        <pc:chgData name="Oliver Zofic" userId="d6ddd209-c29f-4460-a224-78978e8bea08" providerId="ADAL" clId="{E45245C7-89AD-47A4-B490-2B868262D57E}" dt="2022-09-25T06:38:51.760" v="90" actId="5793"/>
        <pc:sldMkLst>
          <pc:docMk/>
          <pc:sldMk cId="2233339425" sldId="1848"/>
        </pc:sldMkLst>
        <pc:spChg chg="mod">
          <ac:chgData name="Oliver Zofic" userId="d6ddd209-c29f-4460-a224-78978e8bea08" providerId="ADAL" clId="{E45245C7-89AD-47A4-B490-2B868262D57E}" dt="2022-09-25T06:38:51.760" v="90" actId="5793"/>
          <ac:spMkLst>
            <pc:docMk/>
            <pc:sldMk cId="2233339425" sldId="1848"/>
            <ac:spMk id="2" creationId="{E8055DAE-F89C-4A41-8A5F-108692B6BBE3}"/>
          </ac:spMkLst>
        </pc:spChg>
      </pc:sldChg>
      <pc:sldChg chg="del">
        <pc:chgData name="Oliver Zofic" userId="d6ddd209-c29f-4460-a224-78978e8bea08" providerId="ADAL" clId="{E45245C7-89AD-47A4-B490-2B868262D57E}" dt="2022-09-25T06:38:46.024" v="74" actId="47"/>
        <pc:sldMkLst>
          <pc:docMk/>
          <pc:sldMk cId="679135778" sldId="1849"/>
        </pc:sldMkLst>
      </pc:sldChg>
      <pc:sldChg chg="del">
        <pc:chgData name="Oliver Zofic" userId="d6ddd209-c29f-4460-a224-78978e8bea08" providerId="ADAL" clId="{E45245C7-89AD-47A4-B490-2B868262D57E}" dt="2022-09-25T06:38:46.024" v="74" actId="47"/>
        <pc:sldMkLst>
          <pc:docMk/>
          <pc:sldMk cId="474089227" sldId="1850"/>
        </pc:sldMkLst>
      </pc:sldChg>
      <pc:sldChg chg="del">
        <pc:chgData name="Oliver Zofic" userId="d6ddd209-c29f-4460-a224-78978e8bea08" providerId="ADAL" clId="{E45245C7-89AD-47A4-B490-2B868262D57E}" dt="2022-09-25T06:38:46.024" v="74" actId="47"/>
        <pc:sldMkLst>
          <pc:docMk/>
          <pc:sldMk cId="3543427852" sldId="1851"/>
        </pc:sldMkLst>
      </pc:sldChg>
      <pc:sldChg chg="add del ord setBg">
        <pc:chgData name="Oliver Zofic" userId="d6ddd209-c29f-4460-a224-78978e8bea08" providerId="ADAL" clId="{E45245C7-89AD-47A4-B490-2B868262D57E}" dt="2022-09-25T07:32:32.465" v="190"/>
        <pc:sldMkLst>
          <pc:docMk/>
          <pc:sldMk cId="2794257281" sldId="2140"/>
        </pc:sldMkLst>
      </pc:sldChg>
      <pc:sldChg chg="add del ord setBg">
        <pc:chgData name="Oliver Zofic" userId="d6ddd209-c29f-4460-a224-78978e8bea08" providerId="ADAL" clId="{E45245C7-89AD-47A4-B490-2B868262D57E}" dt="2022-09-25T07:32:57.217" v="192"/>
        <pc:sldMkLst>
          <pc:docMk/>
          <pc:sldMk cId="3394385857" sldId="2143"/>
        </pc:sldMkLst>
      </pc:sldChg>
      <pc:sldChg chg="add del setBg">
        <pc:chgData name="Oliver Zofic" userId="d6ddd209-c29f-4460-a224-78978e8bea08" providerId="ADAL" clId="{E45245C7-89AD-47A4-B490-2B868262D57E}" dt="2022-09-25T06:38:39.468" v="73"/>
        <pc:sldMkLst>
          <pc:docMk/>
          <pc:sldMk cId="2180841186" sldId="4088"/>
        </pc:sldMkLst>
      </pc:sldChg>
      <pc:sldChg chg="add del ord">
        <pc:chgData name="Oliver Zofic" userId="d6ddd209-c29f-4460-a224-78978e8bea08" providerId="ADAL" clId="{E45245C7-89AD-47A4-B490-2B868262D57E}" dt="2022-09-25T07:37:16.746" v="200"/>
        <pc:sldMkLst>
          <pc:docMk/>
          <pc:sldMk cId="3755607198" sldId="2076136339"/>
        </pc:sldMkLst>
      </pc:sldChg>
      <pc:sldChg chg="add del ord">
        <pc:chgData name="Oliver Zofic" userId="d6ddd209-c29f-4460-a224-78978e8bea08" providerId="ADAL" clId="{E45245C7-89AD-47A4-B490-2B868262D57E}" dt="2022-09-25T07:36:10.252" v="196"/>
        <pc:sldMkLst>
          <pc:docMk/>
          <pc:sldMk cId="3665042733" sldId="2134804697"/>
        </pc:sldMkLst>
      </pc:sldChg>
      <pc:sldChg chg="add del ord">
        <pc:chgData name="Oliver Zofic" userId="d6ddd209-c29f-4460-a224-78978e8bea08" providerId="ADAL" clId="{E45245C7-89AD-47A4-B490-2B868262D57E}" dt="2022-09-25T07:32:32.465" v="190"/>
        <pc:sldMkLst>
          <pc:docMk/>
          <pc:sldMk cId="2181950906" sldId="2134804703"/>
        </pc:sldMkLst>
      </pc:sldChg>
      <pc:sldChg chg="add del ord">
        <pc:chgData name="Oliver Zofic" userId="d6ddd209-c29f-4460-a224-78978e8bea08" providerId="ADAL" clId="{E45245C7-89AD-47A4-B490-2B868262D57E}" dt="2022-09-25T07:01:35.929" v="137" actId="47"/>
        <pc:sldMkLst>
          <pc:docMk/>
          <pc:sldMk cId="2748646847" sldId="2134805681"/>
        </pc:sldMkLst>
      </pc:sldChg>
      <pc:sldChg chg="add del ord">
        <pc:chgData name="Oliver Zofic" userId="d6ddd209-c29f-4460-a224-78978e8bea08" providerId="ADAL" clId="{E45245C7-89AD-47A4-B490-2B868262D57E}" dt="2022-09-25T07:01:35.929" v="137" actId="47"/>
        <pc:sldMkLst>
          <pc:docMk/>
          <pc:sldMk cId="1521750378" sldId="2134805689"/>
        </pc:sldMkLst>
      </pc:sldChg>
      <pc:sldChg chg="add del ord">
        <pc:chgData name="Oliver Zofic" userId="d6ddd209-c29f-4460-a224-78978e8bea08" providerId="ADAL" clId="{E45245C7-89AD-47A4-B490-2B868262D57E}" dt="2022-09-25T07:01:35.929" v="137" actId="47"/>
        <pc:sldMkLst>
          <pc:docMk/>
          <pc:sldMk cId="469124550" sldId="2134805691"/>
        </pc:sldMkLst>
      </pc:sldChg>
      <pc:sldChg chg="add del ord">
        <pc:chgData name="Oliver Zofic" userId="d6ddd209-c29f-4460-a224-78978e8bea08" providerId="ADAL" clId="{E45245C7-89AD-47A4-B490-2B868262D57E}" dt="2022-09-25T07:01:35.929" v="137" actId="47"/>
        <pc:sldMkLst>
          <pc:docMk/>
          <pc:sldMk cId="773524465" sldId="2134805693"/>
        </pc:sldMkLst>
      </pc:sldChg>
      <pc:sldChg chg="modSp add mod ord">
        <pc:chgData name="Oliver Zofic" userId="d6ddd209-c29f-4460-a224-78978e8bea08" providerId="ADAL" clId="{E45245C7-89AD-47A4-B490-2B868262D57E}" dt="2022-09-25T07:32:32.465" v="190"/>
        <pc:sldMkLst>
          <pc:docMk/>
          <pc:sldMk cId="385542722" sldId="2134805770"/>
        </pc:sldMkLst>
        <pc:spChg chg="mod">
          <ac:chgData name="Oliver Zofic" userId="d6ddd209-c29f-4460-a224-78978e8bea08" providerId="ADAL" clId="{E45245C7-89AD-47A4-B490-2B868262D57E}" dt="2022-09-25T07:03:02.884" v="139" actId="27636"/>
          <ac:spMkLst>
            <pc:docMk/>
            <pc:sldMk cId="385542722" sldId="2134805770"/>
            <ac:spMk id="17" creationId="{00000000-0000-0000-0000-000000000000}"/>
          </ac:spMkLst>
        </pc:spChg>
      </pc:sldChg>
      <pc:sldChg chg="add del">
        <pc:chgData name="Oliver Zofic" userId="d6ddd209-c29f-4460-a224-78978e8bea08" providerId="ADAL" clId="{E45245C7-89AD-47A4-B490-2B868262D57E}" dt="2022-09-25T06:37:48.482" v="68"/>
        <pc:sldMkLst>
          <pc:docMk/>
          <pc:sldMk cId="211917663" sldId="2145706505"/>
        </pc:sldMkLst>
      </pc:sldChg>
      <pc:sldChg chg="add del">
        <pc:chgData name="Oliver Zofic" userId="d6ddd209-c29f-4460-a224-78978e8bea08" providerId="ADAL" clId="{E45245C7-89AD-47A4-B490-2B868262D57E}" dt="2022-09-25T06:43:45.455" v="96"/>
        <pc:sldMkLst>
          <pc:docMk/>
          <pc:sldMk cId="2725013700" sldId="2145706506"/>
        </pc:sldMkLst>
      </pc:sldChg>
      <pc:sldChg chg="add del">
        <pc:chgData name="Oliver Zofic" userId="d6ddd209-c29f-4460-a224-78978e8bea08" providerId="ADAL" clId="{E45245C7-89AD-47A4-B490-2B868262D57E}" dt="2022-09-25T06:43:45.455" v="96"/>
        <pc:sldMkLst>
          <pc:docMk/>
          <pc:sldMk cId="1279221053" sldId="2145706507"/>
        </pc:sldMkLst>
      </pc:sldChg>
      <pc:sldChg chg="add del">
        <pc:chgData name="Oliver Zofic" userId="d6ddd209-c29f-4460-a224-78978e8bea08" providerId="ADAL" clId="{E45245C7-89AD-47A4-B490-2B868262D57E}" dt="2022-09-25T06:37:48.482" v="68"/>
        <pc:sldMkLst>
          <pc:docMk/>
          <pc:sldMk cId="1428068833" sldId="2145706508"/>
        </pc:sldMkLst>
      </pc:sldChg>
      <pc:sldChg chg="add del ord">
        <pc:chgData name="Oliver Zofic" userId="d6ddd209-c29f-4460-a224-78978e8bea08" providerId="ADAL" clId="{E45245C7-89AD-47A4-B490-2B868262D57E}" dt="2022-09-25T07:42:14.093" v="204"/>
        <pc:sldMkLst>
          <pc:docMk/>
          <pc:sldMk cId="3974904516" sldId="2145706546"/>
        </pc:sldMkLst>
      </pc:sldChg>
      <pc:sldChg chg="modSp add del mod">
        <pc:chgData name="Oliver Zofic" userId="d6ddd209-c29f-4460-a224-78978e8bea08" providerId="ADAL" clId="{E45245C7-89AD-47A4-B490-2B868262D57E}" dt="2022-09-25T07:25:02.921" v="165" actId="47"/>
        <pc:sldMkLst>
          <pc:docMk/>
          <pc:sldMk cId="2475516516" sldId="2146847247"/>
        </pc:sldMkLst>
        <pc:spChg chg="mod">
          <ac:chgData name="Oliver Zofic" userId="d6ddd209-c29f-4460-a224-78978e8bea08" providerId="ADAL" clId="{E45245C7-89AD-47A4-B490-2B868262D57E}" dt="2022-09-25T07:24:48.596" v="161"/>
          <ac:spMkLst>
            <pc:docMk/>
            <pc:sldMk cId="2475516516" sldId="2146847247"/>
            <ac:spMk id="3" creationId="{02F58158-7B72-E37C-4552-8EF02DF616E5}"/>
          </ac:spMkLst>
        </pc:spChg>
        <pc:spChg chg="mod">
          <ac:chgData name="Oliver Zofic" userId="d6ddd209-c29f-4460-a224-78978e8bea08" providerId="ADAL" clId="{E45245C7-89AD-47A4-B490-2B868262D57E}" dt="2022-09-25T07:24:48.596" v="161"/>
          <ac:spMkLst>
            <pc:docMk/>
            <pc:sldMk cId="2475516516" sldId="2146847247"/>
            <ac:spMk id="16" creationId="{0B6C9AED-9040-CBFB-1BCD-875588BBBD2E}"/>
          </ac:spMkLst>
        </pc:spChg>
        <pc:spChg chg="mod">
          <ac:chgData name="Oliver Zofic" userId="d6ddd209-c29f-4460-a224-78978e8bea08" providerId="ADAL" clId="{E45245C7-89AD-47A4-B490-2B868262D57E}" dt="2022-09-25T07:24:48.596" v="161"/>
          <ac:spMkLst>
            <pc:docMk/>
            <pc:sldMk cId="2475516516" sldId="2146847247"/>
            <ac:spMk id="19" creationId="{6E3B5E12-31DA-70FC-B719-73AD256E1CD9}"/>
          </ac:spMkLst>
        </pc:spChg>
        <pc:spChg chg="mod">
          <ac:chgData name="Oliver Zofic" userId="d6ddd209-c29f-4460-a224-78978e8bea08" providerId="ADAL" clId="{E45245C7-89AD-47A4-B490-2B868262D57E}" dt="2022-09-25T07:24:48.596" v="161"/>
          <ac:spMkLst>
            <pc:docMk/>
            <pc:sldMk cId="2475516516" sldId="2146847247"/>
            <ac:spMk id="22" creationId="{F4F914D5-C84D-65F0-F847-5ED0F69636A6}"/>
          </ac:spMkLst>
        </pc:spChg>
      </pc:sldChg>
      <pc:sldChg chg="modSp add del mod">
        <pc:chgData name="Oliver Zofic" userId="d6ddd209-c29f-4460-a224-78978e8bea08" providerId="ADAL" clId="{E45245C7-89AD-47A4-B490-2B868262D57E}" dt="2022-09-25T06:37:58.901" v="70" actId="20577"/>
        <pc:sldMkLst>
          <pc:docMk/>
          <pc:sldMk cId="1863083326" sldId="2147469877"/>
        </pc:sldMkLst>
        <pc:spChg chg="mod">
          <ac:chgData name="Oliver Zofic" userId="d6ddd209-c29f-4460-a224-78978e8bea08" providerId="ADAL" clId="{E45245C7-89AD-47A4-B490-2B868262D57E}" dt="2022-09-25T06:37:58.901" v="70" actId="20577"/>
          <ac:spMkLst>
            <pc:docMk/>
            <pc:sldMk cId="1863083326" sldId="2147469877"/>
            <ac:spMk id="15" creationId="{DDCDF131-6E63-4EF5-BCEE-2C6C67FA9A01}"/>
          </ac:spMkLst>
        </pc:spChg>
      </pc:sldChg>
      <pc:sldChg chg="add del">
        <pc:chgData name="Oliver Zofic" userId="d6ddd209-c29f-4460-a224-78978e8bea08" providerId="ADAL" clId="{E45245C7-89AD-47A4-B490-2B868262D57E}" dt="2022-09-25T06:37:25.456" v="65"/>
        <pc:sldMkLst>
          <pc:docMk/>
          <pc:sldMk cId="3697291425" sldId="2147469889"/>
        </pc:sldMkLst>
      </pc:sldChg>
      <pc:sldChg chg="add del ord">
        <pc:chgData name="Oliver Zofic" userId="d6ddd209-c29f-4460-a224-78978e8bea08" providerId="ADAL" clId="{E45245C7-89AD-47A4-B490-2B868262D57E}" dt="2022-09-25T07:33:14.405" v="194"/>
        <pc:sldMkLst>
          <pc:docMk/>
          <pc:sldMk cId="2906453582" sldId="2147470286"/>
        </pc:sldMkLst>
      </pc:sldChg>
      <pc:sldChg chg="modSp add del mod ord modClrScheme chgLayout">
        <pc:chgData name="Oliver Zofic" userId="d6ddd209-c29f-4460-a224-78978e8bea08" providerId="ADAL" clId="{E45245C7-89AD-47A4-B490-2B868262D57E}" dt="2022-09-25T07:32:32.465" v="190"/>
        <pc:sldMkLst>
          <pc:docMk/>
          <pc:sldMk cId="758472286" sldId="2147470412"/>
        </pc:sldMkLst>
        <pc:spChg chg="mod ord">
          <ac:chgData name="Oliver Zofic" userId="d6ddd209-c29f-4460-a224-78978e8bea08" providerId="ADAL" clId="{E45245C7-89AD-47A4-B490-2B868262D57E}" dt="2022-09-25T07:29:31.543" v="183" actId="700"/>
          <ac:spMkLst>
            <pc:docMk/>
            <pc:sldMk cId="758472286" sldId="2147470412"/>
            <ac:spMk id="15" creationId="{85BFF282-BE74-1AEC-4D93-2133A74DE403}"/>
          </ac:spMkLst>
        </pc:spChg>
        <pc:spChg chg="mod ord">
          <ac:chgData name="Oliver Zofic" userId="d6ddd209-c29f-4460-a224-78978e8bea08" providerId="ADAL" clId="{E45245C7-89AD-47A4-B490-2B868262D57E}" dt="2022-09-25T07:29:31.543" v="183" actId="700"/>
          <ac:spMkLst>
            <pc:docMk/>
            <pc:sldMk cId="758472286" sldId="2147470412"/>
            <ac:spMk id="17" creationId="{A35960A6-1445-40AC-B57E-7F465A1AD011}"/>
          </ac:spMkLst>
        </pc:spChg>
        <pc:spChg chg="mod ord">
          <ac:chgData name="Oliver Zofic" userId="d6ddd209-c29f-4460-a224-78978e8bea08" providerId="ADAL" clId="{E45245C7-89AD-47A4-B490-2B868262D57E}" dt="2022-09-25T07:29:31.543" v="183" actId="700"/>
          <ac:spMkLst>
            <pc:docMk/>
            <pc:sldMk cId="758472286" sldId="2147470412"/>
            <ac:spMk id="18" creationId="{8B395143-34D0-4E2F-C599-FA632DBC13FF}"/>
          </ac:spMkLst>
        </pc:spChg>
        <pc:spChg chg="mod ord">
          <ac:chgData name="Oliver Zofic" userId="d6ddd209-c29f-4460-a224-78978e8bea08" providerId="ADAL" clId="{E45245C7-89AD-47A4-B490-2B868262D57E}" dt="2022-09-25T07:29:31.543" v="183" actId="700"/>
          <ac:spMkLst>
            <pc:docMk/>
            <pc:sldMk cId="758472286" sldId="2147470412"/>
            <ac:spMk id="19" creationId="{05C02994-CCFB-ABC1-ED51-2E4C7A08276F}"/>
          </ac:spMkLst>
        </pc:spChg>
        <pc:spChg chg="mod ord">
          <ac:chgData name="Oliver Zofic" userId="d6ddd209-c29f-4460-a224-78978e8bea08" providerId="ADAL" clId="{E45245C7-89AD-47A4-B490-2B868262D57E}" dt="2022-09-25T07:29:31.543" v="183" actId="700"/>
          <ac:spMkLst>
            <pc:docMk/>
            <pc:sldMk cId="758472286" sldId="2147470412"/>
            <ac:spMk id="23" creationId="{2C9F43E9-B41C-3BD5-DFC6-1AC809845EC9}"/>
          </ac:spMkLst>
        </pc:spChg>
      </pc:sldChg>
      <pc:sldMasterChg chg="delSldLayout">
        <pc:chgData name="Oliver Zofic" userId="d6ddd209-c29f-4460-a224-78978e8bea08" providerId="ADAL" clId="{E45245C7-89AD-47A4-B490-2B868262D57E}" dt="2022-09-25T07:24:42.387" v="153" actId="47"/>
        <pc:sldMasterMkLst>
          <pc:docMk/>
          <pc:sldMasterMk cId="3588427678" sldId="2147484229"/>
        </pc:sldMasterMkLst>
        <pc:sldLayoutChg chg="del">
          <pc:chgData name="Oliver Zofic" userId="d6ddd209-c29f-4460-a224-78978e8bea08" providerId="ADAL" clId="{E45245C7-89AD-47A4-B490-2B868262D57E}" dt="2022-09-25T07:24:42.387" v="153" actId="47"/>
          <pc:sldLayoutMkLst>
            <pc:docMk/>
            <pc:sldMasterMk cId="3588427678" sldId="2147484229"/>
            <pc:sldLayoutMk cId="1079350520" sldId="2147484887"/>
          </pc:sldLayoutMkLst>
        </pc:sldLayoutChg>
        <pc:sldLayoutChg chg="del">
          <pc:chgData name="Oliver Zofic" userId="d6ddd209-c29f-4460-a224-78978e8bea08" providerId="ADAL" clId="{E45245C7-89AD-47A4-B490-2B868262D57E}" dt="2022-09-25T07:24:42.387" v="153" actId="47"/>
          <pc:sldLayoutMkLst>
            <pc:docMk/>
            <pc:sldMasterMk cId="3588427678" sldId="2147484229"/>
            <pc:sldLayoutMk cId="2833518618" sldId="2147484888"/>
          </pc:sldLayoutMkLst>
        </pc:sldLayoutChg>
        <pc:sldLayoutChg chg="del">
          <pc:chgData name="Oliver Zofic" userId="d6ddd209-c29f-4460-a224-78978e8bea08" providerId="ADAL" clId="{E45245C7-89AD-47A4-B490-2B868262D57E}" dt="2022-09-25T07:24:42.387" v="153" actId="47"/>
          <pc:sldLayoutMkLst>
            <pc:docMk/>
            <pc:sldMasterMk cId="3588427678" sldId="2147484229"/>
            <pc:sldLayoutMk cId="1786860186" sldId="2147484889"/>
          </pc:sldLayoutMkLst>
        </pc:sldLayoutChg>
      </pc:sldMasterChg>
      <pc:sldMasterChg chg="del delSldLayout">
        <pc:chgData name="Oliver Zofic" userId="d6ddd209-c29f-4460-a224-78978e8bea08" providerId="ADAL" clId="{E45245C7-89AD-47A4-B490-2B868262D57E}" dt="2022-09-25T07:30:41.163" v="186" actId="47"/>
        <pc:sldMasterMkLst>
          <pc:docMk/>
          <pc:sldMasterMk cId="3775574349" sldId="2147484832"/>
        </pc:sldMasterMkLst>
        <pc:sldLayoutChg chg="del">
          <pc:chgData name="Oliver Zofic" userId="d6ddd209-c29f-4460-a224-78978e8bea08" providerId="ADAL" clId="{E45245C7-89AD-47A4-B490-2B868262D57E}" dt="2022-09-25T07:30:41.163" v="186" actId="47"/>
          <pc:sldLayoutMkLst>
            <pc:docMk/>
            <pc:sldMasterMk cId="3775574349" sldId="2147484832"/>
            <pc:sldLayoutMk cId="1099540663" sldId="2147484833"/>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3154572731" sldId="2147484834"/>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2173203116" sldId="2147484835"/>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3643006919" sldId="2147484836"/>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1705282696" sldId="2147484837"/>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1378857061" sldId="2147484838"/>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527224103" sldId="2147484839"/>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1353580454" sldId="2147484840"/>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2385878775" sldId="2147484841"/>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3196247549" sldId="2147484842"/>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952857603" sldId="2147484843"/>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632930422" sldId="2147484844"/>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2867534787" sldId="2147484845"/>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214583929" sldId="2147484846"/>
          </pc:sldLayoutMkLst>
        </pc:sldLayoutChg>
        <pc:sldLayoutChg chg="del">
          <pc:chgData name="Oliver Zofic" userId="d6ddd209-c29f-4460-a224-78978e8bea08" providerId="ADAL" clId="{E45245C7-89AD-47A4-B490-2B868262D57E}" dt="2022-09-25T07:30:41.163" v="186" actId="47"/>
          <pc:sldLayoutMkLst>
            <pc:docMk/>
            <pc:sldMasterMk cId="3775574349" sldId="2147484832"/>
            <pc:sldLayoutMk cId="3948672476" sldId="2147484847"/>
          </pc:sldLayoutMkLst>
        </pc:sldLayoutChg>
      </pc:sldMasterChg>
      <pc:sldMasterChg chg="delSldLayout">
        <pc:chgData name="Oliver Zofic" userId="d6ddd209-c29f-4460-a224-78978e8bea08" providerId="ADAL" clId="{E45245C7-89AD-47A4-B490-2B868262D57E}" dt="2022-09-25T07:25:02.921" v="165" actId="47"/>
        <pc:sldMasterMkLst>
          <pc:docMk/>
          <pc:sldMasterMk cId="2374873261" sldId="2147484887"/>
        </pc:sldMasterMkLst>
        <pc:sldLayoutChg chg="del">
          <pc:chgData name="Oliver Zofic" userId="d6ddd209-c29f-4460-a224-78978e8bea08" providerId="ADAL" clId="{E45245C7-89AD-47A4-B490-2B868262D57E}" dt="2022-09-25T07:25:02.921" v="165" actId="47"/>
          <pc:sldLayoutMkLst>
            <pc:docMk/>
            <pc:sldMasterMk cId="2374873261" sldId="2147484887"/>
            <pc:sldLayoutMk cId="3838581232" sldId="2147484902"/>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D:\ARCHIVE%20BY%20MONTH\FEBRUARY%202017\GEPS%202017\projection-of-world-population-SSP2-IIASA.csv"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2">
                <a:lumMod val="10000"/>
              </a:schemeClr>
            </a:solidFill>
            <a:ln>
              <a:noFill/>
            </a:ln>
          </c:spPr>
          <c:dPt>
            <c:idx val="0"/>
            <c:bubble3D val="0"/>
            <c:spPr>
              <a:solidFill>
                <a:schemeClr val="bg2">
                  <a:lumMod val="10000"/>
                </a:schemeClr>
              </a:solidFill>
              <a:ln w="19050">
                <a:noFill/>
              </a:ln>
              <a:effectLst/>
            </c:spPr>
            <c:extLst>
              <c:ext xmlns:c16="http://schemas.microsoft.com/office/drawing/2014/chart" uri="{C3380CC4-5D6E-409C-BE32-E72D297353CC}">
                <c16:uniqueId val="{00000001-3E9E-4431-B895-EB341BDE046F}"/>
              </c:ext>
            </c:extLst>
          </c:dPt>
          <c:dPt>
            <c:idx val="1"/>
            <c:bubble3D val="0"/>
            <c:spPr>
              <a:solidFill>
                <a:schemeClr val="bg2">
                  <a:lumMod val="10000"/>
                </a:schemeClr>
              </a:solidFill>
              <a:ln w="19050">
                <a:noFill/>
              </a:ln>
              <a:effectLst/>
            </c:spPr>
            <c:extLst>
              <c:ext xmlns:c16="http://schemas.microsoft.com/office/drawing/2014/chart" uri="{C3380CC4-5D6E-409C-BE32-E72D297353CC}">
                <c16:uniqueId val="{00000003-3E9E-4431-B895-EB341BDE046F}"/>
              </c:ext>
            </c:extLst>
          </c:dPt>
          <c:dPt>
            <c:idx val="2"/>
            <c:bubble3D val="0"/>
            <c:spPr>
              <a:solidFill>
                <a:schemeClr val="bg2">
                  <a:lumMod val="10000"/>
                </a:schemeClr>
              </a:solidFill>
              <a:ln w="19050">
                <a:noFill/>
              </a:ln>
              <a:effectLst/>
            </c:spPr>
            <c:extLst>
              <c:ext xmlns:c16="http://schemas.microsoft.com/office/drawing/2014/chart" uri="{C3380CC4-5D6E-409C-BE32-E72D297353CC}">
                <c16:uniqueId val="{00000005-3E9E-4431-B895-EB341BDE046F}"/>
              </c:ext>
            </c:extLst>
          </c:dPt>
          <c:dPt>
            <c:idx val="3"/>
            <c:bubble3D val="0"/>
            <c:spPr>
              <a:solidFill>
                <a:schemeClr val="bg2">
                  <a:lumMod val="10000"/>
                </a:schemeClr>
              </a:solidFill>
              <a:ln w="19050">
                <a:noFill/>
              </a:ln>
              <a:effectLst/>
            </c:spPr>
            <c:extLst>
              <c:ext xmlns:c16="http://schemas.microsoft.com/office/drawing/2014/chart" uri="{C3380CC4-5D6E-409C-BE32-E72D297353CC}">
                <c16:uniqueId val="{00000007-3E9E-4431-B895-EB341BDE046F}"/>
              </c:ext>
            </c:extLst>
          </c:dPt>
          <c:dPt>
            <c:idx val="4"/>
            <c:bubble3D val="0"/>
            <c:spPr>
              <a:solidFill>
                <a:schemeClr val="bg2">
                  <a:lumMod val="10000"/>
                </a:schemeClr>
              </a:solidFill>
              <a:ln w="19050">
                <a:noFill/>
              </a:ln>
              <a:effectLst/>
            </c:spPr>
            <c:extLst>
              <c:ext xmlns:c16="http://schemas.microsoft.com/office/drawing/2014/chart" uri="{C3380CC4-5D6E-409C-BE32-E72D297353CC}">
                <c16:uniqueId val="{00000009-3E9E-4431-B895-EB341BDE046F}"/>
              </c:ext>
            </c:extLst>
          </c:dPt>
          <c:dPt>
            <c:idx val="5"/>
            <c:bubble3D val="0"/>
            <c:spPr>
              <a:solidFill>
                <a:schemeClr val="bg2">
                  <a:lumMod val="10000"/>
                </a:schemeClr>
              </a:solidFill>
              <a:ln w="19050">
                <a:noFill/>
              </a:ln>
              <a:effectLst/>
            </c:spPr>
            <c:extLst>
              <c:ext xmlns:c16="http://schemas.microsoft.com/office/drawing/2014/chart" uri="{C3380CC4-5D6E-409C-BE32-E72D297353CC}">
                <c16:uniqueId val="{0000000B-3E9E-4431-B895-EB341BDE046F}"/>
              </c:ext>
            </c:extLst>
          </c:dPt>
          <c:dPt>
            <c:idx val="6"/>
            <c:bubble3D val="0"/>
            <c:spPr>
              <a:solidFill>
                <a:schemeClr val="bg2">
                  <a:lumMod val="10000"/>
                </a:schemeClr>
              </a:solidFill>
              <a:ln w="19050">
                <a:noFill/>
              </a:ln>
              <a:effectLst/>
            </c:spPr>
            <c:extLst>
              <c:ext xmlns:c16="http://schemas.microsoft.com/office/drawing/2014/chart" uri="{C3380CC4-5D6E-409C-BE32-E72D297353CC}">
                <c16:uniqueId val="{0000000D-3E9E-4431-B895-EB341BDE046F}"/>
              </c:ext>
            </c:extLst>
          </c:dPt>
          <c:dPt>
            <c:idx val="7"/>
            <c:bubble3D val="0"/>
            <c:spPr>
              <a:solidFill>
                <a:schemeClr val="bg2">
                  <a:lumMod val="10000"/>
                </a:schemeClr>
              </a:solidFill>
              <a:ln w="19050">
                <a:noFill/>
              </a:ln>
              <a:effectLst/>
            </c:spPr>
            <c:extLst>
              <c:ext xmlns:c16="http://schemas.microsoft.com/office/drawing/2014/chart" uri="{C3380CC4-5D6E-409C-BE32-E72D297353CC}">
                <c16:uniqueId val="{0000000F-3E9E-4431-B895-EB341BDE046F}"/>
              </c:ext>
            </c:extLst>
          </c:dPt>
          <c:dPt>
            <c:idx val="8"/>
            <c:bubble3D val="0"/>
            <c:spPr>
              <a:solidFill>
                <a:schemeClr val="bg2">
                  <a:lumMod val="10000"/>
                </a:schemeClr>
              </a:solidFill>
              <a:ln w="19050">
                <a:noFill/>
              </a:ln>
              <a:effectLst/>
            </c:spPr>
            <c:extLst>
              <c:ext xmlns:c16="http://schemas.microsoft.com/office/drawing/2014/chart" uri="{C3380CC4-5D6E-409C-BE32-E72D297353CC}">
                <c16:uniqueId val="{00000011-3E9E-4431-B895-EB341BDE046F}"/>
              </c:ext>
            </c:extLst>
          </c:dPt>
          <c:dPt>
            <c:idx val="9"/>
            <c:bubble3D val="0"/>
            <c:spPr>
              <a:solidFill>
                <a:schemeClr val="bg2">
                  <a:lumMod val="10000"/>
                </a:schemeClr>
              </a:solidFill>
              <a:ln w="19050">
                <a:noFill/>
              </a:ln>
              <a:effectLst/>
            </c:spPr>
            <c:extLst>
              <c:ext xmlns:c16="http://schemas.microsoft.com/office/drawing/2014/chart" uri="{C3380CC4-5D6E-409C-BE32-E72D297353CC}">
                <c16:uniqueId val="{00000013-3E9E-4431-B895-EB341BDE046F}"/>
              </c:ext>
            </c:extLst>
          </c:dPt>
          <c:cat>
            <c:strRef>
              <c:f>Sheet1!$A$2:$A$11</c:f>
              <c:strCache>
                <c:ptCount val="4"/>
                <c:pt idx="0">
                  <c:v>1st Qtr</c:v>
                </c:pt>
                <c:pt idx="1">
                  <c:v>2nd Qtr</c:v>
                </c:pt>
                <c:pt idx="2">
                  <c:v>3rd Qtr</c:v>
                </c:pt>
                <c:pt idx="3">
                  <c:v>4th Qtr</c:v>
                </c:pt>
              </c:strCache>
            </c:strRef>
          </c:cat>
          <c:val>
            <c:numRef>
              <c:f>Sheet1!$B$2:$B$11</c:f>
              <c:numCache>
                <c:formatCode>General</c:formatCode>
                <c:ptCount val="10"/>
                <c:pt idx="0">
                  <c:v>36</c:v>
                </c:pt>
                <c:pt idx="1">
                  <c:v>36</c:v>
                </c:pt>
                <c:pt idx="2">
                  <c:v>36</c:v>
                </c:pt>
                <c:pt idx="3">
                  <c:v>36</c:v>
                </c:pt>
                <c:pt idx="4">
                  <c:v>36</c:v>
                </c:pt>
                <c:pt idx="5">
                  <c:v>36</c:v>
                </c:pt>
                <c:pt idx="6">
                  <c:v>36</c:v>
                </c:pt>
                <c:pt idx="7">
                  <c:v>36</c:v>
                </c:pt>
                <c:pt idx="8">
                  <c:v>36</c:v>
                </c:pt>
                <c:pt idx="9">
                  <c:v>36</c:v>
                </c:pt>
              </c:numCache>
            </c:numRef>
          </c:val>
          <c:extLst>
            <c:ext xmlns:c16="http://schemas.microsoft.com/office/drawing/2014/chart" uri="{C3380CC4-5D6E-409C-BE32-E72D297353CC}">
              <c16:uniqueId val="{00000000-CBE4-43A2-9F8E-E806361C1BE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I"/>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projection-of-world-population-'!$C$1</c:f>
              <c:strCache>
                <c:ptCount val="1"/>
                <c:pt idx="0">
                  <c:v>Primary</c:v>
                </c:pt>
              </c:strCache>
            </c:strRef>
          </c:tx>
          <c:spPr>
            <a:solidFill>
              <a:schemeClr val="accent1"/>
            </a:solidFill>
            <a:ln>
              <a:noFill/>
            </a:ln>
            <a:effectLst/>
          </c:spPr>
          <c:invertIfNegative val="0"/>
          <c:cat>
            <c:numRef>
              <c:f>'projection-of-world-population-'!$B$2:$B$28</c:f>
              <c:numCache>
                <c:formatCode>General</c:formatCode>
                <c:ptCount val="27"/>
                <c:pt idx="0">
                  <c:v>1970</c:v>
                </c:pt>
                <c:pt idx="1">
                  <c:v>1975</c:v>
                </c:pt>
                <c:pt idx="2">
                  <c:v>1980</c:v>
                </c:pt>
                <c:pt idx="3">
                  <c:v>1985</c:v>
                </c:pt>
                <c:pt idx="4">
                  <c:v>1990</c:v>
                </c:pt>
                <c:pt idx="5">
                  <c:v>1995</c:v>
                </c:pt>
                <c:pt idx="6">
                  <c:v>2000</c:v>
                </c:pt>
                <c:pt idx="7">
                  <c:v>2005</c:v>
                </c:pt>
                <c:pt idx="8">
                  <c:v>2010</c:v>
                </c:pt>
                <c:pt idx="9">
                  <c:v>2015</c:v>
                </c:pt>
                <c:pt idx="10">
                  <c:v>2020</c:v>
                </c:pt>
                <c:pt idx="11">
                  <c:v>2025</c:v>
                </c:pt>
                <c:pt idx="12">
                  <c:v>2030</c:v>
                </c:pt>
                <c:pt idx="13">
                  <c:v>2035</c:v>
                </c:pt>
                <c:pt idx="14">
                  <c:v>2040</c:v>
                </c:pt>
                <c:pt idx="15">
                  <c:v>2045</c:v>
                </c:pt>
                <c:pt idx="16">
                  <c:v>2050</c:v>
                </c:pt>
                <c:pt idx="17">
                  <c:v>2055</c:v>
                </c:pt>
                <c:pt idx="18">
                  <c:v>2060</c:v>
                </c:pt>
                <c:pt idx="19">
                  <c:v>2065</c:v>
                </c:pt>
                <c:pt idx="20">
                  <c:v>2070</c:v>
                </c:pt>
                <c:pt idx="21">
                  <c:v>2075</c:v>
                </c:pt>
                <c:pt idx="22">
                  <c:v>2080</c:v>
                </c:pt>
                <c:pt idx="23">
                  <c:v>2085</c:v>
                </c:pt>
                <c:pt idx="24">
                  <c:v>2090</c:v>
                </c:pt>
                <c:pt idx="25">
                  <c:v>2095</c:v>
                </c:pt>
                <c:pt idx="26">
                  <c:v>2100</c:v>
                </c:pt>
              </c:numCache>
            </c:numRef>
          </c:cat>
          <c:val>
            <c:numRef>
              <c:f>'projection-of-world-population-'!$C$2:$C$28</c:f>
              <c:numCache>
                <c:formatCode>General</c:formatCode>
                <c:ptCount val="27"/>
                <c:pt idx="0">
                  <c:v>533866870</c:v>
                </c:pt>
                <c:pt idx="1">
                  <c:v>586138040</c:v>
                </c:pt>
                <c:pt idx="2">
                  <c:v>640271120</c:v>
                </c:pt>
                <c:pt idx="3">
                  <c:v>687326790</c:v>
                </c:pt>
                <c:pt idx="4">
                  <c:v>758138630</c:v>
                </c:pt>
                <c:pt idx="5">
                  <c:v>797401340</c:v>
                </c:pt>
                <c:pt idx="6">
                  <c:v>842728860</c:v>
                </c:pt>
                <c:pt idx="7">
                  <c:v>875914110</c:v>
                </c:pt>
                <c:pt idx="8">
                  <c:v>901162550</c:v>
                </c:pt>
                <c:pt idx="9">
                  <c:v>932093060</c:v>
                </c:pt>
                <c:pt idx="10">
                  <c:v>959392850</c:v>
                </c:pt>
                <c:pt idx="11">
                  <c:v>977636500</c:v>
                </c:pt>
                <c:pt idx="12">
                  <c:v>988411050</c:v>
                </c:pt>
                <c:pt idx="13">
                  <c:v>991923800</c:v>
                </c:pt>
                <c:pt idx="14">
                  <c:v>987071070</c:v>
                </c:pt>
                <c:pt idx="15">
                  <c:v>974382440</c:v>
                </c:pt>
                <c:pt idx="16">
                  <c:v>954848230</c:v>
                </c:pt>
                <c:pt idx="17">
                  <c:v>928681710</c:v>
                </c:pt>
                <c:pt idx="18">
                  <c:v>896070530</c:v>
                </c:pt>
                <c:pt idx="19">
                  <c:v>858360520</c:v>
                </c:pt>
                <c:pt idx="20">
                  <c:v>815871650</c:v>
                </c:pt>
                <c:pt idx="21">
                  <c:v>769687340</c:v>
                </c:pt>
                <c:pt idx="22">
                  <c:v>720590500</c:v>
                </c:pt>
                <c:pt idx="23">
                  <c:v>669495260</c:v>
                </c:pt>
                <c:pt idx="24">
                  <c:v>617123750</c:v>
                </c:pt>
                <c:pt idx="25">
                  <c:v>564414940</c:v>
                </c:pt>
                <c:pt idx="26">
                  <c:v>512570980</c:v>
                </c:pt>
              </c:numCache>
            </c:numRef>
          </c:val>
          <c:extLst>
            <c:ext xmlns:c16="http://schemas.microsoft.com/office/drawing/2014/chart" uri="{C3380CC4-5D6E-409C-BE32-E72D297353CC}">
              <c16:uniqueId val="{00000000-198D-4370-B0A7-4998AE75BE5B}"/>
            </c:ext>
          </c:extLst>
        </c:ser>
        <c:ser>
          <c:idx val="1"/>
          <c:order val="1"/>
          <c:tx>
            <c:strRef>
              <c:f>'projection-of-world-population-'!$D$1</c:f>
              <c:strCache>
                <c:ptCount val="1"/>
                <c:pt idx="0">
                  <c:v>Lower Secondary</c:v>
                </c:pt>
              </c:strCache>
            </c:strRef>
          </c:tx>
          <c:spPr>
            <a:solidFill>
              <a:schemeClr val="accent2"/>
            </a:solidFill>
            <a:ln>
              <a:noFill/>
            </a:ln>
            <a:effectLst/>
          </c:spPr>
          <c:invertIfNegative val="0"/>
          <c:cat>
            <c:numRef>
              <c:f>'projection-of-world-population-'!$B$2:$B$28</c:f>
              <c:numCache>
                <c:formatCode>General</c:formatCode>
                <c:ptCount val="27"/>
                <c:pt idx="0">
                  <c:v>1970</c:v>
                </c:pt>
                <c:pt idx="1">
                  <c:v>1975</c:v>
                </c:pt>
                <c:pt idx="2">
                  <c:v>1980</c:v>
                </c:pt>
                <c:pt idx="3">
                  <c:v>1985</c:v>
                </c:pt>
                <c:pt idx="4">
                  <c:v>1990</c:v>
                </c:pt>
                <c:pt idx="5">
                  <c:v>1995</c:v>
                </c:pt>
                <c:pt idx="6">
                  <c:v>2000</c:v>
                </c:pt>
                <c:pt idx="7">
                  <c:v>2005</c:v>
                </c:pt>
                <c:pt idx="8">
                  <c:v>2010</c:v>
                </c:pt>
                <c:pt idx="9">
                  <c:v>2015</c:v>
                </c:pt>
                <c:pt idx="10">
                  <c:v>2020</c:v>
                </c:pt>
                <c:pt idx="11">
                  <c:v>2025</c:v>
                </c:pt>
                <c:pt idx="12">
                  <c:v>2030</c:v>
                </c:pt>
                <c:pt idx="13">
                  <c:v>2035</c:v>
                </c:pt>
                <c:pt idx="14">
                  <c:v>2040</c:v>
                </c:pt>
                <c:pt idx="15">
                  <c:v>2045</c:v>
                </c:pt>
                <c:pt idx="16">
                  <c:v>2050</c:v>
                </c:pt>
                <c:pt idx="17">
                  <c:v>2055</c:v>
                </c:pt>
                <c:pt idx="18">
                  <c:v>2060</c:v>
                </c:pt>
                <c:pt idx="19">
                  <c:v>2065</c:v>
                </c:pt>
                <c:pt idx="20">
                  <c:v>2070</c:v>
                </c:pt>
                <c:pt idx="21">
                  <c:v>2075</c:v>
                </c:pt>
                <c:pt idx="22">
                  <c:v>2080</c:v>
                </c:pt>
                <c:pt idx="23">
                  <c:v>2085</c:v>
                </c:pt>
                <c:pt idx="24">
                  <c:v>2090</c:v>
                </c:pt>
                <c:pt idx="25">
                  <c:v>2095</c:v>
                </c:pt>
                <c:pt idx="26">
                  <c:v>2100</c:v>
                </c:pt>
              </c:numCache>
            </c:numRef>
          </c:cat>
          <c:val>
            <c:numRef>
              <c:f>'projection-of-world-population-'!$D$2:$D$28</c:f>
              <c:numCache>
                <c:formatCode>General</c:formatCode>
                <c:ptCount val="27"/>
                <c:pt idx="0">
                  <c:v>294393410</c:v>
                </c:pt>
                <c:pt idx="1">
                  <c:v>364304800</c:v>
                </c:pt>
                <c:pt idx="2">
                  <c:v>448134810</c:v>
                </c:pt>
                <c:pt idx="3">
                  <c:v>548682060</c:v>
                </c:pt>
                <c:pt idx="4">
                  <c:v>666263600</c:v>
                </c:pt>
                <c:pt idx="5">
                  <c:v>777572130</c:v>
                </c:pt>
                <c:pt idx="6">
                  <c:v>893735000</c:v>
                </c:pt>
                <c:pt idx="7">
                  <c:v>1027531630</c:v>
                </c:pt>
                <c:pt idx="8">
                  <c:v>1134045170</c:v>
                </c:pt>
                <c:pt idx="9">
                  <c:v>1213698370</c:v>
                </c:pt>
                <c:pt idx="10">
                  <c:v>1286056000</c:v>
                </c:pt>
                <c:pt idx="11">
                  <c:v>1352650500</c:v>
                </c:pt>
                <c:pt idx="12">
                  <c:v>1398926380</c:v>
                </c:pt>
                <c:pt idx="13">
                  <c:v>1429380710</c:v>
                </c:pt>
                <c:pt idx="14">
                  <c:v>1439555670</c:v>
                </c:pt>
                <c:pt idx="15">
                  <c:v>1430480610</c:v>
                </c:pt>
                <c:pt idx="16">
                  <c:v>1405137960</c:v>
                </c:pt>
                <c:pt idx="17">
                  <c:v>1363876040</c:v>
                </c:pt>
                <c:pt idx="18">
                  <c:v>1307475100</c:v>
                </c:pt>
                <c:pt idx="19">
                  <c:v>1238889100</c:v>
                </c:pt>
                <c:pt idx="20">
                  <c:v>1161186400</c:v>
                </c:pt>
                <c:pt idx="21">
                  <c:v>1078237660</c:v>
                </c:pt>
                <c:pt idx="22">
                  <c:v>993850220</c:v>
                </c:pt>
                <c:pt idx="23">
                  <c:v>910458820</c:v>
                </c:pt>
                <c:pt idx="24">
                  <c:v>829613350</c:v>
                </c:pt>
                <c:pt idx="25">
                  <c:v>752398340</c:v>
                </c:pt>
                <c:pt idx="26">
                  <c:v>679798360</c:v>
                </c:pt>
              </c:numCache>
            </c:numRef>
          </c:val>
          <c:extLst>
            <c:ext xmlns:c16="http://schemas.microsoft.com/office/drawing/2014/chart" uri="{C3380CC4-5D6E-409C-BE32-E72D297353CC}">
              <c16:uniqueId val="{00000001-198D-4370-B0A7-4998AE75BE5B}"/>
            </c:ext>
          </c:extLst>
        </c:ser>
        <c:ser>
          <c:idx val="2"/>
          <c:order val="2"/>
          <c:tx>
            <c:strRef>
              <c:f>'projection-of-world-population-'!$E$1</c:f>
              <c:strCache>
                <c:ptCount val="1"/>
                <c:pt idx="0">
                  <c:v>Upper Secondary</c:v>
                </c:pt>
              </c:strCache>
            </c:strRef>
          </c:tx>
          <c:spPr>
            <a:solidFill>
              <a:schemeClr val="accent5"/>
            </a:solidFill>
            <a:ln>
              <a:noFill/>
            </a:ln>
            <a:effectLst/>
          </c:spPr>
          <c:invertIfNegative val="0"/>
          <c:cat>
            <c:numRef>
              <c:f>'projection-of-world-population-'!$B$2:$B$28</c:f>
              <c:numCache>
                <c:formatCode>General</c:formatCode>
                <c:ptCount val="27"/>
                <c:pt idx="0">
                  <c:v>1970</c:v>
                </c:pt>
                <c:pt idx="1">
                  <c:v>1975</c:v>
                </c:pt>
                <c:pt idx="2">
                  <c:v>1980</c:v>
                </c:pt>
                <c:pt idx="3">
                  <c:v>1985</c:v>
                </c:pt>
                <c:pt idx="4">
                  <c:v>1990</c:v>
                </c:pt>
                <c:pt idx="5">
                  <c:v>1995</c:v>
                </c:pt>
                <c:pt idx="6">
                  <c:v>2000</c:v>
                </c:pt>
                <c:pt idx="7">
                  <c:v>2005</c:v>
                </c:pt>
                <c:pt idx="8">
                  <c:v>2010</c:v>
                </c:pt>
                <c:pt idx="9">
                  <c:v>2015</c:v>
                </c:pt>
                <c:pt idx="10">
                  <c:v>2020</c:v>
                </c:pt>
                <c:pt idx="11">
                  <c:v>2025</c:v>
                </c:pt>
                <c:pt idx="12">
                  <c:v>2030</c:v>
                </c:pt>
                <c:pt idx="13">
                  <c:v>2035</c:v>
                </c:pt>
                <c:pt idx="14">
                  <c:v>2040</c:v>
                </c:pt>
                <c:pt idx="15">
                  <c:v>2045</c:v>
                </c:pt>
                <c:pt idx="16">
                  <c:v>2050</c:v>
                </c:pt>
                <c:pt idx="17">
                  <c:v>2055</c:v>
                </c:pt>
                <c:pt idx="18">
                  <c:v>2060</c:v>
                </c:pt>
                <c:pt idx="19">
                  <c:v>2065</c:v>
                </c:pt>
                <c:pt idx="20">
                  <c:v>2070</c:v>
                </c:pt>
                <c:pt idx="21">
                  <c:v>2075</c:v>
                </c:pt>
                <c:pt idx="22">
                  <c:v>2080</c:v>
                </c:pt>
                <c:pt idx="23">
                  <c:v>2085</c:v>
                </c:pt>
                <c:pt idx="24">
                  <c:v>2090</c:v>
                </c:pt>
                <c:pt idx="25">
                  <c:v>2095</c:v>
                </c:pt>
                <c:pt idx="26">
                  <c:v>2100</c:v>
                </c:pt>
              </c:numCache>
            </c:numRef>
          </c:cat>
          <c:val>
            <c:numRef>
              <c:f>'projection-of-world-population-'!$E$2:$E$28</c:f>
              <c:numCache>
                <c:formatCode>General</c:formatCode>
                <c:ptCount val="27"/>
                <c:pt idx="0">
                  <c:v>307645270</c:v>
                </c:pt>
                <c:pt idx="1">
                  <c:v>390703720</c:v>
                </c:pt>
                <c:pt idx="2">
                  <c:v>483938060</c:v>
                </c:pt>
                <c:pt idx="3">
                  <c:v>577295870</c:v>
                </c:pt>
                <c:pt idx="4">
                  <c:v>691635730</c:v>
                </c:pt>
                <c:pt idx="5">
                  <c:v>809166470</c:v>
                </c:pt>
                <c:pt idx="6">
                  <c:v>946740810</c:v>
                </c:pt>
                <c:pt idx="7">
                  <c:v>1106682320</c:v>
                </c:pt>
                <c:pt idx="8">
                  <c:v>1269257460</c:v>
                </c:pt>
                <c:pt idx="9">
                  <c:v>1431279740</c:v>
                </c:pt>
                <c:pt idx="10">
                  <c:v>1599479250</c:v>
                </c:pt>
                <c:pt idx="11">
                  <c:v>1781898440</c:v>
                </c:pt>
                <c:pt idx="12">
                  <c:v>1967258220</c:v>
                </c:pt>
                <c:pt idx="13">
                  <c:v>2151416190</c:v>
                </c:pt>
                <c:pt idx="14">
                  <c:v>2330335990</c:v>
                </c:pt>
                <c:pt idx="15">
                  <c:v>2500439400</c:v>
                </c:pt>
                <c:pt idx="16">
                  <c:v>2662071370</c:v>
                </c:pt>
                <c:pt idx="17">
                  <c:v>2813669770</c:v>
                </c:pt>
                <c:pt idx="18">
                  <c:v>2951568840</c:v>
                </c:pt>
                <c:pt idx="19">
                  <c:v>3070878840</c:v>
                </c:pt>
                <c:pt idx="20">
                  <c:v>3169710610</c:v>
                </c:pt>
                <c:pt idx="21">
                  <c:v>3246239220</c:v>
                </c:pt>
                <c:pt idx="22">
                  <c:v>3301586190</c:v>
                </c:pt>
                <c:pt idx="23">
                  <c:v>3337871210</c:v>
                </c:pt>
                <c:pt idx="24">
                  <c:v>3354746270</c:v>
                </c:pt>
                <c:pt idx="25">
                  <c:v>3351886890</c:v>
                </c:pt>
                <c:pt idx="26">
                  <c:v>3330483540</c:v>
                </c:pt>
              </c:numCache>
            </c:numRef>
          </c:val>
          <c:extLst>
            <c:ext xmlns:c16="http://schemas.microsoft.com/office/drawing/2014/chart" uri="{C3380CC4-5D6E-409C-BE32-E72D297353CC}">
              <c16:uniqueId val="{00000002-198D-4370-B0A7-4998AE75BE5B}"/>
            </c:ext>
          </c:extLst>
        </c:ser>
        <c:ser>
          <c:idx val="3"/>
          <c:order val="3"/>
          <c:tx>
            <c:strRef>
              <c:f>'projection-of-world-population-'!$F$1</c:f>
              <c:strCache>
                <c:ptCount val="1"/>
                <c:pt idx="0">
                  <c:v>Post Secondary</c:v>
                </c:pt>
              </c:strCache>
            </c:strRef>
          </c:tx>
          <c:spPr>
            <a:solidFill>
              <a:schemeClr val="accent4"/>
            </a:solidFill>
            <a:ln>
              <a:noFill/>
            </a:ln>
            <a:effectLst/>
          </c:spPr>
          <c:invertIfNegative val="0"/>
          <c:cat>
            <c:numRef>
              <c:f>'projection-of-world-population-'!$B$2:$B$28</c:f>
              <c:numCache>
                <c:formatCode>General</c:formatCode>
                <c:ptCount val="27"/>
                <c:pt idx="0">
                  <c:v>1970</c:v>
                </c:pt>
                <c:pt idx="1">
                  <c:v>1975</c:v>
                </c:pt>
                <c:pt idx="2">
                  <c:v>1980</c:v>
                </c:pt>
                <c:pt idx="3">
                  <c:v>1985</c:v>
                </c:pt>
                <c:pt idx="4">
                  <c:v>1990</c:v>
                </c:pt>
                <c:pt idx="5">
                  <c:v>1995</c:v>
                </c:pt>
                <c:pt idx="6">
                  <c:v>2000</c:v>
                </c:pt>
                <c:pt idx="7">
                  <c:v>2005</c:v>
                </c:pt>
                <c:pt idx="8">
                  <c:v>2010</c:v>
                </c:pt>
                <c:pt idx="9">
                  <c:v>2015</c:v>
                </c:pt>
                <c:pt idx="10">
                  <c:v>2020</c:v>
                </c:pt>
                <c:pt idx="11">
                  <c:v>2025</c:v>
                </c:pt>
                <c:pt idx="12">
                  <c:v>2030</c:v>
                </c:pt>
                <c:pt idx="13">
                  <c:v>2035</c:v>
                </c:pt>
                <c:pt idx="14">
                  <c:v>2040</c:v>
                </c:pt>
                <c:pt idx="15">
                  <c:v>2045</c:v>
                </c:pt>
                <c:pt idx="16">
                  <c:v>2050</c:v>
                </c:pt>
                <c:pt idx="17">
                  <c:v>2055</c:v>
                </c:pt>
                <c:pt idx="18">
                  <c:v>2060</c:v>
                </c:pt>
                <c:pt idx="19">
                  <c:v>2065</c:v>
                </c:pt>
                <c:pt idx="20">
                  <c:v>2070</c:v>
                </c:pt>
                <c:pt idx="21">
                  <c:v>2075</c:v>
                </c:pt>
                <c:pt idx="22">
                  <c:v>2080</c:v>
                </c:pt>
                <c:pt idx="23">
                  <c:v>2085</c:v>
                </c:pt>
                <c:pt idx="24">
                  <c:v>2090</c:v>
                </c:pt>
                <c:pt idx="25">
                  <c:v>2095</c:v>
                </c:pt>
                <c:pt idx="26">
                  <c:v>2100</c:v>
                </c:pt>
              </c:numCache>
            </c:numRef>
          </c:cat>
          <c:val>
            <c:numRef>
              <c:f>'projection-of-world-population-'!$F$2:$F$28</c:f>
              <c:numCache>
                <c:formatCode>General</c:formatCode>
                <c:ptCount val="27"/>
                <c:pt idx="0">
                  <c:v>101463580</c:v>
                </c:pt>
                <c:pt idx="1">
                  <c:v>135628950</c:v>
                </c:pt>
                <c:pt idx="2">
                  <c:v>176871540</c:v>
                </c:pt>
                <c:pt idx="3">
                  <c:v>224795020</c:v>
                </c:pt>
                <c:pt idx="4">
                  <c:v>283065550</c:v>
                </c:pt>
                <c:pt idx="5">
                  <c:v>349531600</c:v>
                </c:pt>
                <c:pt idx="6">
                  <c:v>422580680</c:v>
                </c:pt>
                <c:pt idx="7">
                  <c:v>510662140</c:v>
                </c:pt>
                <c:pt idx="8">
                  <c:v>615180850</c:v>
                </c:pt>
                <c:pt idx="9">
                  <c:v>725515860</c:v>
                </c:pt>
                <c:pt idx="10">
                  <c:v>841773220</c:v>
                </c:pt>
                <c:pt idx="11">
                  <c:v>964758420</c:v>
                </c:pt>
                <c:pt idx="12">
                  <c:v>1097776660</c:v>
                </c:pt>
                <c:pt idx="13">
                  <c:v>1238213320</c:v>
                </c:pt>
                <c:pt idx="14">
                  <c:v>1384584580</c:v>
                </c:pt>
                <c:pt idx="15">
                  <c:v>1534818550</c:v>
                </c:pt>
                <c:pt idx="16">
                  <c:v>1687504650</c:v>
                </c:pt>
                <c:pt idx="17">
                  <c:v>1842202100</c:v>
                </c:pt>
                <c:pt idx="18">
                  <c:v>1997952550</c:v>
                </c:pt>
                <c:pt idx="19">
                  <c:v>2152448970</c:v>
                </c:pt>
                <c:pt idx="20">
                  <c:v>2303099730</c:v>
                </c:pt>
                <c:pt idx="21">
                  <c:v>2448118720</c:v>
                </c:pt>
                <c:pt idx="22">
                  <c:v>2585896770</c:v>
                </c:pt>
                <c:pt idx="23">
                  <c:v>2716254720</c:v>
                </c:pt>
                <c:pt idx="24">
                  <c:v>2840013610</c:v>
                </c:pt>
                <c:pt idx="25">
                  <c:v>2956467880</c:v>
                </c:pt>
                <c:pt idx="26">
                  <c:v>3064321300</c:v>
                </c:pt>
              </c:numCache>
            </c:numRef>
          </c:val>
          <c:extLst>
            <c:ext xmlns:c16="http://schemas.microsoft.com/office/drawing/2014/chart" uri="{C3380CC4-5D6E-409C-BE32-E72D297353CC}">
              <c16:uniqueId val="{00000003-198D-4370-B0A7-4998AE75BE5B}"/>
            </c:ext>
          </c:extLst>
        </c:ser>
        <c:dLbls>
          <c:showLegendKey val="0"/>
          <c:showVal val="0"/>
          <c:showCatName val="0"/>
          <c:showSerName val="0"/>
          <c:showPercent val="0"/>
          <c:showBubbleSize val="0"/>
        </c:dLbls>
        <c:gapWidth val="15"/>
        <c:overlap val="100"/>
        <c:axId val="464237544"/>
        <c:axId val="464230984"/>
      </c:barChart>
      <c:catAx>
        <c:axId val="464237544"/>
        <c:scaling>
          <c:orientation val="minMax"/>
        </c:scaling>
        <c:delete val="1"/>
        <c:axPos val="b"/>
        <c:numFmt formatCode="General" sourceLinked="1"/>
        <c:majorTickMark val="none"/>
        <c:minorTickMark val="none"/>
        <c:tickLblPos val="nextTo"/>
        <c:crossAx val="464230984"/>
        <c:crosses val="autoZero"/>
        <c:auto val="1"/>
        <c:lblAlgn val="ctr"/>
        <c:lblOffset val="100"/>
        <c:noMultiLvlLbl val="0"/>
      </c:catAx>
      <c:valAx>
        <c:axId val="464230984"/>
        <c:scaling>
          <c:orientation val="minMax"/>
        </c:scaling>
        <c:delete val="1"/>
        <c:axPos val="l"/>
        <c:numFmt formatCode="General" sourceLinked="1"/>
        <c:majorTickMark val="none"/>
        <c:minorTickMark val="none"/>
        <c:tickLblPos val="nextTo"/>
        <c:crossAx val="464237544"/>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en-SI"/>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2">
                <a:lumMod val="25000"/>
              </a:schemeClr>
            </a:solidFill>
            <a:ln>
              <a:solidFill>
                <a:srgbClr val="262626"/>
              </a:solidFill>
            </a:ln>
          </c:spPr>
          <c:dPt>
            <c:idx val="0"/>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1-06B0-46DE-8C22-226DEF929345}"/>
              </c:ext>
            </c:extLst>
          </c:dPt>
          <c:dPt>
            <c:idx val="1"/>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3-06B0-46DE-8C22-226DEF929345}"/>
              </c:ext>
            </c:extLst>
          </c:dPt>
          <c:dPt>
            <c:idx val="2"/>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5-06B0-46DE-8C22-226DEF929345}"/>
              </c:ext>
            </c:extLst>
          </c:dPt>
          <c:dPt>
            <c:idx val="3"/>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7-06B0-46DE-8C22-226DEF929345}"/>
              </c:ext>
            </c:extLst>
          </c:dPt>
          <c:dPt>
            <c:idx val="4"/>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9-06B0-46DE-8C22-226DEF929345}"/>
              </c:ext>
            </c:extLst>
          </c:dPt>
          <c:dPt>
            <c:idx val="5"/>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B-06B0-46DE-8C22-226DEF929345}"/>
              </c:ext>
            </c:extLst>
          </c:dPt>
          <c:cat>
            <c:strRef>
              <c:f>Sheet1!$A$2:$A$7</c:f>
              <c:strCache>
                <c:ptCount val="4"/>
                <c:pt idx="0">
                  <c:v>1st Qtr</c:v>
                </c:pt>
                <c:pt idx="1">
                  <c:v>2nd Qtr</c:v>
                </c:pt>
                <c:pt idx="2">
                  <c:v>3rd Qtr</c:v>
                </c:pt>
                <c:pt idx="3">
                  <c:v>4th Qtr</c:v>
                </c:pt>
              </c:strCache>
            </c:strRef>
          </c:cat>
          <c:val>
            <c:numRef>
              <c:f>Sheet1!$B$2:$B$7</c:f>
              <c:numCache>
                <c:formatCode>General</c:formatCode>
                <c:ptCount val="6"/>
                <c:pt idx="0">
                  <c:v>60</c:v>
                </c:pt>
                <c:pt idx="1">
                  <c:v>60</c:v>
                </c:pt>
                <c:pt idx="2">
                  <c:v>60</c:v>
                </c:pt>
                <c:pt idx="3">
                  <c:v>60</c:v>
                </c:pt>
                <c:pt idx="4">
                  <c:v>60</c:v>
                </c:pt>
                <c:pt idx="5">
                  <c:v>60</c:v>
                </c:pt>
              </c:numCache>
            </c:numRef>
          </c:val>
          <c:extLst>
            <c:ext xmlns:c16="http://schemas.microsoft.com/office/drawing/2014/chart" uri="{C3380CC4-5D6E-409C-BE32-E72D297353CC}">
              <c16:uniqueId val="{00000000-0C2A-4CC1-B894-962C5507280E}"/>
            </c:ext>
          </c:extLst>
        </c:ser>
        <c:dLbls>
          <c:showLegendKey val="0"/>
          <c:showVal val="0"/>
          <c:showCatName val="0"/>
          <c:showSerName val="0"/>
          <c:showPercent val="0"/>
          <c:showBubbleSize val="0"/>
          <c:showLeaderLines val="1"/>
        </c:dLbls>
        <c:firstSliceAng val="3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I"/>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2">
                <a:lumMod val="50000"/>
              </a:schemeClr>
            </a:solidFill>
            <a:ln>
              <a:solidFill>
                <a:srgbClr val="262626"/>
              </a:solidFill>
            </a:ln>
          </c:spPr>
          <c:dPt>
            <c:idx val="0"/>
            <c:bubble3D val="0"/>
            <c:spPr>
              <a:solidFill>
                <a:schemeClr val="bg2">
                  <a:lumMod val="50000"/>
                </a:schemeClr>
              </a:solidFill>
              <a:ln w="19050">
                <a:solidFill>
                  <a:srgbClr val="262626"/>
                </a:solidFill>
              </a:ln>
              <a:effectLst/>
            </c:spPr>
            <c:extLst>
              <c:ext xmlns:c16="http://schemas.microsoft.com/office/drawing/2014/chart" uri="{C3380CC4-5D6E-409C-BE32-E72D297353CC}">
                <c16:uniqueId val="{00000001-FBD9-460F-93A1-E29BE02E921C}"/>
              </c:ext>
            </c:extLst>
          </c:dPt>
          <c:dPt>
            <c:idx val="1"/>
            <c:bubble3D val="0"/>
            <c:spPr>
              <a:solidFill>
                <a:schemeClr val="bg2">
                  <a:lumMod val="50000"/>
                </a:schemeClr>
              </a:solidFill>
              <a:ln w="19050">
                <a:solidFill>
                  <a:srgbClr val="262626"/>
                </a:solidFill>
              </a:ln>
              <a:effectLst/>
            </c:spPr>
            <c:extLst>
              <c:ext xmlns:c16="http://schemas.microsoft.com/office/drawing/2014/chart" uri="{C3380CC4-5D6E-409C-BE32-E72D297353CC}">
                <c16:uniqueId val="{00000003-FBD9-460F-93A1-E29BE02E921C}"/>
              </c:ext>
            </c:extLst>
          </c:dPt>
          <c:dPt>
            <c:idx val="2"/>
            <c:bubble3D val="0"/>
            <c:spPr>
              <a:solidFill>
                <a:schemeClr val="bg2">
                  <a:lumMod val="50000"/>
                </a:schemeClr>
              </a:solidFill>
              <a:ln w="19050">
                <a:solidFill>
                  <a:srgbClr val="262626"/>
                </a:solidFill>
              </a:ln>
              <a:effectLst/>
            </c:spPr>
            <c:extLst>
              <c:ext xmlns:c16="http://schemas.microsoft.com/office/drawing/2014/chart" uri="{C3380CC4-5D6E-409C-BE32-E72D297353CC}">
                <c16:uniqueId val="{00000005-FBD9-460F-93A1-E29BE02E921C}"/>
              </c:ext>
            </c:extLst>
          </c:dPt>
          <c:cat>
            <c:strRef>
              <c:f>Sheet1!$A$2:$A$4</c:f>
              <c:strCache>
                <c:ptCount val="3"/>
                <c:pt idx="0">
                  <c:v>1st Qtr</c:v>
                </c:pt>
                <c:pt idx="2">
                  <c:v>3rd Qtr</c:v>
                </c:pt>
              </c:strCache>
            </c:strRef>
          </c:cat>
          <c:val>
            <c:numRef>
              <c:f>Sheet1!$B$2:$B$4</c:f>
              <c:numCache>
                <c:formatCode>General</c:formatCode>
                <c:ptCount val="3"/>
                <c:pt idx="0">
                  <c:v>120</c:v>
                </c:pt>
                <c:pt idx="1">
                  <c:v>120</c:v>
                </c:pt>
                <c:pt idx="2">
                  <c:v>120</c:v>
                </c:pt>
              </c:numCache>
            </c:numRef>
          </c:val>
          <c:extLst>
            <c:ext xmlns:c16="http://schemas.microsoft.com/office/drawing/2014/chart" uri="{C3380CC4-5D6E-409C-BE32-E72D297353CC}">
              <c16:uniqueId val="{0000000E-FBD9-460F-93A1-E29BE02E921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I"/>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3B3838"/>
            </a:solidFill>
            <a:ln>
              <a:noFill/>
            </a:ln>
          </c:spPr>
          <c:dPt>
            <c:idx val="0"/>
            <c:bubble3D val="0"/>
            <c:spPr>
              <a:solidFill>
                <a:srgbClr val="3B3838"/>
              </a:solidFill>
              <a:ln w="19050">
                <a:noFill/>
              </a:ln>
              <a:effectLst/>
            </c:spPr>
            <c:extLst>
              <c:ext xmlns:c16="http://schemas.microsoft.com/office/drawing/2014/chart" uri="{C3380CC4-5D6E-409C-BE32-E72D297353CC}">
                <c16:uniqueId val="{00000001-3811-438B-9E2E-3FB579E743AB}"/>
              </c:ext>
            </c:extLst>
          </c:dPt>
          <c:dPt>
            <c:idx val="1"/>
            <c:bubble3D val="0"/>
            <c:spPr>
              <a:solidFill>
                <a:srgbClr val="3B3838"/>
              </a:solidFill>
              <a:ln w="19050">
                <a:noFill/>
              </a:ln>
              <a:effectLst/>
            </c:spPr>
            <c:extLst>
              <c:ext xmlns:c16="http://schemas.microsoft.com/office/drawing/2014/chart" uri="{C3380CC4-5D6E-409C-BE32-E72D297353CC}">
                <c16:uniqueId val="{00000003-3811-438B-9E2E-3FB579E743AB}"/>
              </c:ext>
            </c:extLst>
          </c:dPt>
          <c:dPt>
            <c:idx val="2"/>
            <c:bubble3D val="0"/>
            <c:spPr>
              <a:solidFill>
                <a:srgbClr val="3B3838"/>
              </a:solidFill>
              <a:ln w="19050">
                <a:noFill/>
              </a:ln>
              <a:effectLst/>
            </c:spPr>
            <c:extLst>
              <c:ext xmlns:c16="http://schemas.microsoft.com/office/drawing/2014/chart" uri="{C3380CC4-5D6E-409C-BE32-E72D297353CC}">
                <c16:uniqueId val="{00000005-3811-438B-9E2E-3FB579E743AB}"/>
              </c:ext>
            </c:extLst>
          </c:dPt>
          <c:dPt>
            <c:idx val="3"/>
            <c:bubble3D val="0"/>
            <c:spPr>
              <a:solidFill>
                <a:srgbClr val="3B3838"/>
              </a:solidFill>
              <a:ln w="19050">
                <a:noFill/>
              </a:ln>
              <a:effectLst/>
            </c:spPr>
            <c:extLst>
              <c:ext xmlns:c16="http://schemas.microsoft.com/office/drawing/2014/chart" uri="{C3380CC4-5D6E-409C-BE32-E72D297353CC}">
                <c16:uniqueId val="{00000007-3811-438B-9E2E-3FB579E743AB}"/>
              </c:ext>
            </c:extLst>
          </c:dPt>
          <c:dPt>
            <c:idx val="4"/>
            <c:bubble3D val="0"/>
            <c:spPr>
              <a:solidFill>
                <a:srgbClr val="3B3838"/>
              </a:solidFill>
              <a:ln w="19050">
                <a:noFill/>
              </a:ln>
              <a:effectLst/>
            </c:spPr>
            <c:extLst>
              <c:ext xmlns:c16="http://schemas.microsoft.com/office/drawing/2014/chart" uri="{C3380CC4-5D6E-409C-BE32-E72D297353CC}">
                <c16:uniqueId val="{00000009-3811-438B-9E2E-3FB579E743AB}"/>
              </c:ext>
            </c:extLst>
          </c:dPt>
          <c:dPt>
            <c:idx val="5"/>
            <c:bubble3D val="0"/>
            <c:spPr>
              <a:solidFill>
                <a:srgbClr val="3B3838"/>
              </a:solidFill>
              <a:ln w="19050">
                <a:noFill/>
              </a:ln>
              <a:effectLst/>
            </c:spPr>
            <c:extLst>
              <c:ext xmlns:c16="http://schemas.microsoft.com/office/drawing/2014/chart" uri="{C3380CC4-5D6E-409C-BE32-E72D297353CC}">
                <c16:uniqueId val="{0000000B-3811-438B-9E2E-3FB579E743AB}"/>
              </c:ext>
            </c:extLst>
          </c:dPt>
          <c:dPt>
            <c:idx val="6"/>
            <c:bubble3D val="0"/>
            <c:spPr>
              <a:solidFill>
                <a:srgbClr val="3B3838"/>
              </a:solidFill>
              <a:ln w="19050">
                <a:noFill/>
              </a:ln>
              <a:effectLst/>
            </c:spPr>
            <c:extLst>
              <c:ext xmlns:c16="http://schemas.microsoft.com/office/drawing/2014/chart" uri="{C3380CC4-5D6E-409C-BE32-E72D297353CC}">
                <c16:uniqueId val="{0000000D-3811-438B-9E2E-3FB579E743AB}"/>
              </c:ext>
            </c:extLst>
          </c:dPt>
          <c:dPt>
            <c:idx val="7"/>
            <c:bubble3D val="0"/>
            <c:spPr>
              <a:solidFill>
                <a:srgbClr val="3B3838"/>
              </a:solidFill>
              <a:ln w="19050">
                <a:noFill/>
              </a:ln>
              <a:effectLst/>
            </c:spPr>
            <c:extLst>
              <c:ext xmlns:c16="http://schemas.microsoft.com/office/drawing/2014/chart" uri="{C3380CC4-5D6E-409C-BE32-E72D297353CC}">
                <c16:uniqueId val="{0000000F-3811-438B-9E2E-3FB579E743AB}"/>
              </c:ext>
            </c:extLst>
          </c:dPt>
          <c:dPt>
            <c:idx val="8"/>
            <c:bubble3D val="0"/>
            <c:spPr>
              <a:solidFill>
                <a:srgbClr val="3B3838"/>
              </a:solidFill>
              <a:ln w="19050">
                <a:noFill/>
              </a:ln>
              <a:effectLst/>
            </c:spPr>
            <c:extLst>
              <c:ext xmlns:c16="http://schemas.microsoft.com/office/drawing/2014/chart" uri="{C3380CC4-5D6E-409C-BE32-E72D297353CC}">
                <c16:uniqueId val="{00000011-3811-438B-9E2E-3FB579E743AB}"/>
              </c:ext>
            </c:extLst>
          </c:dPt>
          <c:dPt>
            <c:idx val="9"/>
            <c:bubble3D val="0"/>
            <c:spPr>
              <a:solidFill>
                <a:srgbClr val="3B3838"/>
              </a:solidFill>
              <a:ln w="19050">
                <a:noFill/>
              </a:ln>
              <a:effectLst/>
            </c:spPr>
            <c:extLst>
              <c:ext xmlns:c16="http://schemas.microsoft.com/office/drawing/2014/chart" uri="{C3380CC4-5D6E-409C-BE32-E72D297353CC}">
                <c16:uniqueId val="{00000013-3811-438B-9E2E-3FB579E743AB}"/>
              </c:ext>
            </c:extLst>
          </c:dPt>
          <c:cat>
            <c:strRef>
              <c:f>Sheet1!$A$2:$A$11</c:f>
              <c:strCache>
                <c:ptCount val="4"/>
                <c:pt idx="0">
                  <c:v>1st Qtr</c:v>
                </c:pt>
                <c:pt idx="1">
                  <c:v>2nd Qtr</c:v>
                </c:pt>
                <c:pt idx="2">
                  <c:v>3rd Qtr</c:v>
                </c:pt>
                <c:pt idx="3">
                  <c:v>4th Qtr</c:v>
                </c:pt>
              </c:strCache>
            </c:strRef>
          </c:cat>
          <c:val>
            <c:numRef>
              <c:f>Sheet1!$B$2:$B$11</c:f>
              <c:numCache>
                <c:formatCode>General</c:formatCode>
                <c:ptCount val="10"/>
                <c:pt idx="0">
                  <c:v>36</c:v>
                </c:pt>
                <c:pt idx="1">
                  <c:v>36</c:v>
                </c:pt>
                <c:pt idx="2">
                  <c:v>36</c:v>
                </c:pt>
                <c:pt idx="3">
                  <c:v>36</c:v>
                </c:pt>
                <c:pt idx="4">
                  <c:v>36</c:v>
                </c:pt>
                <c:pt idx="5">
                  <c:v>36</c:v>
                </c:pt>
                <c:pt idx="6">
                  <c:v>36</c:v>
                </c:pt>
                <c:pt idx="7">
                  <c:v>36</c:v>
                </c:pt>
                <c:pt idx="8">
                  <c:v>36</c:v>
                </c:pt>
                <c:pt idx="9">
                  <c:v>36</c:v>
                </c:pt>
              </c:numCache>
            </c:numRef>
          </c:val>
          <c:extLst>
            <c:ext xmlns:c16="http://schemas.microsoft.com/office/drawing/2014/chart" uri="{C3380CC4-5D6E-409C-BE32-E72D297353CC}">
              <c16:uniqueId val="{00000014-3811-438B-9E2E-3FB579E743A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I"/>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2">
                <a:lumMod val="25000"/>
              </a:schemeClr>
            </a:solidFill>
            <a:ln>
              <a:solidFill>
                <a:srgbClr val="262626"/>
              </a:solidFill>
            </a:ln>
          </c:spPr>
          <c:dPt>
            <c:idx val="0"/>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1-8700-415E-97C5-192AAC5A5335}"/>
              </c:ext>
            </c:extLst>
          </c:dPt>
          <c:dPt>
            <c:idx val="1"/>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3-8700-415E-97C5-192AAC5A5335}"/>
              </c:ext>
            </c:extLst>
          </c:dPt>
          <c:dPt>
            <c:idx val="2"/>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5-8700-415E-97C5-192AAC5A5335}"/>
              </c:ext>
            </c:extLst>
          </c:dPt>
          <c:dPt>
            <c:idx val="3"/>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7-8700-415E-97C5-192AAC5A5335}"/>
              </c:ext>
            </c:extLst>
          </c:dPt>
          <c:dPt>
            <c:idx val="4"/>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9-8700-415E-97C5-192AAC5A5335}"/>
              </c:ext>
            </c:extLst>
          </c:dPt>
          <c:dPt>
            <c:idx val="5"/>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B-8700-415E-97C5-192AAC5A5335}"/>
              </c:ext>
            </c:extLst>
          </c:dPt>
          <c:cat>
            <c:strRef>
              <c:f>Sheet1!$A$2:$A$7</c:f>
              <c:strCache>
                <c:ptCount val="4"/>
                <c:pt idx="0">
                  <c:v>1st Qtr</c:v>
                </c:pt>
                <c:pt idx="1">
                  <c:v>2nd Qtr</c:v>
                </c:pt>
                <c:pt idx="2">
                  <c:v>3rd Qtr</c:v>
                </c:pt>
                <c:pt idx="3">
                  <c:v>4th Qtr</c:v>
                </c:pt>
              </c:strCache>
            </c:strRef>
          </c:cat>
          <c:val>
            <c:numRef>
              <c:f>Sheet1!$B$2:$B$7</c:f>
              <c:numCache>
                <c:formatCode>General</c:formatCode>
                <c:ptCount val="6"/>
                <c:pt idx="0">
                  <c:v>60</c:v>
                </c:pt>
                <c:pt idx="1">
                  <c:v>60</c:v>
                </c:pt>
                <c:pt idx="2">
                  <c:v>60</c:v>
                </c:pt>
                <c:pt idx="3">
                  <c:v>60</c:v>
                </c:pt>
                <c:pt idx="4">
                  <c:v>60</c:v>
                </c:pt>
                <c:pt idx="5">
                  <c:v>60</c:v>
                </c:pt>
              </c:numCache>
            </c:numRef>
          </c:val>
          <c:extLst>
            <c:ext xmlns:c16="http://schemas.microsoft.com/office/drawing/2014/chart" uri="{C3380CC4-5D6E-409C-BE32-E72D297353CC}">
              <c16:uniqueId val="{0000000C-8700-415E-97C5-192AAC5A5335}"/>
            </c:ext>
          </c:extLst>
        </c:ser>
        <c:dLbls>
          <c:showLegendKey val="0"/>
          <c:showVal val="0"/>
          <c:showCatName val="0"/>
          <c:showSerName val="0"/>
          <c:showPercent val="0"/>
          <c:showBubbleSize val="0"/>
          <c:showLeaderLines val="1"/>
        </c:dLbls>
        <c:firstSliceAng val="3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I"/>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3B3838"/>
            </a:solidFill>
            <a:ln>
              <a:solidFill>
                <a:srgbClr val="262626"/>
              </a:solidFill>
            </a:ln>
          </c:spPr>
          <c:dPt>
            <c:idx val="0"/>
            <c:bubble3D val="0"/>
            <c:spPr>
              <a:solidFill>
                <a:srgbClr val="3B3838"/>
              </a:solidFill>
              <a:ln w="19050">
                <a:solidFill>
                  <a:srgbClr val="262626"/>
                </a:solidFill>
              </a:ln>
              <a:effectLst/>
            </c:spPr>
            <c:extLst>
              <c:ext xmlns:c16="http://schemas.microsoft.com/office/drawing/2014/chart" uri="{C3380CC4-5D6E-409C-BE32-E72D297353CC}">
                <c16:uniqueId val="{00000001-9DEF-46A8-AE97-3AA58C597396}"/>
              </c:ext>
            </c:extLst>
          </c:dPt>
          <c:dPt>
            <c:idx val="1"/>
            <c:bubble3D val="0"/>
            <c:spPr>
              <a:solidFill>
                <a:srgbClr val="3B3838"/>
              </a:solidFill>
              <a:ln w="19050">
                <a:solidFill>
                  <a:srgbClr val="262626"/>
                </a:solidFill>
              </a:ln>
              <a:effectLst/>
            </c:spPr>
            <c:extLst>
              <c:ext xmlns:c16="http://schemas.microsoft.com/office/drawing/2014/chart" uri="{C3380CC4-5D6E-409C-BE32-E72D297353CC}">
                <c16:uniqueId val="{00000003-9DEF-46A8-AE97-3AA58C597396}"/>
              </c:ext>
            </c:extLst>
          </c:dPt>
          <c:dPt>
            <c:idx val="2"/>
            <c:bubble3D val="0"/>
            <c:spPr>
              <a:solidFill>
                <a:srgbClr val="3B3838"/>
              </a:solidFill>
              <a:ln w="19050">
                <a:solidFill>
                  <a:srgbClr val="262626"/>
                </a:solidFill>
              </a:ln>
              <a:effectLst/>
            </c:spPr>
            <c:extLst>
              <c:ext xmlns:c16="http://schemas.microsoft.com/office/drawing/2014/chart" uri="{C3380CC4-5D6E-409C-BE32-E72D297353CC}">
                <c16:uniqueId val="{00000005-9DEF-46A8-AE97-3AA58C597396}"/>
              </c:ext>
            </c:extLst>
          </c:dPt>
          <c:cat>
            <c:strRef>
              <c:f>Sheet1!$A$2:$A$4</c:f>
              <c:strCache>
                <c:ptCount val="3"/>
                <c:pt idx="0">
                  <c:v>1st Qtr</c:v>
                </c:pt>
                <c:pt idx="2">
                  <c:v>3rd Qtr</c:v>
                </c:pt>
              </c:strCache>
            </c:strRef>
          </c:cat>
          <c:val>
            <c:numRef>
              <c:f>Sheet1!$B$2:$B$4</c:f>
              <c:numCache>
                <c:formatCode>General</c:formatCode>
                <c:ptCount val="3"/>
                <c:pt idx="0">
                  <c:v>120</c:v>
                </c:pt>
                <c:pt idx="1">
                  <c:v>120</c:v>
                </c:pt>
                <c:pt idx="2">
                  <c:v>120</c:v>
                </c:pt>
              </c:numCache>
            </c:numRef>
          </c:val>
          <c:extLst>
            <c:ext xmlns:c16="http://schemas.microsoft.com/office/drawing/2014/chart" uri="{C3380CC4-5D6E-409C-BE32-E72D297353CC}">
              <c16:uniqueId val="{00000006-9DEF-46A8-AE97-3AA58C59739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I"/>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2">
                <a:lumMod val="10000"/>
              </a:schemeClr>
            </a:solidFill>
            <a:ln>
              <a:noFill/>
            </a:ln>
          </c:spPr>
          <c:dPt>
            <c:idx val="0"/>
            <c:bubble3D val="0"/>
            <c:spPr>
              <a:solidFill>
                <a:schemeClr val="bg2">
                  <a:lumMod val="10000"/>
                </a:schemeClr>
              </a:solidFill>
              <a:ln w="19050">
                <a:noFill/>
              </a:ln>
              <a:effectLst/>
            </c:spPr>
            <c:extLst>
              <c:ext xmlns:c16="http://schemas.microsoft.com/office/drawing/2014/chart" uri="{C3380CC4-5D6E-409C-BE32-E72D297353CC}">
                <c16:uniqueId val="{00000001-595E-446E-8CCD-7F79DCC32A1D}"/>
              </c:ext>
            </c:extLst>
          </c:dPt>
          <c:dPt>
            <c:idx val="1"/>
            <c:bubble3D val="0"/>
            <c:spPr>
              <a:solidFill>
                <a:schemeClr val="bg2">
                  <a:lumMod val="10000"/>
                </a:schemeClr>
              </a:solidFill>
              <a:ln w="19050">
                <a:noFill/>
              </a:ln>
              <a:effectLst/>
            </c:spPr>
            <c:extLst>
              <c:ext xmlns:c16="http://schemas.microsoft.com/office/drawing/2014/chart" uri="{C3380CC4-5D6E-409C-BE32-E72D297353CC}">
                <c16:uniqueId val="{00000003-595E-446E-8CCD-7F79DCC32A1D}"/>
              </c:ext>
            </c:extLst>
          </c:dPt>
          <c:dPt>
            <c:idx val="2"/>
            <c:bubble3D val="0"/>
            <c:spPr>
              <a:solidFill>
                <a:schemeClr val="bg2">
                  <a:lumMod val="10000"/>
                </a:schemeClr>
              </a:solidFill>
              <a:ln w="19050">
                <a:noFill/>
              </a:ln>
              <a:effectLst/>
            </c:spPr>
            <c:extLst>
              <c:ext xmlns:c16="http://schemas.microsoft.com/office/drawing/2014/chart" uri="{C3380CC4-5D6E-409C-BE32-E72D297353CC}">
                <c16:uniqueId val="{00000005-595E-446E-8CCD-7F79DCC32A1D}"/>
              </c:ext>
            </c:extLst>
          </c:dPt>
          <c:dPt>
            <c:idx val="3"/>
            <c:bubble3D val="0"/>
            <c:spPr>
              <a:solidFill>
                <a:schemeClr val="bg2">
                  <a:lumMod val="10000"/>
                </a:schemeClr>
              </a:solidFill>
              <a:ln w="19050">
                <a:noFill/>
              </a:ln>
              <a:effectLst/>
            </c:spPr>
            <c:extLst>
              <c:ext xmlns:c16="http://schemas.microsoft.com/office/drawing/2014/chart" uri="{C3380CC4-5D6E-409C-BE32-E72D297353CC}">
                <c16:uniqueId val="{00000007-595E-446E-8CCD-7F79DCC32A1D}"/>
              </c:ext>
            </c:extLst>
          </c:dPt>
          <c:dPt>
            <c:idx val="4"/>
            <c:bubble3D val="0"/>
            <c:spPr>
              <a:solidFill>
                <a:schemeClr val="bg2">
                  <a:lumMod val="10000"/>
                </a:schemeClr>
              </a:solidFill>
              <a:ln w="19050">
                <a:noFill/>
              </a:ln>
              <a:effectLst/>
            </c:spPr>
            <c:extLst>
              <c:ext xmlns:c16="http://schemas.microsoft.com/office/drawing/2014/chart" uri="{C3380CC4-5D6E-409C-BE32-E72D297353CC}">
                <c16:uniqueId val="{00000009-595E-446E-8CCD-7F79DCC32A1D}"/>
              </c:ext>
            </c:extLst>
          </c:dPt>
          <c:dPt>
            <c:idx val="5"/>
            <c:bubble3D val="0"/>
            <c:spPr>
              <a:solidFill>
                <a:schemeClr val="bg2">
                  <a:lumMod val="10000"/>
                </a:schemeClr>
              </a:solidFill>
              <a:ln w="19050">
                <a:noFill/>
              </a:ln>
              <a:effectLst/>
            </c:spPr>
            <c:extLst>
              <c:ext xmlns:c16="http://schemas.microsoft.com/office/drawing/2014/chart" uri="{C3380CC4-5D6E-409C-BE32-E72D297353CC}">
                <c16:uniqueId val="{0000000B-595E-446E-8CCD-7F79DCC32A1D}"/>
              </c:ext>
            </c:extLst>
          </c:dPt>
          <c:dPt>
            <c:idx val="6"/>
            <c:bubble3D val="0"/>
            <c:spPr>
              <a:solidFill>
                <a:schemeClr val="bg2">
                  <a:lumMod val="10000"/>
                </a:schemeClr>
              </a:solidFill>
              <a:ln w="19050">
                <a:noFill/>
              </a:ln>
              <a:effectLst/>
            </c:spPr>
            <c:extLst>
              <c:ext xmlns:c16="http://schemas.microsoft.com/office/drawing/2014/chart" uri="{C3380CC4-5D6E-409C-BE32-E72D297353CC}">
                <c16:uniqueId val="{0000000D-595E-446E-8CCD-7F79DCC32A1D}"/>
              </c:ext>
            </c:extLst>
          </c:dPt>
          <c:dPt>
            <c:idx val="7"/>
            <c:bubble3D val="0"/>
            <c:spPr>
              <a:solidFill>
                <a:schemeClr val="bg2">
                  <a:lumMod val="10000"/>
                </a:schemeClr>
              </a:solidFill>
              <a:ln w="19050">
                <a:noFill/>
              </a:ln>
              <a:effectLst/>
            </c:spPr>
            <c:extLst>
              <c:ext xmlns:c16="http://schemas.microsoft.com/office/drawing/2014/chart" uri="{C3380CC4-5D6E-409C-BE32-E72D297353CC}">
                <c16:uniqueId val="{0000000F-595E-446E-8CCD-7F79DCC32A1D}"/>
              </c:ext>
            </c:extLst>
          </c:dPt>
          <c:dPt>
            <c:idx val="8"/>
            <c:bubble3D val="0"/>
            <c:spPr>
              <a:solidFill>
                <a:schemeClr val="bg2">
                  <a:lumMod val="10000"/>
                </a:schemeClr>
              </a:solidFill>
              <a:ln w="19050">
                <a:noFill/>
              </a:ln>
              <a:effectLst/>
            </c:spPr>
            <c:extLst>
              <c:ext xmlns:c16="http://schemas.microsoft.com/office/drawing/2014/chart" uri="{C3380CC4-5D6E-409C-BE32-E72D297353CC}">
                <c16:uniqueId val="{00000011-595E-446E-8CCD-7F79DCC32A1D}"/>
              </c:ext>
            </c:extLst>
          </c:dPt>
          <c:dPt>
            <c:idx val="9"/>
            <c:bubble3D val="0"/>
            <c:spPr>
              <a:solidFill>
                <a:schemeClr val="bg2">
                  <a:lumMod val="10000"/>
                </a:schemeClr>
              </a:solidFill>
              <a:ln w="19050">
                <a:noFill/>
              </a:ln>
              <a:effectLst/>
            </c:spPr>
            <c:extLst>
              <c:ext xmlns:c16="http://schemas.microsoft.com/office/drawing/2014/chart" uri="{C3380CC4-5D6E-409C-BE32-E72D297353CC}">
                <c16:uniqueId val="{00000013-595E-446E-8CCD-7F79DCC32A1D}"/>
              </c:ext>
            </c:extLst>
          </c:dPt>
          <c:cat>
            <c:strRef>
              <c:f>Sheet1!$A$2:$A$11</c:f>
              <c:strCache>
                <c:ptCount val="4"/>
                <c:pt idx="0">
                  <c:v>1st Qtr</c:v>
                </c:pt>
                <c:pt idx="1">
                  <c:v>2nd Qtr</c:v>
                </c:pt>
                <c:pt idx="2">
                  <c:v>3rd Qtr</c:v>
                </c:pt>
                <c:pt idx="3">
                  <c:v>4th Qtr</c:v>
                </c:pt>
              </c:strCache>
            </c:strRef>
          </c:cat>
          <c:val>
            <c:numRef>
              <c:f>Sheet1!$B$2:$B$11</c:f>
              <c:numCache>
                <c:formatCode>General</c:formatCode>
                <c:ptCount val="10"/>
                <c:pt idx="0">
                  <c:v>36</c:v>
                </c:pt>
                <c:pt idx="1">
                  <c:v>36</c:v>
                </c:pt>
                <c:pt idx="2">
                  <c:v>36</c:v>
                </c:pt>
                <c:pt idx="3">
                  <c:v>36</c:v>
                </c:pt>
                <c:pt idx="4">
                  <c:v>36</c:v>
                </c:pt>
                <c:pt idx="5">
                  <c:v>36</c:v>
                </c:pt>
                <c:pt idx="6">
                  <c:v>36</c:v>
                </c:pt>
                <c:pt idx="7">
                  <c:v>36</c:v>
                </c:pt>
                <c:pt idx="8">
                  <c:v>36</c:v>
                </c:pt>
                <c:pt idx="9">
                  <c:v>36</c:v>
                </c:pt>
              </c:numCache>
            </c:numRef>
          </c:val>
          <c:extLst>
            <c:ext xmlns:c16="http://schemas.microsoft.com/office/drawing/2014/chart" uri="{C3380CC4-5D6E-409C-BE32-E72D297353CC}">
              <c16:uniqueId val="{00000014-595E-446E-8CCD-7F79DCC32A1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I"/>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2">
                <a:lumMod val="25000"/>
              </a:schemeClr>
            </a:solidFill>
            <a:ln>
              <a:solidFill>
                <a:srgbClr val="262626"/>
              </a:solidFill>
            </a:ln>
          </c:spPr>
          <c:dPt>
            <c:idx val="0"/>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1-B1FE-4C4C-A986-F4769A9FC2E3}"/>
              </c:ext>
            </c:extLst>
          </c:dPt>
          <c:dPt>
            <c:idx val="1"/>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3-B1FE-4C4C-A986-F4769A9FC2E3}"/>
              </c:ext>
            </c:extLst>
          </c:dPt>
          <c:dPt>
            <c:idx val="2"/>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5-B1FE-4C4C-A986-F4769A9FC2E3}"/>
              </c:ext>
            </c:extLst>
          </c:dPt>
          <c:dPt>
            <c:idx val="3"/>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7-B1FE-4C4C-A986-F4769A9FC2E3}"/>
              </c:ext>
            </c:extLst>
          </c:dPt>
          <c:dPt>
            <c:idx val="4"/>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9-B1FE-4C4C-A986-F4769A9FC2E3}"/>
              </c:ext>
            </c:extLst>
          </c:dPt>
          <c:dPt>
            <c:idx val="5"/>
            <c:bubble3D val="0"/>
            <c:spPr>
              <a:solidFill>
                <a:schemeClr val="bg2">
                  <a:lumMod val="25000"/>
                </a:schemeClr>
              </a:solidFill>
              <a:ln w="19050">
                <a:solidFill>
                  <a:srgbClr val="262626"/>
                </a:solidFill>
              </a:ln>
              <a:effectLst/>
            </c:spPr>
            <c:extLst>
              <c:ext xmlns:c16="http://schemas.microsoft.com/office/drawing/2014/chart" uri="{C3380CC4-5D6E-409C-BE32-E72D297353CC}">
                <c16:uniqueId val="{0000000B-B1FE-4C4C-A986-F4769A9FC2E3}"/>
              </c:ext>
            </c:extLst>
          </c:dPt>
          <c:cat>
            <c:strRef>
              <c:f>Sheet1!$A$2:$A$7</c:f>
              <c:strCache>
                <c:ptCount val="4"/>
                <c:pt idx="0">
                  <c:v>1st Qtr</c:v>
                </c:pt>
                <c:pt idx="1">
                  <c:v>2nd Qtr</c:v>
                </c:pt>
                <c:pt idx="2">
                  <c:v>3rd Qtr</c:v>
                </c:pt>
                <c:pt idx="3">
                  <c:v>4th Qtr</c:v>
                </c:pt>
              </c:strCache>
            </c:strRef>
          </c:cat>
          <c:val>
            <c:numRef>
              <c:f>Sheet1!$B$2:$B$7</c:f>
              <c:numCache>
                <c:formatCode>General</c:formatCode>
                <c:ptCount val="6"/>
                <c:pt idx="0">
                  <c:v>60</c:v>
                </c:pt>
                <c:pt idx="1">
                  <c:v>60</c:v>
                </c:pt>
                <c:pt idx="2">
                  <c:v>60</c:v>
                </c:pt>
                <c:pt idx="3">
                  <c:v>60</c:v>
                </c:pt>
                <c:pt idx="4">
                  <c:v>60</c:v>
                </c:pt>
                <c:pt idx="5">
                  <c:v>60</c:v>
                </c:pt>
              </c:numCache>
            </c:numRef>
          </c:val>
          <c:extLst>
            <c:ext xmlns:c16="http://schemas.microsoft.com/office/drawing/2014/chart" uri="{C3380CC4-5D6E-409C-BE32-E72D297353CC}">
              <c16:uniqueId val="{0000000C-B1FE-4C4C-A986-F4769A9FC2E3}"/>
            </c:ext>
          </c:extLst>
        </c:ser>
        <c:dLbls>
          <c:showLegendKey val="0"/>
          <c:showVal val="0"/>
          <c:showCatName val="0"/>
          <c:showSerName val="0"/>
          <c:showPercent val="0"/>
          <c:showBubbleSize val="0"/>
          <c:showLeaderLines val="1"/>
        </c:dLbls>
        <c:firstSliceAng val="3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I"/>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2">
                <a:lumMod val="50000"/>
              </a:schemeClr>
            </a:solidFill>
            <a:ln>
              <a:solidFill>
                <a:srgbClr val="262626"/>
              </a:solidFill>
            </a:ln>
          </c:spPr>
          <c:dPt>
            <c:idx val="0"/>
            <c:bubble3D val="0"/>
            <c:spPr>
              <a:solidFill>
                <a:schemeClr val="bg2">
                  <a:lumMod val="50000"/>
                </a:schemeClr>
              </a:solidFill>
              <a:ln w="19050">
                <a:solidFill>
                  <a:srgbClr val="262626"/>
                </a:solidFill>
              </a:ln>
              <a:effectLst/>
            </c:spPr>
            <c:extLst>
              <c:ext xmlns:c16="http://schemas.microsoft.com/office/drawing/2014/chart" uri="{C3380CC4-5D6E-409C-BE32-E72D297353CC}">
                <c16:uniqueId val="{00000001-75BE-4FDB-BEB0-2F50B0BB5B00}"/>
              </c:ext>
            </c:extLst>
          </c:dPt>
          <c:dPt>
            <c:idx val="1"/>
            <c:bubble3D val="0"/>
            <c:spPr>
              <a:solidFill>
                <a:schemeClr val="bg2">
                  <a:lumMod val="50000"/>
                </a:schemeClr>
              </a:solidFill>
              <a:ln w="19050">
                <a:solidFill>
                  <a:srgbClr val="262626"/>
                </a:solidFill>
              </a:ln>
              <a:effectLst/>
            </c:spPr>
            <c:extLst>
              <c:ext xmlns:c16="http://schemas.microsoft.com/office/drawing/2014/chart" uri="{C3380CC4-5D6E-409C-BE32-E72D297353CC}">
                <c16:uniqueId val="{00000003-75BE-4FDB-BEB0-2F50B0BB5B00}"/>
              </c:ext>
            </c:extLst>
          </c:dPt>
          <c:dPt>
            <c:idx val="2"/>
            <c:bubble3D val="0"/>
            <c:spPr>
              <a:solidFill>
                <a:schemeClr val="bg2">
                  <a:lumMod val="50000"/>
                </a:schemeClr>
              </a:solidFill>
              <a:ln w="19050">
                <a:solidFill>
                  <a:srgbClr val="262626"/>
                </a:solidFill>
              </a:ln>
              <a:effectLst/>
            </c:spPr>
            <c:extLst>
              <c:ext xmlns:c16="http://schemas.microsoft.com/office/drawing/2014/chart" uri="{C3380CC4-5D6E-409C-BE32-E72D297353CC}">
                <c16:uniqueId val="{00000005-75BE-4FDB-BEB0-2F50B0BB5B00}"/>
              </c:ext>
            </c:extLst>
          </c:dPt>
          <c:cat>
            <c:strRef>
              <c:f>Sheet1!$A$2:$A$4</c:f>
              <c:strCache>
                <c:ptCount val="3"/>
                <c:pt idx="0">
                  <c:v>1st Qtr</c:v>
                </c:pt>
                <c:pt idx="2">
                  <c:v>3rd Qtr</c:v>
                </c:pt>
              </c:strCache>
            </c:strRef>
          </c:cat>
          <c:val>
            <c:numRef>
              <c:f>Sheet1!$B$2:$B$4</c:f>
              <c:numCache>
                <c:formatCode>General</c:formatCode>
                <c:ptCount val="3"/>
                <c:pt idx="0">
                  <c:v>120</c:v>
                </c:pt>
                <c:pt idx="1">
                  <c:v>120</c:v>
                </c:pt>
                <c:pt idx="2">
                  <c:v>120</c:v>
                </c:pt>
              </c:numCache>
            </c:numRef>
          </c:val>
          <c:extLst>
            <c:ext xmlns:c16="http://schemas.microsoft.com/office/drawing/2014/chart" uri="{C3380CC4-5D6E-409C-BE32-E72D297353CC}">
              <c16:uniqueId val="{00000006-75BE-4FDB-BEB0-2F50B0BB5B0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SI"/>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10/26/2022 10:5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10/26/2022 10:5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Light"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Light"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C61DAB-D93E-49CA-B245-379601CFE8D0}" type="datetime8">
              <a:rPr lang="en-US" smtClean="0"/>
              <a:t>10/26/2022 10:57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4425269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i="1" dirty="0">
                <a:effectLst/>
                <a:latin typeface="Segoe UI" panose="020B0502040204020203" pitchFamily="34" charset="0"/>
                <a:ea typeface="Segoe UI" panose="020B0502040204020203" pitchFamily="34" charset="0"/>
                <a:cs typeface="Times New Roman" panose="02020603050405020304" pitchFamily="18" charset="0"/>
              </a:rPr>
              <a:t>a future that will bring rigorous demands for skills in </a:t>
            </a:r>
            <a:r>
              <a:rPr lang="en-US" sz="1200" b="1" i="1" dirty="0">
                <a:effectLst/>
                <a:latin typeface="Segoe UI" panose="020B0502040204020203" pitchFamily="34" charset="0"/>
                <a:ea typeface="Segoe UI" panose="020B0502040204020203" pitchFamily="34" charset="0"/>
                <a:cs typeface="Times New Roman" panose="02020603050405020304" pitchFamily="18" charset="0"/>
              </a:rPr>
              <a:t>C</a:t>
            </a:r>
            <a:r>
              <a:rPr lang="en-US" sz="1200" i="1" dirty="0">
                <a:effectLst/>
                <a:latin typeface="Segoe UI" panose="020B0502040204020203" pitchFamily="34" charset="0"/>
                <a:ea typeface="Segoe UI" panose="020B0502040204020203" pitchFamily="34" charset="0"/>
                <a:cs typeface="Times New Roman" panose="02020603050405020304" pitchFamily="18" charset="0"/>
              </a:rPr>
              <a:t>ommunication and </a:t>
            </a:r>
            <a:r>
              <a:rPr lang="en-US" sz="1200" b="1" i="1" dirty="0">
                <a:effectLst/>
                <a:latin typeface="Segoe UI" panose="020B0502040204020203" pitchFamily="34" charset="0"/>
                <a:ea typeface="Segoe UI" panose="020B0502040204020203" pitchFamily="34" charset="0"/>
                <a:cs typeface="Times New Roman" panose="02020603050405020304" pitchFamily="18" charset="0"/>
              </a:rPr>
              <a:t>C</a:t>
            </a:r>
            <a:r>
              <a:rPr lang="en-US" sz="1200" i="1" dirty="0">
                <a:effectLst/>
                <a:latin typeface="Segoe UI" panose="020B0502040204020203" pitchFamily="34" charset="0"/>
                <a:ea typeface="Segoe UI" panose="020B0502040204020203" pitchFamily="34" charset="0"/>
                <a:cs typeface="Times New Roman" panose="02020603050405020304" pitchFamily="18" charset="0"/>
              </a:rPr>
              <a:t>ollaboration, demands for </a:t>
            </a:r>
            <a:r>
              <a:rPr lang="en-US" sz="1200" b="1" i="1" dirty="0">
                <a:effectLst/>
                <a:latin typeface="Segoe UI" panose="020B0502040204020203" pitchFamily="34" charset="0"/>
                <a:ea typeface="Segoe UI" panose="020B0502040204020203" pitchFamily="34" charset="0"/>
                <a:cs typeface="Times New Roman" panose="02020603050405020304" pitchFamily="18" charset="0"/>
              </a:rPr>
              <a:t>C</a:t>
            </a:r>
            <a:r>
              <a:rPr lang="en-US" sz="1200" i="1" dirty="0">
                <a:effectLst/>
                <a:latin typeface="Segoe UI" panose="020B0502040204020203" pitchFamily="34" charset="0"/>
                <a:ea typeface="Segoe UI" panose="020B0502040204020203" pitchFamily="34" charset="0"/>
                <a:cs typeface="Times New Roman" panose="02020603050405020304" pitchFamily="18" charset="0"/>
              </a:rPr>
              <a:t>reativity and </a:t>
            </a:r>
            <a:r>
              <a:rPr lang="en-US" sz="1200" b="1" i="1" dirty="0">
                <a:effectLst/>
                <a:latin typeface="Segoe UI" panose="020B0502040204020203" pitchFamily="34" charset="0"/>
                <a:ea typeface="Segoe UI" panose="020B0502040204020203" pitchFamily="34" charset="0"/>
                <a:cs typeface="Times New Roman" panose="02020603050405020304" pitchFamily="18" charset="0"/>
              </a:rPr>
              <a:t>C</a:t>
            </a:r>
            <a:r>
              <a:rPr lang="en-US" sz="1200" i="1" dirty="0">
                <a:effectLst/>
                <a:latin typeface="Segoe UI" panose="020B0502040204020203" pitchFamily="34" charset="0"/>
                <a:ea typeface="Segoe UI" panose="020B0502040204020203" pitchFamily="34" charset="0"/>
                <a:cs typeface="Times New Roman" panose="02020603050405020304" pitchFamily="18" charset="0"/>
              </a:rPr>
              <a:t>ritical thinking, for </a:t>
            </a:r>
            <a:r>
              <a:rPr lang="en-US" sz="1200" b="1" i="1" dirty="0">
                <a:effectLst/>
                <a:latin typeface="Segoe UI" panose="020B0502040204020203" pitchFamily="34" charset="0"/>
                <a:ea typeface="Segoe UI" panose="020B0502040204020203" pitchFamily="34" charset="0"/>
                <a:cs typeface="Times New Roman" panose="02020603050405020304" pitchFamily="18" charset="0"/>
              </a:rPr>
              <a:t>C</a:t>
            </a:r>
            <a:r>
              <a:rPr lang="en-US" sz="1200" i="1" dirty="0">
                <a:effectLst/>
                <a:latin typeface="Segoe UI" panose="020B0502040204020203" pitchFamily="34" charset="0"/>
                <a:ea typeface="Segoe UI" panose="020B0502040204020203" pitchFamily="34" charset="0"/>
                <a:cs typeface="Times New Roman" panose="02020603050405020304" pitchFamily="18" charset="0"/>
              </a:rPr>
              <a:t>omputational thinking, </a:t>
            </a:r>
            <a:r>
              <a:rPr lang="en-US" sz="1200" b="1" i="1" dirty="0">
                <a:effectLst/>
                <a:latin typeface="Segoe UI" panose="020B0502040204020203" pitchFamily="34" charset="0"/>
                <a:ea typeface="Segoe UI" panose="020B0502040204020203" pitchFamily="34" charset="0"/>
                <a:cs typeface="Times New Roman" panose="02020603050405020304" pitchFamily="18" charset="0"/>
              </a:rPr>
              <a:t>C</a:t>
            </a:r>
            <a:r>
              <a:rPr lang="en-US" sz="1200" i="1" dirty="0">
                <a:effectLst/>
                <a:latin typeface="Segoe UI" panose="020B0502040204020203" pitchFamily="34" charset="0"/>
                <a:ea typeface="Segoe UI" panose="020B0502040204020203" pitchFamily="34" charset="0"/>
                <a:cs typeface="Times New Roman" panose="02020603050405020304" pitchFamily="18" charset="0"/>
              </a:rPr>
              <a:t>oding and STEM, and demands that we build </a:t>
            </a:r>
            <a:r>
              <a:rPr lang="en-US" sz="1200" b="1" i="1" dirty="0">
                <a:effectLst/>
                <a:latin typeface="Segoe UI" panose="020B0502040204020203" pitchFamily="34" charset="0"/>
                <a:ea typeface="Segoe UI" panose="020B0502040204020203" pitchFamily="34" charset="0"/>
                <a:cs typeface="Times New Roman" panose="02020603050405020304" pitchFamily="18" charset="0"/>
              </a:rPr>
              <a:t>C</a:t>
            </a:r>
            <a:r>
              <a:rPr lang="en-US" sz="1200" i="1" dirty="0">
                <a:effectLst/>
                <a:latin typeface="Segoe UI" panose="020B0502040204020203" pitchFamily="34" charset="0"/>
                <a:ea typeface="Segoe UI" panose="020B0502040204020203" pitchFamily="34" charset="0"/>
                <a:cs typeface="Times New Roman" panose="02020603050405020304" pitchFamily="18" charset="0"/>
              </a:rPr>
              <a:t>ommunity across all that we do.</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a:lnSpc>
                <a:spcPct val="107000"/>
              </a:lnSpc>
              <a:spcBef>
                <a:spcPts val="0"/>
              </a:spcBef>
              <a:spcAft>
                <a:spcPts val="0"/>
              </a:spcAft>
            </a:pPr>
            <a:r>
              <a:rPr lang="en-US" sz="1200" i="1" dirty="0">
                <a:effectLst/>
                <a:latin typeface="Segoe UI" panose="020B0502040204020203" pitchFamily="34" charset="0"/>
                <a:ea typeface="Segoe UI" panose="020B0502040204020203" pitchFamily="34" charset="0"/>
                <a:cs typeface="Times New Roman" panose="02020603050405020304" pitchFamily="18" charset="0"/>
              </a:rPr>
              <a:t> </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a:lnSpc>
                <a:spcPct val="107000"/>
              </a:lnSpc>
              <a:spcBef>
                <a:spcPts val="0"/>
              </a:spcBef>
              <a:spcAft>
                <a:spcPts val="0"/>
              </a:spcAft>
            </a:pPr>
            <a:r>
              <a:rPr lang="en-US" sz="1200" i="1" dirty="0">
                <a:effectLst/>
                <a:latin typeface="Segoe UI" panose="020B0502040204020203" pitchFamily="34" charset="0"/>
                <a:ea typeface="Segoe UI" panose="020B0502040204020203" pitchFamily="34" charset="0"/>
                <a:cs typeface="Times New Roman" panose="02020603050405020304" pitchFamily="18" charset="0"/>
              </a:rPr>
              <a:t>These events, whether in person or virtual serve such a rich purpose. I want to thank you all for taking the time to be here, to be a part of the movement to transform our schools – I also want to thank all of you that have been responsible for “holding it all together” during these unprecedented times.</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pPr marL="0" marR="0">
              <a:lnSpc>
                <a:spcPct val="107000"/>
              </a:lnSpc>
              <a:spcBef>
                <a:spcPts val="0"/>
              </a:spcBef>
              <a:spcAft>
                <a:spcPts val="0"/>
              </a:spcAft>
            </a:pPr>
            <a:r>
              <a:rPr lang="en-US" sz="1200" i="1" dirty="0">
                <a:effectLst/>
                <a:latin typeface="Segoe UI" panose="020B0502040204020203" pitchFamily="34" charset="0"/>
                <a:ea typeface="Segoe UI" panose="020B0502040204020203" pitchFamily="34" charset="0"/>
                <a:cs typeface="Times New Roman" panose="02020603050405020304" pitchFamily="18" charset="0"/>
              </a:rPr>
              <a:t> </a:t>
            </a:r>
            <a:endParaRPr lang="en-US" sz="1200" dirty="0">
              <a:effectLst/>
              <a:latin typeface="Segoe UI" panose="020B0502040204020203" pitchFamily="34" charset="0"/>
              <a:ea typeface="Segoe UI" panose="020B0502040204020203"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44718-F0EF-471F-8929-906FC5EE63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3435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1C6640-875F-4E40-B5B1-4A83C0F5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51965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ording to some</a:t>
            </a:r>
            <a:r>
              <a:rPr lang="en-US" baseline="0"/>
              <a:t> estimates </a:t>
            </a:r>
            <a:r>
              <a:rPr lang="en-US" baseline="0" err="1"/>
              <a:t>inneffective</a:t>
            </a:r>
            <a:r>
              <a:rPr lang="en-US" baseline="0"/>
              <a:t> Training costs US Companies $13.5 Million per year for every 1000 employees. How do we keep it from being ineffective? We must transform how we do learning – in order to realize the benefits that effective learning can bring to an organization.  </a:t>
            </a:r>
            <a:endParaRPr lang="en-US"/>
          </a:p>
          <a:p>
            <a:endParaRPr lang="en-US"/>
          </a:p>
          <a:p>
            <a:endParaRPr lang="en-US"/>
          </a:p>
          <a:p>
            <a:r>
              <a:rPr lang="en-US"/>
              <a:t>In other words, the way we learn</a:t>
            </a:r>
            <a:r>
              <a:rPr lang="en-US" baseline="0"/>
              <a:t> needs to transform and expand. We are not saying that you replace – these are not arrows indicating a move from one way to another, we suggest it as augmenting what you have today.  Making Learning a Growth Engine for your organization – use the six key technology trends to transform the way your customers, partners, and employees learn.</a:t>
            </a:r>
          </a:p>
          <a:p>
            <a:endParaRPr lang="en-US"/>
          </a:p>
          <a:p>
            <a:r>
              <a:rPr lang="en-US" b="1"/>
              <a:t>Informal.</a:t>
            </a:r>
            <a:r>
              <a:rPr lang="en-US" b="0" baseline="0"/>
              <a:t> Redefining what is considered learning. Reading an article or email, </a:t>
            </a:r>
            <a:endParaRPr lang="en-US" b="1"/>
          </a:p>
          <a:p>
            <a:pPr marL="0" marR="0" lvl="0" indent="0" algn="l" defTabSz="932742" rtl="0" eaLnBrk="1" fontAlgn="auto" latinLnBrk="0" hangingPunct="1">
              <a:lnSpc>
                <a:spcPct val="90000"/>
              </a:lnSpc>
              <a:spcBef>
                <a:spcPts val="0"/>
              </a:spcBef>
              <a:spcAft>
                <a:spcPts val="340"/>
              </a:spcAft>
              <a:buClrTx/>
              <a:buSzTx/>
              <a:buFontTx/>
              <a:buNone/>
              <a:tabLst/>
              <a:defRPr/>
            </a:pPr>
            <a:r>
              <a:rPr lang="en-US" b="1" baseline="0"/>
              <a:t>Socially Filtered.  </a:t>
            </a:r>
            <a:r>
              <a:rPr lang="en-US" b="0" baseline="0"/>
              <a:t>Also known as social information filtering or collaborative filtering – “recommendation systems” that identify what might be of interest to a specific sub-set of learners – leading to higher personalization of content.</a:t>
            </a:r>
            <a:endParaRPr lang="en-US"/>
          </a:p>
          <a:p>
            <a:r>
              <a:rPr lang="en-US" b="1"/>
              <a:t>Contribution</a:t>
            </a:r>
            <a:r>
              <a:rPr lang="en-US" b="1" baseline="0"/>
              <a:t>/Co-Creation.  </a:t>
            </a:r>
            <a:r>
              <a:rPr lang="en-US"/>
              <a:t>Learners</a:t>
            </a:r>
            <a:r>
              <a:rPr lang="en-US" baseline="0"/>
              <a:t> need to be not passive consumers of content but creating learning artifacts themselves and sharing them back with the community. </a:t>
            </a:r>
          </a:p>
          <a:p>
            <a:r>
              <a:rPr lang="en-US" b="1" baseline="0"/>
              <a:t>Network/Federated. </a:t>
            </a:r>
            <a:r>
              <a:rPr lang="en-US" baseline="0"/>
              <a:t>Rather than a push model it needs to be a pull model, where learners take responsibility/interest in their own learning.  </a:t>
            </a:r>
          </a:p>
          <a:p>
            <a:r>
              <a:rPr lang="en-US" b="1" baseline="0"/>
              <a:t>Omni-channel</a:t>
            </a:r>
            <a:r>
              <a:rPr lang="en-US" b="0" baseline="0"/>
              <a:t>.  Unifying online, classroom, social, PC/Tablet, phone, etc.  Not just using Multi-channel (each of the independently) but unifying them.  Delivering the same experience and messages through different channels and devices seamlessly. Want to keep your learners coming back, take a queue from companies that have well-defined omni-channel customer experience management (CEM) – data shows they achieve a 91% higher YoY increase in customer retention rate on average.</a:t>
            </a:r>
          </a:p>
          <a:p>
            <a:endParaRPr lang="en-US" b="0" baseline="0"/>
          </a:p>
          <a:p>
            <a:r>
              <a:rPr lang="en-US" b="0" baseline="0"/>
              <a:t>We must still deliver at a </a:t>
            </a:r>
            <a:r>
              <a:rPr lang="en-US" b="1" baseline="0"/>
              <a:t>global scale </a:t>
            </a:r>
            <a:r>
              <a:rPr lang="en-US" b="0" baseline="0"/>
              <a:t>and now also make learning </a:t>
            </a:r>
            <a:r>
              <a:rPr lang="en-US" b="1" baseline="0"/>
              <a:t>locally relevant </a:t>
            </a:r>
            <a:r>
              <a:rPr lang="en-US" b="0" baseline="0"/>
              <a:t>– </a:t>
            </a:r>
          </a:p>
          <a:p>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1C6640-875F-4E40-B5B1-4A83C0F5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8893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hat is a big deal because the demand for Higher Education is going to grow, and grow, and grow. According to some outlook models, by the end of this century, there will be more people with a higher education than there are people on the planet today.</a:t>
            </a:r>
          </a:p>
          <a:p>
            <a:endParaRPr lang="en-US" dirty="0"/>
          </a:p>
          <a:p>
            <a:r>
              <a:rPr lang="en-US" dirty="0"/>
              <a:t>When you think about that – you realize that our traditional infrastructure for higher education cannot scale to meet those demand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1C6640-875F-4E40-B5B1-4A83C0F5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9853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90752" rtl="0" eaLnBrk="1" fontAlgn="auto" latinLnBrk="0" hangingPunct="1">
              <a:lnSpc>
                <a:spcPct val="100000"/>
              </a:lnSpc>
              <a:spcBef>
                <a:spcPts val="0"/>
              </a:spcBef>
              <a:spcAft>
                <a:spcPts val="0"/>
              </a:spcAft>
              <a:buClrTx/>
              <a:buSzTx/>
              <a:buFontTx/>
              <a:buNone/>
              <a:tabLst/>
              <a:defRPr/>
            </a:pPr>
            <a:fld id="{0900019A-DA3D-4D9D-8470-007E052DD9EE}"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9075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01577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For each of these 16 components, Microsoft can help Education Institutions design their approach and implement solutions based on their education priorities and ensure that technology is used in the most effective ways to drive deep and impactful transformation towards a resilient system able to deliver remote and hybrid learning for every student.</a:t>
            </a: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6/2022 10:5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449721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Microsoft Education Transformation Framework is a guide for education leaders to navigate the complexity of transformation impacting every aspect of their mission. It facilitates the process of envisioning what's possible and developing a strategy to achieve i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EB0A56-4E20-4981-B9AA-D71F01E145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0240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6/2022 10:5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200762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26/2022 10:57 A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0361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The vision for us is to move to a place where students everywhere, anytime can be constantly learning. To have ownership and agency to learn in a way that is engaging for them at the right time.</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86476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ose that have created the most sustained and sustainable change are those that drive it through people and culture. It has never been enough to air-drop technology into schools and expect change to happen. As we move forward to school post-Covid, I believe it is critically important that we recognize the power of culture, the power that people have. We should be thoughtful about how we use technology – what is the learning culture we are trying to create? How do we empower people to drive change – so much of this goes beyond just technolog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44718-F0EF-471F-8929-906FC5EE63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5832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1F875EF-831E-4F1E-8953-EB6FC48726D6}" type="slidenum">
              <a:rPr kumimoji="0" lang="en-SG"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SG"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43616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th Korea – ranked 11 in PISA rankings….</a:t>
            </a:r>
          </a:p>
          <a:p>
            <a:r>
              <a:rPr lang="en-US" dirty="0"/>
              <a:t>Ranked by Bloomberg as the most innovative country </a:t>
            </a:r>
          </a:p>
          <a:p>
            <a:r>
              <a:rPr lang="en-US" dirty="0"/>
              <a:t>in 2015, South Korea is synonymous with technology. </a:t>
            </a:r>
          </a:p>
          <a:p>
            <a:r>
              <a:rPr lang="en-US" dirty="0"/>
              <a:t>It topped the ranking in the categories of research and </a:t>
            </a:r>
          </a:p>
          <a:p>
            <a:r>
              <a:rPr lang="en-US" dirty="0"/>
              <a:t>development as well as, unsurprisingly, patent creation. </a:t>
            </a:r>
          </a:p>
          <a:p>
            <a:r>
              <a:rPr lang="en-US" dirty="0"/>
              <a:t>Underpinning this is physical infrastructure development </a:t>
            </a:r>
          </a:p>
          <a:p>
            <a:r>
              <a:rPr lang="en-US" dirty="0"/>
              <a:t>steered by the governmen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1C6640-875F-4E40-B5B1-4A83C0F51A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4419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When we think about the road ahead post-pandemic – there are 3 phases that I believe most schools in most countries around the world will go throug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44718-F0EF-471F-8929-906FC5EE63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9991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bviously we need to respond. For many of us – until recently we were in this phase. The priority, rightly so, was the safety of students, teachers, and staf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44718-F0EF-471F-8929-906FC5EE63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05243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t as we look to recover, we’ll need to take the lessons learned during the crisis as we look to transition to a post-</a:t>
            </a:r>
            <a:r>
              <a:rPr lang="en-US" err="1"/>
              <a:t>covid</a:t>
            </a:r>
            <a:r>
              <a:rPr lang="en-US"/>
              <a:t> worl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44718-F0EF-471F-8929-906FC5EE63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9231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And finally – we have the opportunity to reimagine. To focus on building digital resiliency. To rethink academics, assessment, curriculum desig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044718-F0EF-471F-8929-906FC5EE63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80625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8.xml"/><Relationship Id="rId4" Type="http://schemas.openxmlformats.org/officeDocument/2006/relationships/image" Target="../media/image35.jpe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7.jpeg"/><Relationship Id="rId1" Type="http://schemas.openxmlformats.org/officeDocument/2006/relationships/slideMaster" Target="../slideMasters/slideMaster8.xml"/><Relationship Id="rId4" Type="http://schemas.openxmlformats.org/officeDocument/2006/relationships/image" Target="../media/image35.jpe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0.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 Id="rId5" Type="http://schemas.openxmlformats.org/officeDocument/2006/relationships/image" Target="../media/image19.jpeg"/><Relationship Id="rId4" Type="http://schemas.openxmlformats.org/officeDocument/2006/relationships/image" Target="../media/image18.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elcome slide">
    <p:bg>
      <p:bgPr>
        <a:solidFill>
          <a:srgbClr val="0D0D0D"/>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AD3CDE-5E10-404E-8D77-E831E4100A39}"/>
              </a:ext>
            </a:extLst>
          </p:cNvPr>
          <p:cNvPicPr>
            <a:picLocks noChangeAspect="1"/>
          </p:cNvPicPr>
          <p:nvPr userDrawn="1"/>
        </p:nvPicPr>
        <p:blipFill>
          <a:blip r:embed="rId2"/>
          <a:srcRect/>
          <a:stretch/>
        </p:blipFill>
        <p:spPr>
          <a:xfrm>
            <a:off x="0" y="0"/>
            <a:ext cx="12192000" cy="6858000"/>
          </a:xfrm>
          <a:prstGeom prst="rect">
            <a:avLst/>
          </a:prstGeom>
        </p:spPr>
      </p:pic>
    </p:spTree>
    <p:extLst>
      <p:ext uri="{BB962C8B-B14F-4D97-AF65-F5344CB8AC3E}">
        <p14:creationId xmlns:p14="http://schemas.microsoft.com/office/powerpoint/2010/main" val="3017430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FBAE4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45D19995-9243-8042-FE4F-3A045AE80B40}"/>
              </a:ext>
            </a:extLst>
          </p:cNvPr>
          <p:cNvPicPr>
            <a:picLocks noChangeAspect="1"/>
          </p:cNvPicPr>
          <p:nvPr userDrawn="1"/>
        </p:nvPicPr>
        <p:blipFill>
          <a:blip r:embed="rId2"/>
          <a:srcRect/>
          <a:stretch/>
        </p:blipFill>
        <p:spPr>
          <a:xfrm>
            <a:off x="586389" y="6083901"/>
            <a:ext cx="591057" cy="591057"/>
          </a:xfrm>
          <a:prstGeom prst="rect">
            <a:avLst/>
          </a:prstGeom>
        </p:spPr>
      </p:pic>
      <p:sp>
        <p:nvSpPr>
          <p:cNvPr id="5" name="TextBox 4">
            <a:extLst>
              <a:ext uri="{FF2B5EF4-FFF2-40B4-BE49-F238E27FC236}">
                <a16:creationId xmlns:a16="http://schemas.microsoft.com/office/drawing/2014/main" id="{35B92111-9D65-7537-17FA-6AE4E022418A}"/>
              </a:ext>
            </a:extLst>
          </p:cNvPr>
          <p:cNvSpPr txBox="1"/>
          <p:nvPr userDrawn="1"/>
        </p:nvSpPr>
        <p:spPr>
          <a:xfrm>
            <a:off x="11119832" y="6379429"/>
            <a:ext cx="970156" cy="184666"/>
          </a:xfrm>
          <a:prstGeom prst="rect">
            <a:avLst/>
          </a:prstGeom>
          <a:noFill/>
        </p:spPr>
        <p:txBody>
          <a:bodyPr wrap="square" lIns="0" tIns="0" rIns="0" bIns="0" rtlCol="0">
            <a:spAutoFit/>
          </a:bodyPr>
          <a:lstStyle/>
          <a:p>
            <a:pPr algn="l"/>
            <a:r>
              <a:rPr lang="en-HR" sz="1200" b="1" dirty="0">
                <a:gradFill>
                  <a:gsLst>
                    <a:gs pos="2917">
                      <a:schemeClr val="tx1"/>
                    </a:gs>
                    <a:gs pos="30000">
                      <a:schemeClr val="tx1"/>
                    </a:gs>
                  </a:gsLst>
                  <a:lin ang="5400000" scaled="0"/>
                </a:gradFill>
              </a:rPr>
              <a:t>#ntk22</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8434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7270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91170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54786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58751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7722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90987833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425921"/>
          </a:xfrm>
          <a:prstGeom prst="rect">
            <a:avLst/>
          </a:prstGeom>
        </p:spPr>
        <p:txBody>
          <a:bodyPr/>
          <a:lstStyle>
            <a:lvl1pPr marL="284793" indent="-28479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8" indent="-275457">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41" indent="-28479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41" indent="-22410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40" indent="-22410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3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a:xfrm>
            <a:off x="588263" y="457200"/>
            <a:ext cx="11018520" cy="724044"/>
          </a:xfrm>
        </p:spPr>
        <p:txBody>
          <a:bodyPr/>
          <a:lstStyle>
            <a:lvl1pPr>
              <a:defRPr sz="470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467482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99A4D1D-AA27-434F-857A-6CD85676BF87}" type="datetimeFigureOut">
              <a:rPr lang="en-US" smtClean="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19640181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9A4D1D-AA27-434F-857A-6CD85676BF87}" type="datetimeFigureOut">
              <a:rPr lang="en-US" smtClean="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2347655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pic>
        <p:nvPicPr>
          <p:cNvPr id="4" name="Picture 3">
            <a:extLst>
              <a:ext uri="{FF2B5EF4-FFF2-40B4-BE49-F238E27FC236}">
                <a16:creationId xmlns:a16="http://schemas.microsoft.com/office/drawing/2014/main" id="{DFB7245D-CC92-BA79-3B73-CEAA6F227CE6}"/>
              </a:ext>
            </a:extLst>
          </p:cNvPr>
          <p:cNvPicPr>
            <a:picLocks noChangeAspect="1"/>
          </p:cNvPicPr>
          <p:nvPr userDrawn="1"/>
        </p:nvPicPr>
        <p:blipFill>
          <a:blip r:embed="rId2"/>
          <a:srcRect/>
          <a:stretch/>
        </p:blipFill>
        <p:spPr>
          <a:xfrm>
            <a:off x="586389" y="6083901"/>
            <a:ext cx="591057" cy="591057"/>
          </a:xfrm>
          <a:prstGeom prst="rect">
            <a:avLst/>
          </a:prstGeom>
        </p:spPr>
      </p:pic>
      <p:sp>
        <p:nvSpPr>
          <p:cNvPr id="5" name="TextBox 4">
            <a:extLst>
              <a:ext uri="{FF2B5EF4-FFF2-40B4-BE49-F238E27FC236}">
                <a16:creationId xmlns:a16="http://schemas.microsoft.com/office/drawing/2014/main" id="{10312930-BEAE-90CE-BD01-AFD8C080DFBF}"/>
              </a:ext>
            </a:extLst>
          </p:cNvPr>
          <p:cNvSpPr txBox="1"/>
          <p:nvPr userDrawn="1"/>
        </p:nvSpPr>
        <p:spPr>
          <a:xfrm>
            <a:off x="11119832" y="6379429"/>
            <a:ext cx="970156" cy="184666"/>
          </a:xfrm>
          <a:prstGeom prst="rect">
            <a:avLst/>
          </a:prstGeom>
          <a:noFill/>
        </p:spPr>
        <p:txBody>
          <a:bodyPr wrap="square" lIns="0" tIns="0" rIns="0" bIns="0" rtlCol="0">
            <a:spAutoFit/>
          </a:bodyPr>
          <a:lstStyle/>
          <a:p>
            <a:pPr algn="l"/>
            <a:r>
              <a:rPr lang="en-HR" sz="1200" b="1" dirty="0">
                <a:gradFill>
                  <a:gsLst>
                    <a:gs pos="2917">
                      <a:schemeClr val="tx1"/>
                    </a:gs>
                    <a:gs pos="30000">
                      <a:schemeClr val="tx1"/>
                    </a:gs>
                  </a:gsLst>
                  <a:lin ang="5400000" scaled="0"/>
                </a:gradFill>
              </a:rPr>
              <a:t>#ntk22</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99A4D1D-AA27-434F-857A-6CD85676BF87}" type="datetimeFigureOut">
              <a:rPr lang="en-US" smtClean="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36850975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99A4D1D-AA27-434F-857A-6CD85676BF87}" type="datetimeFigureOut">
              <a:rPr lang="en-US" smtClean="0"/>
              <a:t>10/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400514679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99A4D1D-AA27-434F-857A-6CD85676BF87}" type="datetimeFigureOut">
              <a:rPr lang="en-US" smtClean="0"/>
              <a:t>10/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66329355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99A4D1D-AA27-434F-857A-6CD85676BF87}" type="datetimeFigureOut">
              <a:rPr lang="en-US" smtClean="0"/>
              <a:t>10/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81937083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9A4D1D-AA27-434F-857A-6CD85676BF87}" type="datetimeFigureOut">
              <a:rPr lang="en-US" smtClean="0"/>
              <a:t>10/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29850493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9A4D1D-AA27-434F-857A-6CD85676BF87}" type="datetimeFigureOut">
              <a:rPr lang="en-US" smtClean="0"/>
              <a:t>10/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196184471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9A4D1D-AA27-434F-857A-6CD85676BF87}" type="datetimeFigureOut">
              <a:rPr lang="en-US" smtClean="0"/>
              <a:t>10/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40811389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9A4D1D-AA27-434F-857A-6CD85676BF87}" type="datetimeFigureOut">
              <a:rPr lang="en-US" smtClean="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19925988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9A4D1D-AA27-434F-857A-6CD85676BF87}" type="datetimeFigureOut">
              <a:rPr lang="en-US" smtClean="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356620508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olor Block Header&amp; Sub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12207" y="27027"/>
            <a:ext cx="3036599" cy="2751138"/>
          </a:xfrm>
          <a:prstGeom prst="rect">
            <a:avLst/>
          </a:prstGeom>
        </p:spPr>
        <p:txBody>
          <a:bodyPr anchor="b" anchorCtr="0">
            <a:noAutofit/>
          </a:bodyPr>
          <a:lstStyle>
            <a:lvl1pPr marL="0" indent="0">
              <a:lnSpc>
                <a:spcPts val="3798"/>
              </a:lnSpc>
              <a:spcBef>
                <a:spcPts val="0"/>
              </a:spcBef>
              <a:buNone/>
              <a:defRPr sz="3598" b="0" cap="none" baseline="0">
                <a:gradFill>
                  <a:gsLst>
                    <a:gs pos="100000">
                      <a:schemeClr val="bg1"/>
                    </a:gs>
                    <a:gs pos="0">
                      <a:schemeClr val="bg1"/>
                    </a:gs>
                  </a:gsLst>
                  <a:lin ang="5400000" scaled="0"/>
                </a:gradFill>
                <a:latin typeface="Segoe UI Light" pitchFamily="34" charset="0"/>
              </a:defRPr>
            </a:lvl1pPr>
            <a:lvl2pPr marL="607606" indent="0">
              <a:buNone/>
              <a:defRPr sz="2691" b="1"/>
            </a:lvl2pPr>
            <a:lvl3pPr marL="1215210" indent="0">
              <a:buNone/>
              <a:defRPr sz="2392" b="1"/>
            </a:lvl3pPr>
            <a:lvl4pPr marL="1822816" indent="0">
              <a:buNone/>
              <a:defRPr sz="2092" b="1"/>
            </a:lvl4pPr>
            <a:lvl5pPr marL="2430421" indent="0">
              <a:buNone/>
              <a:defRPr sz="2092" b="1"/>
            </a:lvl5pPr>
            <a:lvl6pPr marL="3038027" indent="0">
              <a:buNone/>
              <a:defRPr sz="2092" b="1"/>
            </a:lvl6pPr>
            <a:lvl7pPr marL="3645632" indent="0">
              <a:buNone/>
              <a:defRPr sz="2092" b="1"/>
            </a:lvl7pPr>
            <a:lvl8pPr marL="4253237" indent="0">
              <a:buNone/>
              <a:defRPr sz="2092" b="1"/>
            </a:lvl8pPr>
            <a:lvl9pPr marL="4860842" indent="0">
              <a:buNone/>
              <a:defRPr sz="2092" b="1"/>
            </a:lvl9pPr>
          </a:lstStyle>
          <a:p>
            <a:pPr lvl="0"/>
            <a:r>
              <a:rPr lang="en-US"/>
              <a:t>Click to edit Master text styles.</a:t>
            </a:r>
          </a:p>
        </p:txBody>
      </p:sp>
      <p:sp>
        <p:nvSpPr>
          <p:cNvPr id="7" name="Text Placeholder 6"/>
          <p:cNvSpPr>
            <a:spLocks noGrp="1"/>
          </p:cNvSpPr>
          <p:nvPr>
            <p:ph type="body" sz="quarter" idx="10"/>
          </p:nvPr>
        </p:nvSpPr>
        <p:spPr>
          <a:xfrm>
            <a:off x="533064" y="3054088"/>
            <a:ext cx="3036599" cy="3575317"/>
          </a:xfrm>
        </p:spPr>
        <p:txBody>
          <a:bodyPr/>
          <a:lstStyle>
            <a:lvl1pPr marL="0" indent="0">
              <a:lnSpc>
                <a:spcPct val="100000"/>
              </a:lnSpc>
              <a:spcBef>
                <a:spcPts val="0"/>
              </a:spcBef>
              <a:spcAft>
                <a:spcPts val="1200"/>
              </a:spcAft>
              <a:buNone/>
              <a:defRPr sz="1798" spc="0" baseline="0">
                <a:solidFill>
                  <a:schemeClr val="bg1"/>
                </a:solidFill>
                <a:latin typeface="Segoe UI" pitchFamily="34" charset="0"/>
                <a:ea typeface="Segoe UI" pitchFamily="34" charset="0"/>
                <a:cs typeface="Segoe UI" pitchFamily="34" charset="0"/>
              </a:defRPr>
            </a:lvl1pPr>
            <a:lvl2pPr marL="0" indent="0">
              <a:lnSpc>
                <a:spcPct val="100000"/>
              </a:lnSpc>
              <a:spcBef>
                <a:spcPts val="0"/>
              </a:spcBef>
              <a:spcAft>
                <a:spcPts val="1200"/>
              </a:spcAft>
              <a:buNone/>
              <a:defRPr sz="1400" spc="0" baseline="0">
                <a:solidFill>
                  <a:schemeClr val="bg1"/>
                </a:solidFill>
                <a:latin typeface="Segoe UI" pitchFamily="34" charset="0"/>
                <a:ea typeface="Segoe UI" pitchFamily="34" charset="0"/>
                <a:cs typeface="Segoe UI" pitchFamily="34" charset="0"/>
              </a:defRPr>
            </a:lvl2pPr>
            <a:lvl3pPr marL="0" indent="0">
              <a:lnSpc>
                <a:spcPct val="100000"/>
              </a:lnSpc>
              <a:spcBef>
                <a:spcPts val="0"/>
              </a:spcBef>
              <a:spcAft>
                <a:spcPts val="1200"/>
              </a:spcAft>
              <a:buNone/>
              <a:defRPr sz="1200" spc="0" baseline="0">
                <a:solidFill>
                  <a:schemeClr val="bg1"/>
                </a:solidFill>
                <a:latin typeface="Segoe UI" pitchFamily="34" charset="0"/>
                <a:ea typeface="Segoe UI" pitchFamily="34" charset="0"/>
                <a:cs typeface="Segoe UI" pitchFamily="34" charset="0"/>
              </a:defRPr>
            </a:lvl3pPr>
            <a:lvl4pPr marL="0" indent="0">
              <a:lnSpc>
                <a:spcPct val="100000"/>
              </a:lnSpc>
              <a:spcBef>
                <a:spcPts val="0"/>
              </a:spcBef>
              <a:spcAft>
                <a:spcPts val="1200"/>
              </a:spcAft>
              <a:buNone/>
              <a:defRPr sz="1400" spc="0" baseline="0">
                <a:solidFill>
                  <a:schemeClr val="bg1"/>
                </a:solidFill>
                <a:latin typeface="Segoe UI" pitchFamily="34" charset="0"/>
                <a:ea typeface="Segoe UI" pitchFamily="34" charset="0"/>
                <a:cs typeface="Segoe UI" pitchFamily="34" charset="0"/>
              </a:defRPr>
            </a:lvl4pPr>
            <a:lvl5pPr marL="0" indent="0">
              <a:lnSpc>
                <a:spcPct val="100000"/>
              </a:lnSpc>
              <a:spcBef>
                <a:spcPts val="0"/>
              </a:spcBef>
              <a:spcAft>
                <a:spcPts val="1200"/>
              </a:spcAft>
              <a:buNone/>
              <a:defRPr sz="1400" spc="0" baseline="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
        <p:nvSpPr>
          <p:cNvPr id="5" name="Picture Placeholder 4"/>
          <p:cNvSpPr>
            <a:spLocks noGrp="1"/>
          </p:cNvSpPr>
          <p:nvPr>
            <p:ph type="pic" sz="quarter" idx="11"/>
          </p:nvPr>
        </p:nvSpPr>
        <p:spPr>
          <a:xfrm>
            <a:off x="3890390" y="1033461"/>
            <a:ext cx="7993557" cy="4860925"/>
          </a:xfrm>
          <a:solidFill>
            <a:schemeClr val="bg1">
              <a:lumMod val="95000"/>
            </a:schemeClr>
          </a:solidFill>
          <a:ln>
            <a:noFill/>
          </a:ln>
          <a:effectLst>
            <a:outerShdw blurRad="63500" sx="101000" sy="101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lvl1pPr>
              <a:defRPr lang="en-US" sz="2198">
                <a:solidFill>
                  <a:schemeClr val="bg2"/>
                </a:solidFill>
                <a:latin typeface="+mn-lt"/>
                <a:ea typeface="Segoe UI" pitchFamily="34" charset="0"/>
                <a:cs typeface="Segoe UI" pitchFamily="34" charset="0"/>
              </a:defRPr>
            </a:lvl1pPr>
          </a:lstStyle>
          <a:p>
            <a:pPr marL="0" lvl="0" algn="ctr" defTabSz="913551" fontAlgn="base">
              <a:spcBef>
                <a:spcPct val="0"/>
              </a:spcBef>
              <a:spcAft>
                <a:spcPct val="0"/>
              </a:spcAft>
            </a:pPr>
            <a:endParaRPr lang="en-US"/>
          </a:p>
        </p:txBody>
      </p:sp>
    </p:spTree>
    <p:extLst>
      <p:ext uri="{BB962C8B-B14F-4D97-AF65-F5344CB8AC3E}">
        <p14:creationId xmlns:p14="http://schemas.microsoft.com/office/powerpoint/2010/main" val="3666219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025650"/>
            <a:ext cx="4161981" cy="1107996"/>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pic>
        <p:nvPicPr>
          <p:cNvPr id="7" name="Picture 6">
            <a:extLst>
              <a:ext uri="{FF2B5EF4-FFF2-40B4-BE49-F238E27FC236}">
                <a16:creationId xmlns:a16="http://schemas.microsoft.com/office/drawing/2014/main" id="{0A0D9446-219C-E1ED-4A7B-659B026B76B5}"/>
              </a:ext>
            </a:extLst>
          </p:cNvPr>
          <p:cNvPicPr>
            <a:picLocks noChangeAspect="1"/>
          </p:cNvPicPr>
          <p:nvPr userDrawn="1"/>
        </p:nvPicPr>
        <p:blipFill>
          <a:blip r:embed="rId3"/>
          <a:srcRect/>
          <a:stretch/>
        </p:blipFill>
        <p:spPr>
          <a:xfrm>
            <a:off x="586389" y="6083901"/>
            <a:ext cx="591057" cy="591057"/>
          </a:xfrm>
          <a:prstGeom prst="rect">
            <a:avLst/>
          </a:prstGeom>
        </p:spPr>
      </p:pic>
    </p:spTree>
    <p:extLst>
      <p:ext uri="{BB962C8B-B14F-4D97-AF65-F5344CB8AC3E}">
        <p14:creationId xmlns:p14="http://schemas.microsoft.com/office/powerpoint/2010/main" val="2203321026"/>
      </p:ext>
    </p:extLst>
  </p:cSld>
  <p:clrMapOvr>
    <a:masterClrMapping/>
  </p:clrMapOvr>
  <p:transition>
    <p:fade/>
  </p:transition>
  <p:extLst>
    <p:ext uri="{DCECCB84-F9BA-43D5-87BE-67443E8EF086}">
      <p15:sldGuideLst xmlns:p15="http://schemas.microsoft.com/office/powerpoint/2012/main">
        <p15:guide id="2" pos="3359" userDrawn="1">
          <p15:clr>
            <a:srgbClr val="FBAE40"/>
          </p15:clr>
        </p15:guide>
        <p15:guide id="6" orient="horz" pos="904" userDrawn="1">
          <p15:clr>
            <a:srgbClr val="5ACBF0"/>
          </p15:clr>
        </p15:guide>
        <p15:guide id="7" orient="horz" pos="1276" userDrawn="1">
          <p15:clr>
            <a:srgbClr val="5ACBF0"/>
          </p15:clr>
        </p15:guide>
        <p15:guide id="8" orient="horz" pos="2226" userDrawn="1">
          <p15:clr>
            <a:srgbClr val="5ACBF0"/>
          </p15:clr>
        </p15:guide>
        <p15:guide id="9" pos="2993" userDrawn="1">
          <p15:clr>
            <a:srgbClr val="C35EA4"/>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467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796183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91685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842478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319995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626402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7480095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solidFill>
                  <a:prstClr val="black">
                    <a:tint val="75000"/>
                  </a:prstClr>
                </a:solidFill>
              </a:rPr>
              <a:pPr/>
              <a:t>10/26/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48F63A3B-78C7-47BE-AE5E-E10140E04643}" type="slidenum">
              <a:rPr lang="en-US" dirty="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8681334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98233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41708956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Photo ">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849CE94-4896-DD4F-8977-17C107DDE130}"/>
              </a:ext>
            </a:extLst>
          </p:cNvPr>
          <p:cNvSpPr>
            <a:spLocks noGrp="1"/>
          </p:cNvSpPr>
          <p:nvPr>
            <p:ph type="pic" sz="quarter" idx="10"/>
          </p:nvPr>
        </p:nvSpPr>
        <p:spPr>
          <a:xfrm>
            <a:off x="0" y="0"/>
            <a:ext cx="12192000" cy="6858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lgn="ctr">
              <a:defRPr sz="3200" b="1">
                <a:solidFill>
                  <a:schemeClr val="bg1"/>
                </a:solidFill>
              </a:defRPr>
            </a:lvl1pPr>
          </a:lstStyle>
          <a:p>
            <a:r>
              <a:rPr lang="en-US"/>
              <a:t>Click icon to add picture</a:t>
            </a:r>
            <a:endParaRPr lang="en-HR" dirty="0"/>
          </a:p>
        </p:txBody>
      </p:sp>
    </p:spTree>
    <p:extLst>
      <p:ext uri="{BB962C8B-B14F-4D97-AF65-F5344CB8AC3E}">
        <p14:creationId xmlns:p14="http://schemas.microsoft.com/office/powerpoint/2010/main" val="270157464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0" y="0"/>
            <a:ext cx="12192000" cy="6858000"/>
          </a:xfrm>
          <a:prstGeom prst="rect">
            <a:avLst/>
          </a:prstGeom>
        </p:spPr>
      </p:pic>
    </p:spTree>
    <p:extLst>
      <p:ext uri="{BB962C8B-B14F-4D97-AF65-F5344CB8AC3E}">
        <p14:creationId xmlns:p14="http://schemas.microsoft.com/office/powerpoint/2010/main" val="30879916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V="1">
            <a:off x="0" y="0"/>
            <a:ext cx="12192000" cy="6858000"/>
          </a:xfrm>
          <a:prstGeom prst="rect">
            <a:avLst/>
          </a:prstGeom>
        </p:spPr>
      </p:pic>
    </p:spTree>
    <p:extLst>
      <p:ext uri="{BB962C8B-B14F-4D97-AF65-F5344CB8AC3E}">
        <p14:creationId xmlns:p14="http://schemas.microsoft.com/office/powerpoint/2010/main" val="411149593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80675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408099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474567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3083766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128000" y="6248408"/>
            <a:ext cx="3556000" cy="365125"/>
          </a:xfrm>
          <a:prstGeom prst="rect">
            <a:avLst/>
          </a:prstGeom>
        </p:spPr>
        <p:txBody>
          <a:bodyPr lIns="87911" tIns="43955" rIns="87911" bIns="43955"/>
          <a:lstStyle>
            <a:lvl1pPr>
              <a:defRPr/>
            </a:lvl1pPr>
          </a:lstStyle>
          <a:p>
            <a:pPr defTabSz="609570">
              <a:defRPr/>
            </a:pPr>
            <a:endParaRPr lang="en-US">
              <a:solidFill>
                <a:srgbClr val="525051"/>
              </a:solidFill>
            </a:endParaRPr>
          </a:p>
        </p:txBody>
      </p:sp>
      <p:sp>
        <p:nvSpPr>
          <p:cNvPr id="5" name="Footer Placeholder 4"/>
          <p:cNvSpPr>
            <a:spLocks noGrp="1"/>
          </p:cNvSpPr>
          <p:nvPr>
            <p:ph type="ftr" sz="quarter" idx="11"/>
          </p:nvPr>
        </p:nvSpPr>
        <p:spPr>
          <a:xfrm>
            <a:off x="812810" y="6248408"/>
            <a:ext cx="7228417" cy="365125"/>
          </a:xfrm>
          <a:prstGeom prst="rect">
            <a:avLst/>
          </a:prstGeom>
        </p:spPr>
        <p:txBody>
          <a:bodyPr lIns="87911" tIns="43955" rIns="87911" bIns="43955"/>
          <a:lstStyle>
            <a:lvl1pPr>
              <a:defRPr/>
            </a:lvl1pPr>
          </a:lstStyle>
          <a:p>
            <a:pPr defTabSz="609570">
              <a:defRPr/>
            </a:pPr>
            <a:endParaRPr lang="en-US">
              <a:solidFill>
                <a:srgbClr val="525051"/>
              </a:solidFill>
            </a:endParaRPr>
          </a:p>
        </p:txBody>
      </p:sp>
      <p:sp>
        <p:nvSpPr>
          <p:cNvPr id="6" name="Slide Number Placeholder 5"/>
          <p:cNvSpPr>
            <a:spLocks noGrp="1"/>
          </p:cNvSpPr>
          <p:nvPr>
            <p:ph type="sldNum" sz="quarter" idx="12"/>
          </p:nvPr>
        </p:nvSpPr>
        <p:spPr>
          <a:xfrm>
            <a:off x="7" y="1212859"/>
            <a:ext cx="622300" cy="365125"/>
          </a:xfrm>
          <a:prstGeom prst="rect">
            <a:avLst/>
          </a:prstGeom>
        </p:spPr>
        <p:txBody>
          <a:bodyPr lIns="87911" tIns="43955" rIns="87911" bIns="43955"/>
          <a:lstStyle>
            <a:lvl1pPr>
              <a:defRPr/>
            </a:lvl1pPr>
          </a:lstStyle>
          <a:p>
            <a:pPr>
              <a:defRPr/>
            </a:pPr>
            <a:fld id="{D8C1C45C-D209-4AF3-8E3A-E45F845DF5D2}" type="slidenum">
              <a:rPr lang="en-US">
                <a:solidFill>
                  <a:srgbClr val="525051">
                    <a:tint val="75000"/>
                  </a:srgbClr>
                </a:solidFill>
              </a:rPr>
              <a:pPr>
                <a:defRPr/>
              </a:pPr>
              <a:t>‹#›</a:t>
            </a:fld>
            <a:endParaRPr lang="en-US">
              <a:solidFill>
                <a:srgbClr val="525051">
                  <a:tint val="75000"/>
                </a:srgbClr>
              </a:solidFill>
            </a:endParaRPr>
          </a:p>
        </p:txBody>
      </p:sp>
    </p:spTree>
    <p:extLst>
      <p:ext uri="{BB962C8B-B14F-4D97-AF65-F5344CB8AC3E}">
        <p14:creationId xmlns:p14="http://schemas.microsoft.com/office/powerpoint/2010/main" val="17393874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_Color Block Title on Left">
    <p:spTree>
      <p:nvGrpSpPr>
        <p:cNvPr id="1" name=""/>
        <p:cNvGrpSpPr/>
        <p:nvPr/>
      </p:nvGrpSpPr>
      <p:grpSpPr>
        <a:xfrm>
          <a:off x="0" y="0"/>
          <a:ext cx="0" cy="0"/>
          <a:chOff x="0" y="0"/>
          <a:chExt cx="0" cy="0"/>
        </a:xfrm>
      </p:grpSpPr>
      <p:sp>
        <p:nvSpPr>
          <p:cNvPr id="13" name="Rectangle 12"/>
          <p:cNvSpPr/>
          <p:nvPr userDrawn="1"/>
        </p:nvSpPr>
        <p:spPr bwMode="auto">
          <a:xfrm>
            <a:off x="0" y="-1"/>
            <a:ext cx="5607915" cy="68580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bg1"/>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
        <p:nvSpPr>
          <p:cNvPr id="11" name="Title 2"/>
          <p:cNvSpPr>
            <a:spLocks noGrp="1"/>
          </p:cNvSpPr>
          <p:nvPr>
            <p:ph type="title"/>
          </p:nvPr>
        </p:nvSpPr>
        <p:spPr>
          <a:xfrm>
            <a:off x="591641" y="1108675"/>
            <a:ext cx="4521451" cy="927940"/>
          </a:xfrm>
          <a:prstGeom prst="rect">
            <a:avLst/>
          </a:prstGeom>
        </p:spPr>
        <p:txBody>
          <a:bodyPr/>
          <a:lstStyle>
            <a:lvl1pPr algn="l">
              <a:defRPr sz="4313" spc="0">
                <a:solidFill>
                  <a:schemeClr val="bg1"/>
                </a:solidFill>
              </a:defRPr>
            </a:lvl1pPr>
          </a:lstStyle>
          <a:p>
            <a:r>
              <a:rPr lang="en-US"/>
              <a:t>Click to edit Master title style</a:t>
            </a:r>
          </a:p>
        </p:txBody>
      </p:sp>
      <p:sp>
        <p:nvSpPr>
          <p:cNvPr id="12" name="Text Placeholder 7"/>
          <p:cNvSpPr>
            <a:spLocks noGrp="1"/>
          </p:cNvSpPr>
          <p:nvPr>
            <p:ph type="body" sz="quarter" idx="13" hasCustomPrompt="1"/>
          </p:nvPr>
        </p:nvSpPr>
        <p:spPr>
          <a:xfrm>
            <a:off x="591641" y="2655501"/>
            <a:ext cx="4521451" cy="1151469"/>
          </a:xfrm>
        </p:spPr>
        <p:txBody>
          <a:bodyPr lIns="0" tIns="0"/>
          <a:lstStyle>
            <a:lvl1pPr marL="0" indent="0">
              <a:spcBef>
                <a:spcPts val="1176"/>
              </a:spcBef>
              <a:buNone/>
              <a:defRPr sz="2549">
                <a:solidFill>
                  <a:schemeClr val="bg1"/>
                </a:solidFill>
                <a:latin typeface="+mn-lt"/>
              </a:defRPr>
            </a:lvl1pPr>
            <a:lvl2pPr marL="448193" indent="0">
              <a:spcBef>
                <a:spcPts val="1176"/>
              </a:spcBef>
              <a:buSzPct val="100000"/>
              <a:buFont typeface="Segoe UI" pitchFamily="34" charset="0"/>
              <a:buNone/>
              <a:defRPr>
                <a:solidFill>
                  <a:schemeClr val="bg1"/>
                </a:solidFill>
              </a:defRPr>
            </a:lvl2pPr>
            <a:lvl3pPr marL="896386" indent="0">
              <a:spcBef>
                <a:spcPts val="1176"/>
              </a:spcBef>
              <a:buFont typeface="Wingdings" pitchFamily="2" charset="2"/>
              <a:buNone/>
              <a:defRPr>
                <a:solidFill>
                  <a:schemeClr val="bg1"/>
                </a:solidFill>
              </a:defRPr>
            </a:lvl3pPr>
            <a:lvl4pPr marL="1232531" indent="0">
              <a:spcBef>
                <a:spcPts val="1176"/>
              </a:spcBef>
              <a:buFont typeface="Arial" panose="020B0604020202020204" pitchFamily="34" charset="0"/>
              <a:buNone/>
              <a:defRPr>
                <a:solidFill>
                  <a:schemeClr val="bg1"/>
                </a:solidFill>
              </a:defRPr>
            </a:lvl4pPr>
            <a:lvl5pPr marL="1571789" indent="0">
              <a:spcBef>
                <a:spcPts val="1176"/>
              </a:spcBef>
              <a:buFont typeface="Arial" panose="020B0604020202020204" pitchFamily="34" charset="0"/>
              <a:buNone/>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p:txBody>
      </p:sp>
    </p:spTree>
    <p:extLst>
      <p:ext uri="{BB962C8B-B14F-4D97-AF65-F5344CB8AC3E}">
        <p14:creationId xmlns:p14="http://schemas.microsoft.com/office/powerpoint/2010/main" val="3206989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lvl1pPr>
          </a:lstStyle>
          <a:p>
            <a:r>
              <a:rPr lang="en-US"/>
              <a:t>Click to edit Master title style</a:t>
            </a:r>
          </a:p>
        </p:txBody>
      </p:sp>
    </p:spTree>
    <p:extLst>
      <p:ext uri="{BB962C8B-B14F-4D97-AF65-F5344CB8AC3E}">
        <p14:creationId xmlns:p14="http://schemas.microsoft.com/office/powerpoint/2010/main" val="54988686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subhead with boxes">
    <p:spTree>
      <p:nvGrpSpPr>
        <p:cNvPr id="1" name=""/>
        <p:cNvGrpSpPr/>
        <p:nvPr/>
      </p:nvGrpSpPr>
      <p:grpSpPr>
        <a:xfrm>
          <a:off x="0" y="0"/>
          <a:ext cx="0" cy="0"/>
          <a:chOff x="0" y="0"/>
          <a:chExt cx="0" cy="0"/>
        </a:xfrm>
      </p:grpSpPr>
      <p:sp>
        <p:nvSpPr>
          <p:cNvPr id="12" name="Text Placeholder 4"/>
          <p:cNvSpPr>
            <a:spLocks noGrp="1" noChangeAspect="1"/>
          </p:cNvSpPr>
          <p:nvPr>
            <p:ph type="body" sz="quarter" idx="17"/>
          </p:nvPr>
        </p:nvSpPr>
        <p:spPr>
          <a:xfrm>
            <a:off x="4571767" y="2510345"/>
            <a:ext cx="2061777" cy="2062070"/>
          </a:xfrm>
          <a:solidFill>
            <a:schemeClr val="accent4"/>
          </a:solidFill>
        </p:spPr>
        <p:txBody>
          <a:bodyPr lIns="365760" rIns="365760" anchor="ctr"/>
          <a:lstStyle>
            <a:lvl1pPr marL="0" indent="0" algn="ctr">
              <a:lnSpc>
                <a:spcPct val="100000"/>
              </a:lnSpc>
              <a:buNone/>
              <a:defRPr>
                <a:solidFill>
                  <a:schemeClr val="bg1"/>
                </a:solidFill>
              </a:defRPr>
            </a:lvl1pPr>
          </a:lstStyle>
          <a:p>
            <a:pPr lvl="0"/>
            <a:r>
              <a:rPr lang="en-US"/>
              <a:t>Click to edit Master text styles</a:t>
            </a:r>
          </a:p>
        </p:txBody>
      </p:sp>
      <p:sp>
        <p:nvSpPr>
          <p:cNvPr id="13" name="Text Placeholder 4"/>
          <p:cNvSpPr>
            <a:spLocks noGrp="1" noChangeAspect="1"/>
          </p:cNvSpPr>
          <p:nvPr>
            <p:ph type="body" sz="quarter" idx="18"/>
          </p:nvPr>
        </p:nvSpPr>
        <p:spPr>
          <a:xfrm>
            <a:off x="2509990" y="2510345"/>
            <a:ext cx="2061777" cy="2062070"/>
          </a:xfrm>
          <a:solidFill>
            <a:schemeClr val="accent3"/>
          </a:solidFill>
        </p:spPr>
        <p:txBody>
          <a:bodyPr lIns="365760" rIns="365760" anchor="ctr"/>
          <a:lstStyle>
            <a:lvl1pPr marL="0" indent="0" algn="ctr">
              <a:lnSpc>
                <a:spcPct val="100000"/>
              </a:lnSpc>
              <a:buNone/>
              <a:defRPr>
                <a:solidFill>
                  <a:schemeClr val="bg1"/>
                </a:solidFill>
              </a:defRPr>
            </a:lvl1pPr>
          </a:lstStyle>
          <a:p>
            <a:pPr lvl="0"/>
            <a:r>
              <a:rPr lang="en-US"/>
              <a:t>Click to edit Master text styles</a:t>
            </a:r>
          </a:p>
        </p:txBody>
      </p:sp>
      <p:sp>
        <p:nvSpPr>
          <p:cNvPr id="14" name="Text Placeholder 4"/>
          <p:cNvSpPr>
            <a:spLocks noGrp="1" noChangeAspect="1"/>
          </p:cNvSpPr>
          <p:nvPr>
            <p:ph type="body" sz="quarter" idx="19"/>
          </p:nvPr>
        </p:nvSpPr>
        <p:spPr>
          <a:xfrm>
            <a:off x="448212" y="2510345"/>
            <a:ext cx="2061777" cy="2062070"/>
          </a:xfrm>
          <a:solidFill>
            <a:schemeClr val="accent1"/>
          </a:solidFill>
        </p:spPr>
        <p:txBody>
          <a:bodyPr lIns="365760" rIns="365760" anchor="ctr"/>
          <a:lstStyle>
            <a:lvl1pPr marL="0" indent="0" algn="ctr">
              <a:lnSpc>
                <a:spcPct val="100000"/>
              </a:lnSpc>
              <a:buNone/>
              <a:defRPr>
                <a:solidFill>
                  <a:schemeClr val="bg1"/>
                </a:solidFill>
              </a:defRPr>
            </a:lvl1pPr>
          </a:lstStyle>
          <a:p>
            <a:pPr lvl="0"/>
            <a:r>
              <a:rPr lang="en-US"/>
              <a:t>Click to edit Master text styles</a:t>
            </a:r>
          </a:p>
        </p:txBody>
      </p:sp>
      <p:sp>
        <p:nvSpPr>
          <p:cNvPr id="2" name="Title 1"/>
          <p:cNvSpPr>
            <a:spLocks noGrp="1"/>
          </p:cNvSpPr>
          <p:nvPr>
            <p:ph type="title"/>
          </p:nvPr>
        </p:nvSpPr>
        <p:spPr>
          <a:xfrm>
            <a:off x="358570" y="358621"/>
            <a:ext cx="11474238" cy="806897"/>
          </a:xfrm>
        </p:spPr>
        <p:txBody>
          <a:bodyPr/>
          <a:lstStyle/>
          <a:p>
            <a:r>
              <a:rPr lang="en-US"/>
              <a:t>Click to edit Master title style</a:t>
            </a:r>
          </a:p>
        </p:txBody>
      </p:sp>
      <p:sp>
        <p:nvSpPr>
          <p:cNvPr id="4" name="Text Placeholder 3"/>
          <p:cNvSpPr>
            <a:spLocks noGrp="1"/>
          </p:cNvSpPr>
          <p:nvPr>
            <p:ph type="body" sz="quarter" idx="10" hasCustomPrompt="1"/>
          </p:nvPr>
        </p:nvSpPr>
        <p:spPr>
          <a:xfrm>
            <a:off x="358570" y="1165517"/>
            <a:ext cx="11474238" cy="806897"/>
          </a:xfrm>
        </p:spPr>
        <p:txBody>
          <a:bodyPr/>
          <a:lstStyle>
            <a:lvl1pPr marL="0" indent="0">
              <a:buNone/>
              <a:defRPr sz="2745" spc="-29" baseline="0">
                <a:solidFill>
                  <a:schemeClr val="tx1"/>
                </a:solidFill>
                <a:latin typeface="+mj-lt"/>
              </a:defRPr>
            </a:lvl1pPr>
          </a:lstStyle>
          <a:p>
            <a:pPr lvl="0"/>
            <a:r>
              <a:rPr lang="en-US"/>
              <a:t>Click to edit Master subhead style</a:t>
            </a:r>
          </a:p>
        </p:txBody>
      </p:sp>
      <p:sp>
        <p:nvSpPr>
          <p:cNvPr id="7" name="Text Placeholder 4"/>
          <p:cNvSpPr>
            <a:spLocks noGrp="1" noChangeAspect="1"/>
          </p:cNvSpPr>
          <p:nvPr>
            <p:ph type="body" sz="quarter" idx="20"/>
          </p:nvPr>
        </p:nvSpPr>
        <p:spPr>
          <a:xfrm>
            <a:off x="6633544" y="2510345"/>
            <a:ext cx="2061777" cy="2062070"/>
          </a:xfrm>
          <a:solidFill>
            <a:schemeClr val="accent5"/>
          </a:solidFill>
        </p:spPr>
        <p:txBody>
          <a:bodyPr lIns="365760" rIns="365760" anchor="ctr"/>
          <a:lstStyle>
            <a:lvl1pPr marL="0" indent="0" algn="ctr">
              <a:lnSpc>
                <a:spcPct val="100000"/>
              </a:lnSpc>
              <a:buNone/>
              <a:defRPr>
                <a:solidFill>
                  <a:schemeClr val="bg1"/>
                </a:solidFill>
              </a:defRPr>
            </a:lvl1pPr>
          </a:lstStyle>
          <a:p>
            <a:pPr lvl="0"/>
            <a:r>
              <a:rPr lang="en-US"/>
              <a:t>Click to edit Master text styles</a:t>
            </a:r>
          </a:p>
        </p:txBody>
      </p:sp>
      <p:pic>
        <p:nvPicPr>
          <p:cNvPr id="8" name="Picture 7"/>
          <p:cNvPicPr>
            <a:picLocks noChangeAspect="1"/>
          </p:cNvPicPr>
          <p:nvPr userDrawn="1"/>
        </p:nvPicPr>
        <p:blipFill>
          <a:blip r:embed="rId2"/>
          <a:stretch>
            <a:fillRect/>
          </a:stretch>
        </p:blipFill>
        <p:spPr>
          <a:xfrm>
            <a:off x="3098668" y="4952827"/>
            <a:ext cx="8752592" cy="1905173"/>
          </a:xfrm>
          <a:prstGeom prst="rect">
            <a:avLst/>
          </a:prstGeom>
        </p:spPr>
      </p:pic>
    </p:spTree>
    <p:extLst>
      <p:ext uri="{BB962C8B-B14F-4D97-AF65-F5344CB8AC3E}">
        <p14:creationId xmlns:p14="http://schemas.microsoft.com/office/powerpoint/2010/main" val="9966093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3" name="Picture Placeholder 23">
            <a:extLst>
              <a:ext uri="{FF2B5EF4-FFF2-40B4-BE49-F238E27FC236}">
                <a16:creationId xmlns:a16="http://schemas.microsoft.com/office/drawing/2014/main" id="{B7A55722-E12E-4745-97D0-C6FE2ABF19F1}"/>
              </a:ext>
            </a:extLst>
          </p:cNvPr>
          <p:cNvSpPr>
            <a:spLocks noGrp="1"/>
          </p:cNvSpPr>
          <p:nvPr>
            <p:ph type="pic" sz="quarter" idx="13" hasCustomPrompt="1"/>
          </p:nvPr>
        </p:nvSpPr>
        <p:spPr>
          <a:xfrm>
            <a:off x="912814" y="2193749"/>
            <a:ext cx="3314820" cy="2992123"/>
          </a:xfrm>
          <a:custGeom>
            <a:avLst/>
            <a:gdLst>
              <a:gd name="connsiteX0" fmla="*/ 0 w 1800000"/>
              <a:gd name="connsiteY0" fmla="*/ 0 h 1800000"/>
              <a:gd name="connsiteX1" fmla="*/ 1800000 w 1800000"/>
              <a:gd name="connsiteY1" fmla="*/ 0 h 1800000"/>
              <a:gd name="connsiteX2" fmla="*/ 1800000 w 1800000"/>
              <a:gd name="connsiteY2" fmla="*/ 1800000 h 1800000"/>
              <a:gd name="connsiteX3" fmla="*/ 0 w 1800000"/>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1800000" h="1800000">
                <a:moveTo>
                  <a:pt x="0" y="0"/>
                </a:moveTo>
                <a:lnTo>
                  <a:pt x="1800000" y="0"/>
                </a:lnTo>
                <a:lnTo>
                  <a:pt x="1800000" y="1800000"/>
                </a:lnTo>
                <a:lnTo>
                  <a:pt x="0" y="1800000"/>
                </a:lnTo>
                <a:close/>
              </a:path>
            </a:pathLst>
          </a:custGeom>
          <a:blipFill dpi="0" rotWithShape="1">
            <a:blip r:embed="rId2">
              <a:extLst>
                <a:ext uri="{28A0092B-C50C-407E-A947-70E740481C1C}">
                  <a14:useLocalDpi xmlns:a14="http://schemas.microsoft.com/office/drawing/2010/main" val="0"/>
                </a:ext>
              </a:extLst>
            </a:blip>
            <a:srcRect/>
            <a:stretch>
              <a:fillRect/>
            </a:stretch>
          </a:blipFill>
        </p:spPr>
        <p:txBody>
          <a:bodyPr wrap="square">
            <a:noAutofit/>
          </a:bodyPr>
          <a:lstStyle>
            <a:lvl1pPr marL="0" indent="0" algn="ctr">
              <a:buNone/>
              <a:defRPr sz="1200" baseline="0"/>
            </a:lvl1pPr>
          </a:lstStyle>
          <a:p>
            <a:r>
              <a:rPr lang="en-US" dirty="0"/>
              <a:t>Add your image here [Drag and Drop]</a:t>
            </a:r>
          </a:p>
        </p:txBody>
      </p:sp>
      <p:sp>
        <p:nvSpPr>
          <p:cNvPr id="14" name="Picture Placeholder 13">
            <a:extLst>
              <a:ext uri="{FF2B5EF4-FFF2-40B4-BE49-F238E27FC236}">
                <a16:creationId xmlns:a16="http://schemas.microsoft.com/office/drawing/2014/main" id="{A38D8DC2-3DFD-CF46-9521-01551DFF0AEB}"/>
              </a:ext>
            </a:extLst>
          </p:cNvPr>
          <p:cNvSpPr>
            <a:spLocks noGrp="1"/>
          </p:cNvSpPr>
          <p:nvPr>
            <p:ph type="pic" sz="quarter" idx="14" hasCustomPrompt="1"/>
          </p:nvPr>
        </p:nvSpPr>
        <p:spPr>
          <a:xfrm>
            <a:off x="4435523" y="2193749"/>
            <a:ext cx="3314820" cy="2992123"/>
          </a:xfrm>
          <a:custGeom>
            <a:avLst/>
            <a:gdLst>
              <a:gd name="connsiteX0" fmla="*/ 0 w 1800000"/>
              <a:gd name="connsiteY0" fmla="*/ 0 h 1800000"/>
              <a:gd name="connsiteX1" fmla="*/ 1800000 w 1800000"/>
              <a:gd name="connsiteY1" fmla="*/ 0 h 1800000"/>
              <a:gd name="connsiteX2" fmla="*/ 1800000 w 1800000"/>
              <a:gd name="connsiteY2" fmla="*/ 1800000 h 1800000"/>
              <a:gd name="connsiteX3" fmla="*/ 0 w 1800000"/>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1800000" h="1800000">
                <a:moveTo>
                  <a:pt x="0" y="0"/>
                </a:moveTo>
                <a:lnTo>
                  <a:pt x="1800000" y="0"/>
                </a:lnTo>
                <a:lnTo>
                  <a:pt x="1800000" y="1800000"/>
                </a:lnTo>
                <a:lnTo>
                  <a:pt x="0" y="1800000"/>
                </a:lnTo>
                <a:close/>
              </a:path>
            </a:pathLst>
          </a:custGeom>
          <a:blipFill dpi="0" rotWithShape="1">
            <a:blip r:embed="rId2">
              <a:extLst>
                <a:ext uri="{28A0092B-C50C-407E-A947-70E740481C1C}">
                  <a14:useLocalDpi xmlns:a14="http://schemas.microsoft.com/office/drawing/2010/main" val="0"/>
                </a:ext>
              </a:extLst>
            </a:blip>
            <a:srcRect/>
            <a:stretch>
              <a:fillRect/>
            </a:stretch>
          </a:blipFill>
        </p:spPr>
        <p:txBody>
          <a:bodyPr wrap="square">
            <a:noAutofit/>
          </a:bodyPr>
          <a:lstStyle>
            <a:lvl1pPr marL="0" indent="0" algn="ctr">
              <a:buNone/>
              <a:defRPr sz="1200" baseline="0"/>
            </a:lvl1pPr>
          </a:lstStyle>
          <a:p>
            <a:r>
              <a:rPr lang="en-US"/>
              <a:t>Add your image here [Drag and Drop]</a:t>
            </a:r>
          </a:p>
        </p:txBody>
      </p:sp>
      <p:sp>
        <p:nvSpPr>
          <p:cNvPr id="15" name="Picture Placeholder 14">
            <a:extLst>
              <a:ext uri="{FF2B5EF4-FFF2-40B4-BE49-F238E27FC236}">
                <a16:creationId xmlns:a16="http://schemas.microsoft.com/office/drawing/2014/main" id="{813955EB-D48F-F640-BE35-EB01D83FB722}"/>
              </a:ext>
            </a:extLst>
          </p:cNvPr>
          <p:cNvSpPr>
            <a:spLocks noGrp="1"/>
          </p:cNvSpPr>
          <p:nvPr>
            <p:ph type="pic" sz="quarter" idx="15" hasCustomPrompt="1"/>
          </p:nvPr>
        </p:nvSpPr>
        <p:spPr>
          <a:xfrm>
            <a:off x="7958232" y="2193749"/>
            <a:ext cx="3314820" cy="2992123"/>
          </a:xfrm>
          <a:custGeom>
            <a:avLst/>
            <a:gdLst>
              <a:gd name="connsiteX0" fmla="*/ 0 w 1800000"/>
              <a:gd name="connsiteY0" fmla="*/ 0 h 1800000"/>
              <a:gd name="connsiteX1" fmla="*/ 1800000 w 1800000"/>
              <a:gd name="connsiteY1" fmla="*/ 0 h 1800000"/>
              <a:gd name="connsiteX2" fmla="*/ 1800000 w 1800000"/>
              <a:gd name="connsiteY2" fmla="*/ 1800000 h 1800000"/>
              <a:gd name="connsiteX3" fmla="*/ 0 w 1800000"/>
              <a:gd name="connsiteY3" fmla="*/ 1800000 h 1800000"/>
            </a:gdLst>
            <a:ahLst/>
            <a:cxnLst>
              <a:cxn ang="0">
                <a:pos x="connsiteX0" y="connsiteY0"/>
              </a:cxn>
              <a:cxn ang="0">
                <a:pos x="connsiteX1" y="connsiteY1"/>
              </a:cxn>
              <a:cxn ang="0">
                <a:pos x="connsiteX2" y="connsiteY2"/>
              </a:cxn>
              <a:cxn ang="0">
                <a:pos x="connsiteX3" y="connsiteY3"/>
              </a:cxn>
            </a:cxnLst>
            <a:rect l="l" t="t" r="r" b="b"/>
            <a:pathLst>
              <a:path w="1800000" h="1800000">
                <a:moveTo>
                  <a:pt x="0" y="0"/>
                </a:moveTo>
                <a:lnTo>
                  <a:pt x="1800000" y="0"/>
                </a:lnTo>
                <a:lnTo>
                  <a:pt x="1800000" y="1800000"/>
                </a:lnTo>
                <a:lnTo>
                  <a:pt x="0" y="1800000"/>
                </a:lnTo>
                <a:close/>
              </a:path>
            </a:pathLst>
          </a:custGeom>
          <a:blipFill dpi="0" rotWithShape="1">
            <a:blip r:embed="rId2">
              <a:extLst>
                <a:ext uri="{28A0092B-C50C-407E-A947-70E740481C1C}">
                  <a14:useLocalDpi xmlns:a14="http://schemas.microsoft.com/office/drawing/2010/main" val="0"/>
                </a:ext>
              </a:extLst>
            </a:blip>
            <a:srcRect/>
            <a:stretch>
              <a:fillRect/>
            </a:stretch>
          </a:blipFill>
        </p:spPr>
        <p:txBody>
          <a:bodyPr wrap="square">
            <a:noAutofit/>
          </a:bodyPr>
          <a:lstStyle>
            <a:lvl1pPr marL="0" indent="0" algn="ctr">
              <a:buNone/>
              <a:defRPr sz="1200" baseline="0"/>
            </a:lvl1pPr>
          </a:lstStyle>
          <a:p>
            <a:r>
              <a:rPr lang="en-US"/>
              <a:t>Add your image here [Drag and Drop]</a:t>
            </a:r>
          </a:p>
        </p:txBody>
      </p:sp>
      <p:sp>
        <p:nvSpPr>
          <p:cNvPr id="9" name="Text Placeholder 2">
            <a:extLst>
              <a:ext uri="{FF2B5EF4-FFF2-40B4-BE49-F238E27FC236}">
                <a16:creationId xmlns:a16="http://schemas.microsoft.com/office/drawing/2014/main" id="{0AA7416A-763F-E54E-AD0C-CB78DA3D1772}"/>
              </a:ext>
            </a:extLst>
          </p:cNvPr>
          <p:cNvSpPr>
            <a:spLocks noGrp="1"/>
          </p:cNvSpPr>
          <p:nvPr>
            <p:ph type="body" sz="quarter" idx="10" hasCustomPrompt="1"/>
          </p:nvPr>
        </p:nvSpPr>
        <p:spPr>
          <a:xfrm>
            <a:off x="765178" y="264103"/>
            <a:ext cx="10664822" cy="615553"/>
          </a:xfrm>
          <a:prstGeom prst="rect">
            <a:avLst/>
          </a:prstGeom>
        </p:spPr>
        <p:txBody>
          <a:bodyPr anchor="ctr"/>
          <a:lstStyle>
            <a:lvl1pPr marL="0" indent="0" algn="ctr">
              <a:lnSpc>
                <a:spcPct val="100000"/>
              </a:lnSpc>
              <a:buNone/>
              <a:defRPr sz="4000" b="0">
                <a:solidFill>
                  <a:schemeClr val="accent2"/>
                </a:solidFill>
                <a:latin typeface="+mj-lt"/>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Title</a:t>
            </a:r>
          </a:p>
        </p:txBody>
      </p:sp>
      <p:sp>
        <p:nvSpPr>
          <p:cNvPr id="10" name="Text Placeholder 6">
            <a:extLst>
              <a:ext uri="{FF2B5EF4-FFF2-40B4-BE49-F238E27FC236}">
                <a16:creationId xmlns:a16="http://schemas.microsoft.com/office/drawing/2014/main" id="{E4B3E4FD-769E-B84A-834C-0212AAE99A7A}"/>
              </a:ext>
            </a:extLst>
          </p:cNvPr>
          <p:cNvSpPr>
            <a:spLocks noGrp="1"/>
          </p:cNvSpPr>
          <p:nvPr>
            <p:ph type="body" sz="quarter" idx="11"/>
          </p:nvPr>
        </p:nvSpPr>
        <p:spPr>
          <a:xfrm>
            <a:off x="760522" y="928650"/>
            <a:ext cx="10664822" cy="430887"/>
          </a:xfrm>
          <a:prstGeom prst="rect">
            <a:avLst/>
          </a:prstGeom>
          <a:noFill/>
        </p:spPr>
        <p:txBody>
          <a:bodyPr anchor="ctr"/>
          <a:lstStyle>
            <a:lvl1pPr marL="228600" marR="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00" b="0" spc="0">
                <a:solidFill>
                  <a:schemeClr val="tx1"/>
                </a:solidFill>
                <a:latin typeface="+mj-lt"/>
              </a:defRPr>
            </a:lvl1pPr>
            <a:lvl2pPr>
              <a:defRPr sz="2400"/>
            </a:lvl2pPr>
            <a:lvl3pPr>
              <a:defRPr sz="2600"/>
            </a:lvl3pPr>
            <a:lvl4pPr>
              <a:defRPr sz="2800"/>
            </a:lvl4pPr>
            <a:lvl5pPr>
              <a:defRPr sz="3400"/>
            </a:lvl5pPr>
            <a:lvl6pPr>
              <a:defRPr sz="2800"/>
            </a:lvl6pPr>
            <a:lvl7pPr>
              <a:defRPr sz="2800"/>
            </a:lvl7pPr>
            <a:lvl8pPr algn="r">
              <a:buNone/>
              <a:defRPr/>
            </a:lvl8pPr>
          </a:lstStyle>
          <a:p>
            <a:pPr marL="3497783"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2800" b="0" i="0" u="none" strike="noStrike" kern="1200" cap="none" spc="0" normalizeH="0" baseline="0" noProof="0">
                <a:ln>
                  <a:noFill/>
                </a:ln>
                <a:gradFill>
                  <a:gsLst>
                    <a:gs pos="1250">
                      <a:srgbClr val="1A1A1A"/>
                    </a:gs>
                    <a:gs pos="100000">
                      <a:srgbClr val="1A1A1A"/>
                    </a:gs>
                  </a:gsLst>
                  <a:lin ang="5400000" scaled="0"/>
                </a:gradFill>
                <a:effectLst/>
                <a:uLnTx/>
                <a:uFillTx/>
                <a:latin typeface="Segoe UI Semilight" panose="020B0402040204020203" pitchFamily="34" charset="0"/>
                <a:ea typeface="+mn-ea"/>
                <a:cs typeface="Segoe UI Semilight" panose="020B0402040204020203" pitchFamily="34" charset="0"/>
              </a:rPr>
              <a:t>Click to edit Master text styles</a:t>
            </a:r>
          </a:p>
        </p:txBody>
      </p:sp>
      <p:pic>
        <p:nvPicPr>
          <p:cNvPr id="11" name="Picture 10">
            <a:extLst>
              <a:ext uri="{FF2B5EF4-FFF2-40B4-BE49-F238E27FC236}">
                <a16:creationId xmlns:a16="http://schemas.microsoft.com/office/drawing/2014/main" id="{C647C851-21E2-E775-673A-E6F7E1B46F2E}"/>
              </a:ext>
            </a:extLst>
          </p:cNvPr>
          <p:cNvPicPr>
            <a:picLocks noChangeAspect="1"/>
          </p:cNvPicPr>
          <p:nvPr userDrawn="1"/>
        </p:nvPicPr>
        <p:blipFill>
          <a:blip r:embed="rId3"/>
          <a:srcRect/>
          <a:stretch/>
        </p:blipFill>
        <p:spPr>
          <a:xfrm>
            <a:off x="586389" y="6083901"/>
            <a:ext cx="591057" cy="591057"/>
          </a:xfrm>
          <a:prstGeom prst="rect">
            <a:avLst/>
          </a:prstGeom>
        </p:spPr>
      </p:pic>
      <p:sp>
        <p:nvSpPr>
          <p:cNvPr id="8" name="TextBox 7">
            <a:extLst>
              <a:ext uri="{FF2B5EF4-FFF2-40B4-BE49-F238E27FC236}">
                <a16:creationId xmlns:a16="http://schemas.microsoft.com/office/drawing/2014/main" id="{4726F191-734D-F208-3FF8-C386BA148E9E}"/>
              </a:ext>
            </a:extLst>
          </p:cNvPr>
          <p:cNvSpPr txBox="1"/>
          <p:nvPr userDrawn="1"/>
        </p:nvSpPr>
        <p:spPr>
          <a:xfrm>
            <a:off x="11119832" y="6379429"/>
            <a:ext cx="970156" cy="184666"/>
          </a:xfrm>
          <a:prstGeom prst="rect">
            <a:avLst/>
          </a:prstGeom>
          <a:noFill/>
        </p:spPr>
        <p:txBody>
          <a:bodyPr wrap="square" lIns="0" tIns="0" rIns="0" bIns="0" rtlCol="0">
            <a:spAutoFit/>
          </a:bodyPr>
          <a:lstStyle/>
          <a:p>
            <a:pPr algn="l"/>
            <a:r>
              <a:rPr lang="en-HR" sz="1200" b="1" dirty="0">
                <a:gradFill>
                  <a:gsLst>
                    <a:gs pos="2917">
                      <a:schemeClr val="tx1"/>
                    </a:gs>
                    <a:gs pos="30000">
                      <a:schemeClr val="tx1"/>
                    </a:gs>
                  </a:gsLst>
                  <a:lin ang="5400000" scaled="0"/>
                </a:gradFill>
              </a:rPr>
              <a:t>#ntk22</a:t>
            </a:r>
          </a:p>
        </p:txBody>
      </p:sp>
    </p:spTree>
    <p:extLst>
      <p:ext uri="{BB962C8B-B14F-4D97-AF65-F5344CB8AC3E}">
        <p14:creationId xmlns:p14="http://schemas.microsoft.com/office/powerpoint/2010/main" val="4257333352"/>
      </p:ext>
    </p:extLst>
  </p:cSld>
  <p:clrMapOvr>
    <a:masterClrMapping/>
  </p:clrMapOvr>
  <p:transition>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Full Width Head, Copy + Visual">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486834" y="584166"/>
            <a:ext cx="11120967" cy="465701"/>
          </a:xfrm>
          <a:prstGeom prst="rect">
            <a:avLst/>
          </a:prstGeom>
        </p:spPr>
        <p:txBody>
          <a:bodyPr vert="horz" lIns="0" tIns="0" rIns="0" bIns="0" rtlCol="0" anchor="t" anchorCtr="0">
            <a:noAutofit/>
          </a:bodyPr>
          <a:lstStyle>
            <a:lvl1pPr>
              <a:defRPr baseline="0"/>
            </a:lvl1pPr>
          </a:lstStyle>
          <a:p>
            <a:r>
              <a:rPr lang="en-US"/>
              <a:t>insert headline here – up to 1 full-width line</a:t>
            </a:r>
          </a:p>
        </p:txBody>
      </p:sp>
      <p:sp>
        <p:nvSpPr>
          <p:cNvPr id="4" name="Footer Placeholder 3"/>
          <p:cNvSpPr>
            <a:spLocks noGrp="1"/>
          </p:cNvSpPr>
          <p:nvPr>
            <p:ph type="ftr" sz="quarter" idx="14"/>
          </p:nvPr>
        </p:nvSpPr>
        <p:spPr/>
        <p:txBody>
          <a:bodyPr/>
          <a:lstStyle/>
          <a:p>
            <a:pPr algn="r"/>
            <a:r>
              <a:rPr lang="en-US">
                <a:solidFill>
                  <a:srgbClr val="000000"/>
                </a:solidFill>
              </a:rPr>
              <a:t>© 2013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3" name="Text Placeholder 2"/>
          <p:cNvSpPr>
            <a:spLocks noGrp="1"/>
          </p:cNvSpPr>
          <p:nvPr>
            <p:ph type="body" sz="quarter" idx="16" hasCustomPrompt="1"/>
          </p:nvPr>
        </p:nvSpPr>
        <p:spPr>
          <a:xfrm>
            <a:off x="486834" y="1175753"/>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a:t>Insert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a:t>Click icon to insert visual element here</a:t>
            </a:r>
          </a:p>
        </p:txBody>
      </p:sp>
    </p:spTree>
    <p:extLst>
      <p:ext uri="{BB962C8B-B14F-4D97-AF65-F5344CB8AC3E}">
        <p14:creationId xmlns:p14="http://schemas.microsoft.com/office/powerpoint/2010/main" val="104136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7">
    <p:bg>
      <p:bgPr>
        <a:solidFill>
          <a:srgbClr val="262626"/>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507715"/>
            <a:ext cx="12192000" cy="3539899"/>
          </a:xfrm>
          <a:prstGeom prst="rect">
            <a:avLst/>
          </a:prstGeom>
        </p:spPr>
      </p:pic>
      <p:sp>
        <p:nvSpPr>
          <p:cNvPr id="29" name="Rectangle 28"/>
          <p:cNvSpPr/>
          <p:nvPr userDrawn="1"/>
        </p:nvSpPr>
        <p:spPr>
          <a:xfrm rot="16200000">
            <a:off x="5941982" y="-1202404"/>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Rectangle 29"/>
          <p:cNvSpPr/>
          <p:nvPr userDrawn="1"/>
        </p:nvSpPr>
        <p:spPr>
          <a:xfrm>
            <a:off x="0" y="1817075"/>
            <a:ext cx="12191339" cy="2921177"/>
          </a:xfrm>
          <a:prstGeom prst="rect">
            <a:avLst/>
          </a:prstGeom>
          <a:solidFill>
            <a:srgbClr val="0000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userDrawn="1"/>
        </p:nvSpPr>
        <p:spPr>
          <a:xfrm rot="16200000">
            <a:off x="5940659" y="-4432943"/>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Box 9"/>
          <p:cNvSpPr txBox="1"/>
          <p:nvPr userDrawn="1"/>
        </p:nvSpPr>
        <p:spPr>
          <a:xfrm>
            <a:off x="253887" y="909170"/>
            <a:ext cx="5155893" cy="338554"/>
          </a:xfrm>
          <a:prstGeom prst="rect">
            <a:avLst/>
          </a:prstGeom>
          <a:noFill/>
        </p:spPr>
        <p:txBody>
          <a:bodyPr wrap="square" rtlCol="0">
            <a:spAutoFit/>
          </a:bodyPr>
          <a:lstStyle/>
          <a:p>
            <a:r>
              <a:rPr lang="en-US" sz="1600">
                <a:solidFill>
                  <a:schemeClr val="bg1"/>
                </a:solidFill>
                <a:latin typeface="+mj-lt"/>
              </a:rPr>
              <a:t>WORLDWIDE EDUCATION EXECUTIVE BRIEFING</a:t>
            </a:r>
          </a:p>
        </p:txBody>
      </p:sp>
      <p:sp>
        <p:nvSpPr>
          <p:cNvPr id="2" name="Title 1"/>
          <p:cNvSpPr>
            <a:spLocks noGrp="1"/>
          </p:cNvSpPr>
          <p:nvPr>
            <p:ph type="ctrTitle" hasCustomPrompt="1"/>
          </p:nvPr>
        </p:nvSpPr>
        <p:spPr>
          <a:xfrm>
            <a:off x="1520252" y="2836805"/>
            <a:ext cx="10343853" cy="1888609"/>
          </a:xfrm>
        </p:spPr>
        <p:txBody>
          <a:bodyPr anchor="t">
            <a:normAutofit/>
          </a:bodyPr>
          <a:lstStyle>
            <a:lvl1pPr algn="r">
              <a:defRPr sz="3200">
                <a:solidFill>
                  <a:schemeClr val="bg1"/>
                </a:solidFill>
              </a:defRPr>
            </a:lvl1pPr>
          </a:lstStyle>
          <a:p>
            <a:r>
              <a:rPr lang="en-US"/>
              <a:t>CLICK HERE TO ENTER PRESENTATION TITLE</a:t>
            </a:r>
          </a:p>
        </p:txBody>
      </p:sp>
      <p:sp>
        <p:nvSpPr>
          <p:cNvPr id="15" name="Text Placeholder 14"/>
          <p:cNvSpPr>
            <a:spLocks noGrp="1"/>
          </p:cNvSpPr>
          <p:nvPr>
            <p:ph type="body" sz="quarter" idx="13" hasCustomPrompt="1"/>
          </p:nvPr>
        </p:nvSpPr>
        <p:spPr>
          <a:xfrm>
            <a:off x="155418" y="5699256"/>
            <a:ext cx="3911826" cy="324517"/>
          </a:xfrm>
        </p:spPr>
        <p:txBody>
          <a:bodyPr>
            <a:normAutofit/>
          </a:bodyPr>
          <a:lstStyle>
            <a:lvl1pPr marL="0" indent="0">
              <a:buNone/>
              <a:defRPr sz="2000" b="0" i="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NAME GOES HERE</a:t>
            </a:r>
          </a:p>
        </p:txBody>
      </p:sp>
      <p:sp>
        <p:nvSpPr>
          <p:cNvPr id="16" name="Text Placeholder 14"/>
          <p:cNvSpPr>
            <a:spLocks noGrp="1"/>
          </p:cNvSpPr>
          <p:nvPr>
            <p:ph type="body" sz="quarter" idx="14" hasCustomPrompt="1"/>
          </p:nvPr>
        </p:nvSpPr>
        <p:spPr>
          <a:xfrm>
            <a:off x="155418" y="6023773"/>
            <a:ext cx="3911826" cy="355359"/>
          </a:xfrm>
        </p:spPr>
        <p:txBody>
          <a:bodyPr>
            <a:normAutofit/>
          </a:bodyPr>
          <a:lstStyle>
            <a:lvl1pPr marL="0" indent="0">
              <a:buNone/>
              <a:defRPr sz="2000" b="0" i="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TITLE GOES HERE</a:t>
            </a:r>
          </a:p>
        </p:txBody>
      </p:sp>
      <p:pic>
        <p:nvPicPr>
          <p:cNvPr id="33" name="MICROSOFT LOGO" title="Microsoft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5418" y="153857"/>
            <a:ext cx="1909009" cy="702216"/>
          </a:xfrm>
          <a:prstGeom prst="rect">
            <a:avLst/>
          </a:prstGeom>
        </p:spPr>
      </p:pic>
      <p:sp>
        <p:nvSpPr>
          <p:cNvPr id="34" name="Freeform: Shape 33"/>
          <p:cNvSpPr/>
          <p:nvPr userDrawn="1"/>
        </p:nvSpPr>
        <p:spPr>
          <a:xfrm>
            <a:off x="9702801" y="6232828"/>
            <a:ext cx="2489200" cy="292608"/>
          </a:xfrm>
          <a:custGeom>
            <a:avLst/>
            <a:gdLst>
              <a:gd name="connsiteX0" fmla="*/ 0 w 2379317"/>
              <a:gd name="connsiteY0" fmla="*/ 0 h 292608"/>
              <a:gd name="connsiteX1" fmla="*/ 63472 w 2379317"/>
              <a:gd name="connsiteY1" fmla="*/ 0 h 292608"/>
              <a:gd name="connsiteX2" fmla="*/ 237744 w 2379317"/>
              <a:gd name="connsiteY2" fmla="*/ 0 h 292608"/>
              <a:gd name="connsiteX3" fmla="*/ 2379317 w 2379317"/>
              <a:gd name="connsiteY3" fmla="*/ 0 h 292608"/>
              <a:gd name="connsiteX4" fmla="*/ 2379317 w 2379317"/>
              <a:gd name="connsiteY4" fmla="*/ 292608 h 292608"/>
              <a:gd name="connsiteX5" fmla="*/ 237744 w 2379317"/>
              <a:gd name="connsiteY5" fmla="*/ 292608 h 292608"/>
              <a:gd name="connsiteX6" fmla="*/ 63472 w 2379317"/>
              <a:gd name="connsiteY6" fmla="*/ 292608 h 292608"/>
              <a:gd name="connsiteX7" fmla="*/ 0 w 2379317"/>
              <a:gd name="connsiteY7" fmla="*/ 292608 h 292608"/>
              <a:gd name="connsiteX8" fmla="*/ 54864 w 2379317"/>
              <a:gd name="connsiteY8" fmla="*/ 146304 h 29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9317" h="292608">
                <a:moveTo>
                  <a:pt x="0" y="0"/>
                </a:moveTo>
                <a:lnTo>
                  <a:pt x="63472" y="0"/>
                </a:lnTo>
                <a:lnTo>
                  <a:pt x="237744" y="0"/>
                </a:lnTo>
                <a:lnTo>
                  <a:pt x="2379317" y="0"/>
                </a:lnTo>
                <a:lnTo>
                  <a:pt x="2379317" y="292608"/>
                </a:lnTo>
                <a:lnTo>
                  <a:pt x="237744" y="292608"/>
                </a:lnTo>
                <a:lnTo>
                  <a:pt x="63472" y="292608"/>
                </a:lnTo>
                <a:lnTo>
                  <a:pt x="0" y="292608"/>
                </a:lnTo>
                <a:lnTo>
                  <a:pt x="54864" y="146304"/>
                </a:lnTo>
                <a:close/>
              </a:path>
            </a:pathLst>
          </a:custGeom>
          <a:solidFill>
            <a:srgbClr val="25A0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5" name="Picture 34"/>
          <p:cNvPicPr>
            <a:picLocks noChangeAspect="1"/>
          </p:cNvPicPr>
          <p:nvPr userDrawn="1"/>
        </p:nvPicPr>
        <p:blipFill rotWithShape="1">
          <a:blip r:embed="rId4" cstate="print">
            <a:extLst>
              <a:ext uri="{28A0092B-C50C-407E-A947-70E740481C1C}">
                <a14:useLocalDpi xmlns:a14="http://schemas.microsoft.com/office/drawing/2010/main" val="0"/>
              </a:ext>
            </a:extLst>
          </a:blip>
          <a:srcRect l="17381" t="26652" r="14411" b="32453"/>
          <a:stretch/>
        </p:blipFill>
        <p:spPr>
          <a:xfrm>
            <a:off x="9800492" y="6288510"/>
            <a:ext cx="258986" cy="155275"/>
          </a:xfrm>
          <a:prstGeom prst="rect">
            <a:avLst/>
          </a:prstGeom>
        </p:spPr>
      </p:pic>
      <p:sp>
        <p:nvSpPr>
          <p:cNvPr id="37" name="Text Placeholder 36"/>
          <p:cNvSpPr>
            <a:spLocks noGrp="1"/>
          </p:cNvSpPr>
          <p:nvPr>
            <p:ph type="body" sz="quarter" idx="15" hasCustomPrompt="1"/>
          </p:nvPr>
        </p:nvSpPr>
        <p:spPr>
          <a:xfrm>
            <a:off x="10059478" y="6232829"/>
            <a:ext cx="2159849" cy="292608"/>
          </a:xfrm>
        </p:spPr>
        <p:txBody>
          <a:bodyPr>
            <a:normAutofit/>
          </a:bodyPr>
          <a:lstStyle>
            <a:lvl1pPr marL="0" indent="0">
              <a:buNone/>
              <a:defRPr sz="1400" b="0" i="0">
                <a:solidFill>
                  <a:schemeClr val="bg1"/>
                </a:solidFill>
                <a:latin typeface="+mj-lt"/>
              </a:defRPr>
            </a:lvl1pPr>
          </a:lstStyle>
          <a:p>
            <a:pPr lvl="0"/>
            <a:r>
              <a:rPr lang="en-US"/>
              <a:t>Enter your twitter handle</a:t>
            </a:r>
          </a:p>
        </p:txBody>
      </p:sp>
    </p:spTree>
    <p:extLst>
      <p:ext uri="{BB962C8B-B14F-4D97-AF65-F5344CB8AC3E}">
        <p14:creationId xmlns:p14="http://schemas.microsoft.com/office/powerpoint/2010/main" val="42623920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_TITLE SLIDE 8">
    <p:bg>
      <p:bgPr>
        <a:solidFill>
          <a:srgbClr val="262626"/>
        </a:solidFill>
        <a:effectLst/>
      </p:bgPr>
    </p:bg>
    <p:spTree>
      <p:nvGrpSpPr>
        <p:cNvPr id="1" name=""/>
        <p:cNvGrpSpPr/>
        <p:nvPr/>
      </p:nvGrpSpPr>
      <p:grpSpPr>
        <a:xfrm>
          <a:off x="0" y="0"/>
          <a:ext cx="0" cy="0"/>
          <a:chOff x="0" y="0"/>
          <a:chExt cx="0" cy="0"/>
        </a:xfrm>
      </p:grpSpPr>
      <p:pic>
        <p:nvPicPr>
          <p:cNvPr id="4" name="Picture 3" descr="Water next to the ocean&#10;&#10;Description generated with high confidence"/>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659051"/>
            <a:ext cx="12188952" cy="3539899"/>
          </a:xfrm>
          <a:prstGeom prst="rect">
            <a:avLst/>
          </a:prstGeom>
        </p:spPr>
      </p:pic>
      <p:grpSp>
        <p:nvGrpSpPr>
          <p:cNvPr id="2" name="Group 1"/>
          <p:cNvGrpSpPr/>
          <p:nvPr userDrawn="1"/>
        </p:nvGrpSpPr>
        <p:grpSpPr>
          <a:xfrm>
            <a:off x="1" y="1659051"/>
            <a:ext cx="12191999" cy="3539898"/>
            <a:chOff x="1" y="1507715"/>
            <a:chExt cx="12191999" cy="3539898"/>
          </a:xfrm>
        </p:grpSpPr>
        <p:sp>
          <p:nvSpPr>
            <p:cNvPr id="29" name="Rectangle 28"/>
            <p:cNvSpPr/>
            <p:nvPr userDrawn="1"/>
          </p:nvSpPr>
          <p:spPr>
            <a:xfrm rot="16200000">
              <a:off x="5941982" y="-1202404"/>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Rectangle 29"/>
            <p:cNvSpPr/>
            <p:nvPr userDrawn="1"/>
          </p:nvSpPr>
          <p:spPr>
            <a:xfrm>
              <a:off x="661" y="1817075"/>
              <a:ext cx="12191339" cy="2921177"/>
            </a:xfrm>
            <a:prstGeom prst="rect">
              <a:avLst/>
            </a:prstGeom>
            <a:solidFill>
              <a:srgbClr val="000000">
                <a:alpha val="3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userDrawn="1"/>
          </p:nvSpPr>
          <p:spPr>
            <a:xfrm rot="16200000">
              <a:off x="5940659" y="-4432943"/>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16166971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9">
    <p:bg>
      <p:bgPr>
        <a:solidFill>
          <a:srgbClr val="262626"/>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507715"/>
            <a:ext cx="12190677" cy="3539899"/>
          </a:xfrm>
          <a:prstGeom prst="rect">
            <a:avLst/>
          </a:prstGeom>
        </p:spPr>
      </p:pic>
      <p:sp>
        <p:nvSpPr>
          <p:cNvPr id="29" name="Rectangle 28"/>
          <p:cNvSpPr/>
          <p:nvPr userDrawn="1"/>
        </p:nvSpPr>
        <p:spPr>
          <a:xfrm rot="16200000">
            <a:off x="5941982" y="-1202404"/>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Rectangle 29"/>
          <p:cNvSpPr/>
          <p:nvPr userDrawn="1"/>
        </p:nvSpPr>
        <p:spPr>
          <a:xfrm>
            <a:off x="0" y="1817075"/>
            <a:ext cx="12191339" cy="2921177"/>
          </a:xfrm>
          <a:prstGeom prst="rect">
            <a:avLst/>
          </a:prstGeom>
          <a:solidFill>
            <a:srgbClr val="000000">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userDrawn="1"/>
        </p:nvSpPr>
        <p:spPr>
          <a:xfrm rot="16200000">
            <a:off x="5940659" y="-4432943"/>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extBox 9"/>
          <p:cNvSpPr txBox="1"/>
          <p:nvPr userDrawn="1"/>
        </p:nvSpPr>
        <p:spPr>
          <a:xfrm>
            <a:off x="253887" y="909170"/>
            <a:ext cx="5155893" cy="338554"/>
          </a:xfrm>
          <a:prstGeom prst="rect">
            <a:avLst/>
          </a:prstGeom>
          <a:noFill/>
        </p:spPr>
        <p:txBody>
          <a:bodyPr wrap="square" rtlCol="0">
            <a:spAutoFit/>
          </a:bodyPr>
          <a:lstStyle/>
          <a:p>
            <a:r>
              <a:rPr lang="en-US" sz="1600">
                <a:solidFill>
                  <a:schemeClr val="bg1"/>
                </a:solidFill>
                <a:latin typeface="+mj-lt"/>
              </a:rPr>
              <a:t>WORLDWIDE EDUCATION EXECUTIVE BRIEFING</a:t>
            </a:r>
          </a:p>
        </p:txBody>
      </p:sp>
      <p:sp>
        <p:nvSpPr>
          <p:cNvPr id="2" name="Title 1"/>
          <p:cNvSpPr>
            <a:spLocks noGrp="1"/>
          </p:cNvSpPr>
          <p:nvPr>
            <p:ph type="ctrTitle" hasCustomPrompt="1"/>
          </p:nvPr>
        </p:nvSpPr>
        <p:spPr>
          <a:xfrm>
            <a:off x="1520252" y="2836805"/>
            <a:ext cx="10343853" cy="1888609"/>
          </a:xfrm>
        </p:spPr>
        <p:txBody>
          <a:bodyPr anchor="t">
            <a:normAutofit/>
          </a:bodyPr>
          <a:lstStyle>
            <a:lvl1pPr algn="r">
              <a:defRPr sz="3200">
                <a:solidFill>
                  <a:schemeClr val="bg1"/>
                </a:solidFill>
              </a:defRPr>
            </a:lvl1pPr>
          </a:lstStyle>
          <a:p>
            <a:r>
              <a:rPr lang="en-US"/>
              <a:t>CLICK HERE TO ENTER PRESENTATION TITLE</a:t>
            </a:r>
          </a:p>
        </p:txBody>
      </p:sp>
      <p:sp>
        <p:nvSpPr>
          <p:cNvPr id="15" name="Text Placeholder 14"/>
          <p:cNvSpPr>
            <a:spLocks noGrp="1"/>
          </p:cNvSpPr>
          <p:nvPr>
            <p:ph type="body" sz="quarter" idx="13" hasCustomPrompt="1"/>
          </p:nvPr>
        </p:nvSpPr>
        <p:spPr>
          <a:xfrm>
            <a:off x="155418" y="5699256"/>
            <a:ext cx="3911826" cy="324517"/>
          </a:xfrm>
        </p:spPr>
        <p:txBody>
          <a:bodyPr>
            <a:normAutofit/>
          </a:bodyPr>
          <a:lstStyle>
            <a:lvl1pPr marL="0" indent="0">
              <a:buNone/>
              <a:defRPr sz="2000" b="0" i="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NAME GOES HERE</a:t>
            </a:r>
          </a:p>
        </p:txBody>
      </p:sp>
      <p:sp>
        <p:nvSpPr>
          <p:cNvPr id="16" name="Text Placeholder 14"/>
          <p:cNvSpPr>
            <a:spLocks noGrp="1"/>
          </p:cNvSpPr>
          <p:nvPr>
            <p:ph type="body" sz="quarter" idx="14" hasCustomPrompt="1"/>
          </p:nvPr>
        </p:nvSpPr>
        <p:spPr>
          <a:xfrm>
            <a:off x="155418" y="6023773"/>
            <a:ext cx="3911826" cy="355359"/>
          </a:xfrm>
        </p:spPr>
        <p:txBody>
          <a:bodyPr>
            <a:normAutofit/>
          </a:bodyPr>
          <a:lstStyle>
            <a:lvl1pPr marL="0" indent="0">
              <a:buNone/>
              <a:defRPr sz="2000" b="0" i="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TITLE GOES HERE</a:t>
            </a:r>
          </a:p>
        </p:txBody>
      </p:sp>
      <p:pic>
        <p:nvPicPr>
          <p:cNvPr id="33" name="MICROSOFT LOGO" title="Microsoft 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5418" y="153857"/>
            <a:ext cx="1909009" cy="702216"/>
          </a:xfrm>
          <a:prstGeom prst="rect">
            <a:avLst/>
          </a:prstGeom>
        </p:spPr>
      </p:pic>
      <p:sp>
        <p:nvSpPr>
          <p:cNvPr id="34" name="Freeform: Shape 33"/>
          <p:cNvSpPr/>
          <p:nvPr userDrawn="1"/>
        </p:nvSpPr>
        <p:spPr>
          <a:xfrm>
            <a:off x="9702801" y="6232828"/>
            <a:ext cx="2489200" cy="292608"/>
          </a:xfrm>
          <a:custGeom>
            <a:avLst/>
            <a:gdLst>
              <a:gd name="connsiteX0" fmla="*/ 0 w 2379317"/>
              <a:gd name="connsiteY0" fmla="*/ 0 h 292608"/>
              <a:gd name="connsiteX1" fmla="*/ 63472 w 2379317"/>
              <a:gd name="connsiteY1" fmla="*/ 0 h 292608"/>
              <a:gd name="connsiteX2" fmla="*/ 237744 w 2379317"/>
              <a:gd name="connsiteY2" fmla="*/ 0 h 292608"/>
              <a:gd name="connsiteX3" fmla="*/ 2379317 w 2379317"/>
              <a:gd name="connsiteY3" fmla="*/ 0 h 292608"/>
              <a:gd name="connsiteX4" fmla="*/ 2379317 w 2379317"/>
              <a:gd name="connsiteY4" fmla="*/ 292608 h 292608"/>
              <a:gd name="connsiteX5" fmla="*/ 237744 w 2379317"/>
              <a:gd name="connsiteY5" fmla="*/ 292608 h 292608"/>
              <a:gd name="connsiteX6" fmla="*/ 63472 w 2379317"/>
              <a:gd name="connsiteY6" fmla="*/ 292608 h 292608"/>
              <a:gd name="connsiteX7" fmla="*/ 0 w 2379317"/>
              <a:gd name="connsiteY7" fmla="*/ 292608 h 292608"/>
              <a:gd name="connsiteX8" fmla="*/ 54864 w 2379317"/>
              <a:gd name="connsiteY8" fmla="*/ 146304 h 29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9317" h="292608">
                <a:moveTo>
                  <a:pt x="0" y="0"/>
                </a:moveTo>
                <a:lnTo>
                  <a:pt x="63472" y="0"/>
                </a:lnTo>
                <a:lnTo>
                  <a:pt x="237744" y="0"/>
                </a:lnTo>
                <a:lnTo>
                  <a:pt x="2379317" y="0"/>
                </a:lnTo>
                <a:lnTo>
                  <a:pt x="2379317" y="292608"/>
                </a:lnTo>
                <a:lnTo>
                  <a:pt x="237744" y="292608"/>
                </a:lnTo>
                <a:lnTo>
                  <a:pt x="63472" y="292608"/>
                </a:lnTo>
                <a:lnTo>
                  <a:pt x="0" y="292608"/>
                </a:lnTo>
                <a:lnTo>
                  <a:pt x="54864" y="146304"/>
                </a:lnTo>
                <a:close/>
              </a:path>
            </a:pathLst>
          </a:custGeom>
          <a:solidFill>
            <a:srgbClr val="25A0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5" name="Picture 34"/>
          <p:cNvPicPr>
            <a:picLocks noChangeAspect="1"/>
          </p:cNvPicPr>
          <p:nvPr userDrawn="1"/>
        </p:nvPicPr>
        <p:blipFill rotWithShape="1">
          <a:blip r:embed="rId4" cstate="print">
            <a:extLst>
              <a:ext uri="{28A0092B-C50C-407E-A947-70E740481C1C}">
                <a14:useLocalDpi xmlns:a14="http://schemas.microsoft.com/office/drawing/2010/main" val="0"/>
              </a:ext>
            </a:extLst>
          </a:blip>
          <a:srcRect l="17381" t="26652" r="14411" b="32453"/>
          <a:stretch/>
        </p:blipFill>
        <p:spPr>
          <a:xfrm>
            <a:off x="9800492" y="6288510"/>
            <a:ext cx="258986" cy="155275"/>
          </a:xfrm>
          <a:prstGeom prst="rect">
            <a:avLst/>
          </a:prstGeom>
        </p:spPr>
      </p:pic>
      <p:sp>
        <p:nvSpPr>
          <p:cNvPr id="37" name="Text Placeholder 36"/>
          <p:cNvSpPr>
            <a:spLocks noGrp="1"/>
          </p:cNvSpPr>
          <p:nvPr>
            <p:ph type="body" sz="quarter" idx="15" hasCustomPrompt="1"/>
          </p:nvPr>
        </p:nvSpPr>
        <p:spPr>
          <a:xfrm>
            <a:off x="10059478" y="6232829"/>
            <a:ext cx="2159849" cy="292608"/>
          </a:xfrm>
        </p:spPr>
        <p:txBody>
          <a:bodyPr>
            <a:normAutofit/>
          </a:bodyPr>
          <a:lstStyle>
            <a:lvl1pPr marL="0" indent="0">
              <a:buNone/>
              <a:defRPr sz="1400" b="0" i="0">
                <a:solidFill>
                  <a:schemeClr val="bg1"/>
                </a:solidFill>
                <a:latin typeface="+mj-lt"/>
              </a:defRPr>
            </a:lvl1pPr>
          </a:lstStyle>
          <a:p>
            <a:pPr lvl="0"/>
            <a:r>
              <a:rPr lang="en-US"/>
              <a:t>Enter your twitter handle</a:t>
            </a:r>
          </a:p>
        </p:txBody>
      </p:sp>
    </p:spTree>
    <p:extLst>
      <p:ext uri="{BB962C8B-B14F-4D97-AF65-F5344CB8AC3E}">
        <p14:creationId xmlns:p14="http://schemas.microsoft.com/office/powerpoint/2010/main" val="295001636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SLIDE LEFT IMAGE">
    <p:bg>
      <p:bgPr>
        <a:solidFill>
          <a:srgbClr val="262626"/>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l="32392" t="23636" r="32134" b="35863"/>
          <a:stretch/>
        </p:blipFill>
        <p:spPr>
          <a:xfrm>
            <a:off x="9310255" y="1810386"/>
            <a:ext cx="2687017" cy="3932002"/>
          </a:xfrm>
          <a:prstGeom prst="rect">
            <a:avLst/>
          </a:prstGeom>
        </p:spPr>
      </p:pic>
      <p:grpSp>
        <p:nvGrpSpPr>
          <p:cNvPr id="8" name="Group 7"/>
          <p:cNvGrpSpPr/>
          <p:nvPr/>
        </p:nvGrpSpPr>
        <p:grpSpPr>
          <a:xfrm flipH="1">
            <a:off x="6595756" y="0"/>
            <a:ext cx="5596244" cy="6858000"/>
            <a:chOff x="2706625" y="-745"/>
            <a:chExt cx="5596244" cy="6858000"/>
          </a:xfrm>
        </p:grpSpPr>
        <p:sp>
          <p:nvSpPr>
            <p:cNvPr id="12" name="Rectangle 11"/>
            <p:cNvSpPr/>
            <p:nvPr/>
          </p:nvSpPr>
          <p:spPr>
            <a:xfrm>
              <a:off x="8017933" y="-745"/>
              <a:ext cx="284936" cy="6858000"/>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p:nvSpPr>
          <p:spPr>
            <a:xfrm>
              <a:off x="2706625" y="-745"/>
              <a:ext cx="531131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9" name="Text Placeholder 8"/>
          <p:cNvSpPr>
            <a:spLocks noGrp="1"/>
          </p:cNvSpPr>
          <p:nvPr>
            <p:ph type="body" sz="quarter" idx="10" hasCustomPrompt="1"/>
          </p:nvPr>
        </p:nvSpPr>
        <p:spPr>
          <a:xfrm>
            <a:off x="6880690" y="1810386"/>
            <a:ext cx="5311309" cy="721799"/>
          </a:xfrm>
        </p:spPr>
        <p:txBody>
          <a:bodyPr anchor="ctr">
            <a:normAutofit/>
          </a:bodyPr>
          <a:lstStyle>
            <a:lvl1pPr marL="0" indent="0" algn="ctr">
              <a:buNone/>
              <a:defRPr sz="4000" b="0" i="0">
                <a:solidFill>
                  <a:schemeClr val="bg1"/>
                </a:solidFill>
                <a:latin typeface="+mj-lt"/>
              </a:defRPr>
            </a:lvl1pPr>
            <a:lvl2pPr marL="457200" indent="0" algn="ctr">
              <a:buNone/>
              <a:defRPr sz="3600" b="0" i="0">
                <a:solidFill>
                  <a:schemeClr val="bg1"/>
                </a:solidFill>
                <a:latin typeface="+mj-lt"/>
              </a:defRPr>
            </a:lvl2pPr>
            <a:lvl3pPr marL="914400" indent="0" algn="ctr">
              <a:buNone/>
              <a:defRPr sz="3200" b="0" i="0">
                <a:solidFill>
                  <a:schemeClr val="bg1"/>
                </a:solidFill>
                <a:latin typeface="+mj-lt"/>
              </a:defRPr>
            </a:lvl3pPr>
            <a:lvl4pPr marL="1371600" indent="0" algn="ctr">
              <a:buNone/>
              <a:defRPr sz="2800" b="0" i="0">
                <a:solidFill>
                  <a:schemeClr val="bg1"/>
                </a:solidFill>
                <a:latin typeface="+mj-lt"/>
              </a:defRPr>
            </a:lvl4pPr>
            <a:lvl5pPr marL="1828800" indent="0" algn="ctr">
              <a:buNone/>
              <a:defRPr sz="2800" b="0" i="0">
                <a:solidFill>
                  <a:schemeClr val="bg1"/>
                </a:solidFill>
                <a:latin typeface="+mj-lt"/>
              </a:defRPr>
            </a:lvl5pPr>
          </a:lstStyle>
          <a:p>
            <a:pPr lvl="0"/>
            <a:r>
              <a:rPr lang="en-US"/>
              <a:t>HEADLINE GOES HERE</a:t>
            </a:r>
          </a:p>
        </p:txBody>
      </p:sp>
      <p:sp>
        <p:nvSpPr>
          <p:cNvPr id="3" name="Picture Placeholder 2"/>
          <p:cNvSpPr>
            <a:spLocks noGrp="1"/>
          </p:cNvSpPr>
          <p:nvPr>
            <p:ph type="pic" sz="quarter" idx="11"/>
          </p:nvPr>
        </p:nvSpPr>
        <p:spPr>
          <a:xfrm>
            <a:off x="-306" y="0"/>
            <a:ext cx="6596062" cy="6858000"/>
          </a:xfrm>
        </p:spPr>
        <p:txBody>
          <a:bodyPr/>
          <a:lstStyle>
            <a:lvl1pPr>
              <a:defRPr b="0" i="0">
                <a:solidFill>
                  <a:schemeClr val="bg1"/>
                </a:solidFill>
                <a:latin typeface="+mj-lt"/>
              </a:defRPr>
            </a:lvl1pPr>
          </a:lstStyle>
          <a:p>
            <a:endParaRPr lang="en-US"/>
          </a:p>
        </p:txBody>
      </p:sp>
      <p:sp>
        <p:nvSpPr>
          <p:cNvPr id="10" name="Text Placeholder 8"/>
          <p:cNvSpPr>
            <a:spLocks noGrp="1"/>
          </p:cNvSpPr>
          <p:nvPr>
            <p:ph type="body" sz="quarter" idx="12" hasCustomPrompt="1"/>
          </p:nvPr>
        </p:nvSpPr>
        <p:spPr>
          <a:xfrm>
            <a:off x="6880691" y="2580237"/>
            <a:ext cx="5311309" cy="1196150"/>
          </a:xfrm>
        </p:spPr>
        <p:txBody>
          <a:bodyPr anchor="ctr">
            <a:normAutofit/>
          </a:bodyPr>
          <a:lstStyle>
            <a:lvl1pPr marL="0" indent="0" algn="ctr">
              <a:buNone/>
              <a:defRPr sz="2800" b="0" i="0">
                <a:solidFill>
                  <a:schemeClr val="bg1"/>
                </a:solidFill>
                <a:latin typeface="+mj-lt"/>
              </a:defRPr>
            </a:lvl1pPr>
            <a:lvl2pPr marL="457200" indent="0" algn="ctr">
              <a:buNone/>
              <a:defRPr sz="3600" b="0" i="0">
                <a:solidFill>
                  <a:schemeClr val="bg1"/>
                </a:solidFill>
                <a:latin typeface="+mj-lt"/>
              </a:defRPr>
            </a:lvl2pPr>
            <a:lvl3pPr marL="914400" indent="0" algn="ctr">
              <a:buNone/>
              <a:defRPr sz="3200" b="0" i="0">
                <a:solidFill>
                  <a:schemeClr val="bg1"/>
                </a:solidFill>
                <a:latin typeface="+mj-lt"/>
              </a:defRPr>
            </a:lvl3pPr>
            <a:lvl4pPr marL="1371600" indent="0" algn="ctr">
              <a:buNone/>
              <a:defRPr sz="2800" b="0" i="0">
                <a:solidFill>
                  <a:schemeClr val="bg1"/>
                </a:solidFill>
                <a:latin typeface="+mj-lt"/>
              </a:defRPr>
            </a:lvl4pPr>
            <a:lvl5pPr marL="1828800" indent="0" algn="ctr">
              <a:buNone/>
              <a:defRPr sz="2800" b="0" i="0">
                <a:solidFill>
                  <a:schemeClr val="bg1"/>
                </a:solidFill>
                <a:latin typeface="+mj-lt"/>
              </a:defRPr>
            </a:lvl5pPr>
          </a:lstStyle>
          <a:p>
            <a:pPr lvl="0"/>
            <a:r>
              <a:rPr lang="en-US"/>
              <a:t>SUBHEAD OR TEXT CAN GO HERE</a:t>
            </a:r>
          </a:p>
        </p:txBody>
      </p:sp>
    </p:spTree>
    <p:extLst>
      <p:ext uri="{BB962C8B-B14F-4D97-AF65-F5344CB8AC3E}">
        <p14:creationId xmlns:p14="http://schemas.microsoft.com/office/powerpoint/2010/main" val="333846736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CONTENT SLIDE RIGHT IMAGE">
    <p:bg>
      <p:bgPr>
        <a:solidFill>
          <a:srgbClr val="262626"/>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l="32392" t="23636" r="32134" b="35863"/>
          <a:stretch/>
        </p:blipFill>
        <p:spPr>
          <a:xfrm>
            <a:off x="9310255" y="1810386"/>
            <a:ext cx="2687017" cy="3932002"/>
          </a:xfrm>
          <a:prstGeom prst="rect">
            <a:avLst/>
          </a:prstGeom>
        </p:spPr>
      </p:pic>
      <p:grpSp>
        <p:nvGrpSpPr>
          <p:cNvPr id="8" name="Group 7"/>
          <p:cNvGrpSpPr/>
          <p:nvPr/>
        </p:nvGrpSpPr>
        <p:grpSpPr>
          <a:xfrm>
            <a:off x="0" y="0"/>
            <a:ext cx="5596244" cy="6858000"/>
            <a:chOff x="2706625" y="-745"/>
            <a:chExt cx="5596244" cy="6858000"/>
          </a:xfrm>
        </p:grpSpPr>
        <p:sp>
          <p:nvSpPr>
            <p:cNvPr id="12" name="Rectangle 11"/>
            <p:cNvSpPr/>
            <p:nvPr/>
          </p:nvSpPr>
          <p:spPr>
            <a:xfrm>
              <a:off x="8017933" y="-745"/>
              <a:ext cx="284936" cy="6858000"/>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p:nvSpPr>
          <p:spPr>
            <a:xfrm>
              <a:off x="2706625" y="-745"/>
              <a:ext cx="5311310" cy="68580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9" name="Text Placeholder 8"/>
          <p:cNvSpPr>
            <a:spLocks noGrp="1"/>
          </p:cNvSpPr>
          <p:nvPr>
            <p:ph type="body" sz="quarter" idx="10" hasCustomPrompt="1"/>
          </p:nvPr>
        </p:nvSpPr>
        <p:spPr>
          <a:xfrm>
            <a:off x="0" y="2119875"/>
            <a:ext cx="5311309" cy="721799"/>
          </a:xfrm>
        </p:spPr>
        <p:txBody>
          <a:bodyPr anchor="ctr">
            <a:normAutofit/>
          </a:bodyPr>
          <a:lstStyle>
            <a:lvl1pPr marL="0" indent="0" algn="ctr">
              <a:buNone/>
              <a:defRPr sz="4000" b="0" i="0">
                <a:solidFill>
                  <a:schemeClr val="bg1"/>
                </a:solidFill>
                <a:latin typeface="+mj-lt"/>
              </a:defRPr>
            </a:lvl1pPr>
            <a:lvl2pPr marL="457200" indent="0" algn="ctr">
              <a:buNone/>
              <a:defRPr sz="3600" b="0" i="0">
                <a:solidFill>
                  <a:schemeClr val="bg1"/>
                </a:solidFill>
                <a:latin typeface="+mj-lt"/>
              </a:defRPr>
            </a:lvl2pPr>
            <a:lvl3pPr marL="914400" indent="0" algn="ctr">
              <a:buNone/>
              <a:defRPr sz="3200" b="0" i="0">
                <a:solidFill>
                  <a:schemeClr val="bg1"/>
                </a:solidFill>
                <a:latin typeface="+mj-lt"/>
              </a:defRPr>
            </a:lvl3pPr>
            <a:lvl4pPr marL="1371600" indent="0" algn="ctr">
              <a:buNone/>
              <a:defRPr sz="2800" b="0" i="0">
                <a:solidFill>
                  <a:schemeClr val="bg1"/>
                </a:solidFill>
                <a:latin typeface="+mj-lt"/>
              </a:defRPr>
            </a:lvl4pPr>
            <a:lvl5pPr marL="1828800" indent="0" algn="ctr">
              <a:buNone/>
              <a:defRPr sz="2800" b="0" i="0">
                <a:solidFill>
                  <a:schemeClr val="bg1"/>
                </a:solidFill>
                <a:latin typeface="+mj-lt"/>
              </a:defRPr>
            </a:lvl5pPr>
          </a:lstStyle>
          <a:p>
            <a:pPr lvl="0"/>
            <a:r>
              <a:rPr lang="en-US"/>
              <a:t>HEADLINE GOES HERE</a:t>
            </a:r>
          </a:p>
        </p:txBody>
      </p:sp>
      <p:sp>
        <p:nvSpPr>
          <p:cNvPr id="3" name="Picture Placeholder 2"/>
          <p:cNvSpPr>
            <a:spLocks noGrp="1"/>
          </p:cNvSpPr>
          <p:nvPr>
            <p:ph type="pic" sz="quarter" idx="11"/>
          </p:nvPr>
        </p:nvSpPr>
        <p:spPr>
          <a:xfrm>
            <a:off x="5595937" y="14068"/>
            <a:ext cx="6596062" cy="6858000"/>
          </a:xfrm>
        </p:spPr>
        <p:txBody>
          <a:bodyPr/>
          <a:lstStyle>
            <a:lvl1pPr>
              <a:defRPr b="0" i="0">
                <a:solidFill>
                  <a:schemeClr val="bg1"/>
                </a:solidFill>
                <a:latin typeface="+mj-lt"/>
              </a:defRPr>
            </a:lvl1pPr>
          </a:lstStyle>
          <a:p>
            <a:endParaRPr lang="en-US"/>
          </a:p>
        </p:txBody>
      </p:sp>
      <p:sp>
        <p:nvSpPr>
          <p:cNvPr id="10" name="Text Placeholder 8"/>
          <p:cNvSpPr>
            <a:spLocks noGrp="1"/>
          </p:cNvSpPr>
          <p:nvPr>
            <p:ph type="body" sz="quarter" idx="12" hasCustomPrompt="1"/>
          </p:nvPr>
        </p:nvSpPr>
        <p:spPr>
          <a:xfrm>
            <a:off x="1" y="2889726"/>
            <a:ext cx="5311309" cy="1196150"/>
          </a:xfrm>
        </p:spPr>
        <p:txBody>
          <a:bodyPr anchor="ctr">
            <a:normAutofit/>
          </a:bodyPr>
          <a:lstStyle>
            <a:lvl1pPr marL="0" indent="0" algn="ctr">
              <a:buNone/>
              <a:defRPr sz="2800" b="0" i="0">
                <a:solidFill>
                  <a:schemeClr val="bg1"/>
                </a:solidFill>
                <a:latin typeface="+mj-lt"/>
              </a:defRPr>
            </a:lvl1pPr>
            <a:lvl2pPr marL="457200" indent="0" algn="ctr">
              <a:buNone/>
              <a:defRPr sz="3600" b="0" i="0">
                <a:solidFill>
                  <a:schemeClr val="bg1"/>
                </a:solidFill>
                <a:latin typeface="+mj-lt"/>
              </a:defRPr>
            </a:lvl2pPr>
            <a:lvl3pPr marL="914400" indent="0" algn="ctr">
              <a:buNone/>
              <a:defRPr sz="3200" b="0" i="0">
                <a:solidFill>
                  <a:schemeClr val="bg1"/>
                </a:solidFill>
                <a:latin typeface="+mj-lt"/>
              </a:defRPr>
            </a:lvl3pPr>
            <a:lvl4pPr marL="1371600" indent="0" algn="ctr">
              <a:buNone/>
              <a:defRPr sz="2800" b="0" i="0">
                <a:solidFill>
                  <a:schemeClr val="bg1"/>
                </a:solidFill>
                <a:latin typeface="+mj-lt"/>
              </a:defRPr>
            </a:lvl4pPr>
            <a:lvl5pPr marL="1828800" indent="0" algn="ctr">
              <a:buNone/>
              <a:defRPr sz="2800" b="0" i="0">
                <a:solidFill>
                  <a:schemeClr val="bg1"/>
                </a:solidFill>
                <a:latin typeface="+mj-lt"/>
              </a:defRPr>
            </a:lvl5pPr>
          </a:lstStyle>
          <a:p>
            <a:pPr lvl="0"/>
            <a:r>
              <a:rPr lang="en-US"/>
              <a:t>SUBHEAD OR TEXT CAN GO HERE</a:t>
            </a:r>
          </a:p>
        </p:txBody>
      </p:sp>
    </p:spTree>
    <p:extLst>
      <p:ext uri="{BB962C8B-B14F-4D97-AF65-F5344CB8AC3E}">
        <p14:creationId xmlns:p14="http://schemas.microsoft.com/office/powerpoint/2010/main" val="145267398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9A4D1D-AA27-434F-857A-6CD85676BF87}" type="datetimeFigureOut">
              <a:rPr lang="en-US" smtClean="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290449792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99A4D1D-AA27-434F-857A-6CD85676BF87}" type="datetimeFigureOut">
              <a:rPr lang="en-US" smtClean="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107175250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99A4D1D-AA27-434F-857A-6CD85676BF87}" type="datetimeFigureOut">
              <a:rPr lang="en-US" smtClean="0"/>
              <a:t>10/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289741735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99A4D1D-AA27-434F-857A-6CD85676BF87}" type="datetimeFigureOut">
              <a:rPr lang="en-US" smtClean="0"/>
              <a:t>10/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34331303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D3C203B-3C30-BE44-8585-84A27F52C8F8}"/>
              </a:ext>
            </a:extLst>
          </p:cNvPr>
          <p:cNvPicPr>
            <a:picLocks noChangeAspect="1"/>
          </p:cNvPicPr>
          <p:nvPr userDrawn="1"/>
        </p:nvPicPr>
        <p:blipFill>
          <a:blip r:embed="rId2"/>
          <a:srcRect/>
          <a:stretch/>
        </p:blipFill>
        <p:spPr>
          <a:xfrm>
            <a:off x="0" y="-87682"/>
            <a:ext cx="12192000" cy="6945682"/>
          </a:xfrm>
          <a:prstGeom prst="rect">
            <a:avLst/>
          </a:prstGeom>
        </p:spPr>
      </p:pic>
      <p:sp>
        <p:nvSpPr>
          <p:cNvPr id="2" name="Title 1"/>
          <p:cNvSpPr>
            <a:spLocks noGrp="1"/>
          </p:cNvSpPr>
          <p:nvPr>
            <p:ph type="title" hasCustomPrompt="1"/>
          </p:nvPr>
        </p:nvSpPr>
        <p:spPr>
          <a:xfrm>
            <a:off x="2551798" y="3033223"/>
            <a:ext cx="9144000" cy="498598"/>
          </a:xfrm>
          <a:noFill/>
        </p:spPr>
        <p:txBody>
          <a:bodyPr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99A4D1D-AA27-434F-857A-6CD85676BF87}" type="datetimeFigureOut">
              <a:rPr lang="en-US" smtClean="0"/>
              <a:t>10/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32395538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9A4D1D-AA27-434F-857A-6CD85676BF87}" type="datetimeFigureOut">
              <a:rPr lang="en-US" smtClean="0"/>
              <a:t>10/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23948792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9A4D1D-AA27-434F-857A-6CD85676BF87}" type="datetimeFigureOut">
              <a:rPr lang="en-US" smtClean="0"/>
              <a:t>10/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32331816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99A4D1D-AA27-434F-857A-6CD85676BF87}" type="datetimeFigureOut">
              <a:rPr lang="en-US" smtClean="0"/>
              <a:t>10/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87254375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99A4D1D-AA27-434F-857A-6CD85676BF87}" type="datetimeFigureOut">
              <a:rPr lang="en-US" smtClean="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99370-00E9-479B-84B4-4B94A6BFFD54}" type="slidenum">
              <a:rPr lang="en-US" smtClean="0"/>
              <a:t>‹#›</a:t>
            </a:fld>
            <a:endParaRPr lang="en-US"/>
          </a:p>
        </p:txBody>
      </p:sp>
    </p:spTree>
    <p:extLst>
      <p:ext uri="{BB962C8B-B14F-4D97-AF65-F5344CB8AC3E}">
        <p14:creationId xmlns:p14="http://schemas.microsoft.com/office/powerpoint/2010/main" val="379559308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852156"/>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4365527"/>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Full Width Head, Copy + Visual">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486834" y="584166"/>
            <a:ext cx="11120967" cy="465701"/>
          </a:xfrm>
          <a:prstGeom prst="rect">
            <a:avLst/>
          </a:prstGeom>
        </p:spPr>
        <p:txBody>
          <a:bodyPr vert="horz" lIns="0" tIns="0" rIns="0" bIns="0" rtlCol="0" anchor="t" anchorCtr="0">
            <a:noAutofit/>
          </a:bodyPr>
          <a:lstStyle>
            <a:lvl1pPr>
              <a:defRPr baseline="0"/>
            </a:lvl1pPr>
          </a:lstStyle>
          <a:p>
            <a:r>
              <a:rPr lang="en-US"/>
              <a:t>insert headline here – up to 1 full-width line</a:t>
            </a:r>
          </a:p>
        </p:txBody>
      </p:sp>
      <p:sp>
        <p:nvSpPr>
          <p:cNvPr id="4" name="Footer Placeholder 3"/>
          <p:cNvSpPr>
            <a:spLocks noGrp="1"/>
          </p:cNvSpPr>
          <p:nvPr>
            <p:ph type="ftr" sz="quarter" idx="14"/>
          </p:nvPr>
        </p:nvSpPr>
        <p:spPr/>
        <p:txBody>
          <a:bodyPr/>
          <a:lstStyle/>
          <a:p>
            <a:pPr algn="r"/>
            <a:r>
              <a:rPr lang="en-US">
                <a:solidFill>
                  <a:srgbClr val="000000"/>
                </a:solidFill>
              </a:rPr>
              <a:t>© 2013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3" name="Text Placeholder 2"/>
          <p:cNvSpPr>
            <a:spLocks noGrp="1"/>
          </p:cNvSpPr>
          <p:nvPr>
            <p:ph type="body" sz="quarter" idx="16" hasCustomPrompt="1"/>
          </p:nvPr>
        </p:nvSpPr>
        <p:spPr>
          <a:xfrm>
            <a:off x="486834" y="1175753"/>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a:t>Insert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a:t>Click icon to insert visual element here</a:t>
            </a:r>
          </a:p>
        </p:txBody>
      </p:sp>
    </p:spTree>
    <p:extLst>
      <p:ext uri="{BB962C8B-B14F-4D97-AF65-F5344CB8AC3E}">
        <p14:creationId xmlns:p14="http://schemas.microsoft.com/office/powerpoint/2010/main" val="290643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_Color Block Title on Left">
    <p:spTree>
      <p:nvGrpSpPr>
        <p:cNvPr id="1" name=""/>
        <p:cNvGrpSpPr/>
        <p:nvPr/>
      </p:nvGrpSpPr>
      <p:grpSpPr>
        <a:xfrm>
          <a:off x="0" y="0"/>
          <a:ext cx="0" cy="0"/>
          <a:chOff x="0" y="0"/>
          <a:chExt cx="0" cy="0"/>
        </a:xfrm>
      </p:grpSpPr>
      <p:sp>
        <p:nvSpPr>
          <p:cNvPr id="13" name="Rectangle 12"/>
          <p:cNvSpPr/>
          <p:nvPr userDrawn="1"/>
        </p:nvSpPr>
        <p:spPr bwMode="auto">
          <a:xfrm>
            <a:off x="0" y="-1"/>
            <a:ext cx="5607915" cy="68580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bg1"/>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
        <p:nvSpPr>
          <p:cNvPr id="11" name="Title 2"/>
          <p:cNvSpPr>
            <a:spLocks noGrp="1"/>
          </p:cNvSpPr>
          <p:nvPr>
            <p:ph type="title"/>
          </p:nvPr>
        </p:nvSpPr>
        <p:spPr>
          <a:xfrm>
            <a:off x="591641" y="1108675"/>
            <a:ext cx="4521451" cy="927940"/>
          </a:xfrm>
          <a:prstGeom prst="rect">
            <a:avLst/>
          </a:prstGeom>
        </p:spPr>
        <p:txBody>
          <a:bodyPr/>
          <a:lstStyle>
            <a:lvl1pPr algn="l">
              <a:defRPr sz="4313" spc="0">
                <a:solidFill>
                  <a:schemeClr val="bg1"/>
                </a:solidFill>
              </a:defRPr>
            </a:lvl1pPr>
          </a:lstStyle>
          <a:p>
            <a:r>
              <a:rPr lang="en-US"/>
              <a:t>Click to edit Master title style</a:t>
            </a:r>
          </a:p>
        </p:txBody>
      </p:sp>
      <p:sp>
        <p:nvSpPr>
          <p:cNvPr id="12" name="Text Placeholder 7"/>
          <p:cNvSpPr>
            <a:spLocks noGrp="1"/>
          </p:cNvSpPr>
          <p:nvPr>
            <p:ph type="body" sz="quarter" idx="13" hasCustomPrompt="1"/>
          </p:nvPr>
        </p:nvSpPr>
        <p:spPr>
          <a:xfrm>
            <a:off x="591641" y="2655501"/>
            <a:ext cx="4521451" cy="1151469"/>
          </a:xfrm>
        </p:spPr>
        <p:txBody>
          <a:bodyPr lIns="0" tIns="0"/>
          <a:lstStyle>
            <a:lvl1pPr marL="0" indent="0">
              <a:spcBef>
                <a:spcPts val="1176"/>
              </a:spcBef>
              <a:buNone/>
              <a:defRPr sz="2549">
                <a:solidFill>
                  <a:schemeClr val="bg1"/>
                </a:solidFill>
                <a:latin typeface="+mn-lt"/>
              </a:defRPr>
            </a:lvl1pPr>
            <a:lvl2pPr marL="448193" indent="0">
              <a:spcBef>
                <a:spcPts val="1176"/>
              </a:spcBef>
              <a:buSzPct val="100000"/>
              <a:buFont typeface="Segoe UI" pitchFamily="34" charset="0"/>
              <a:buNone/>
              <a:defRPr>
                <a:solidFill>
                  <a:schemeClr val="bg1"/>
                </a:solidFill>
              </a:defRPr>
            </a:lvl2pPr>
            <a:lvl3pPr marL="896386" indent="0">
              <a:spcBef>
                <a:spcPts val="1176"/>
              </a:spcBef>
              <a:buFont typeface="Wingdings" pitchFamily="2" charset="2"/>
              <a:buNone/>
              <a:defRPr>
                <a:solidFill>
                  <a:schemeClr val="bg1"/>
                </a:solidFill>
              </a:defRPr>
            </a:lvl3pPr>
            <a:lvl4pPr marL="1232531" indent="0">
              <a:spcBef>
                <a:spcPts val="1176"/>
              </a:spcBef>
              <a:buFont typeface="Arial" panose="020B0604020202020204" pitchFamily="34" charset="0"/>
              <a:buNone/>
              <a:defRPr>
                <a:solidFill>
                  <a:schemeClr val="bg1"/>
                </a:solidFill>
              </a:defRPr>
            </a:lvl4pPr>
            <a:lvl5pPr marL="1571789" indent="0">
              <a:spcBef>
                <a:spcPts val="1176"/>
              </a:spcBef>
              <a:buFont typeface="Arial" panose="020B0604020202020204" pitchFamily="34" charset="0"/>
              <a:buNone/>
              <a:defRPr>
                <a:solidFill>
                  <a:schemeClr val="bg1"/>
                </a:solidFill>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Nunc et </a:t>
            </a:r>
            <a:r>
              <a:rPr lang="en-US" err="1"/>
              <a:t>sagittis</a:t>
            </a:r>
            <a:r>
              <a:rPr lang="en-US"/>
              <a:t> ligula</a:t>
            </a:r>
          </a:p>
        </p:txBody>
      </p:sp>
    </p:spTree>
    <p:extLst>
      <p:ext uri="{BB962C8B-B14F-4D97-AF65-F5344CB8AC3E}">
        <p14:creationId xmlns:p14="http://schemas.microsoft.com/office/powerpoint/2010/main" val="12179134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lvl1pPr>
          </a:lstStyle>
          <a:p>
            <a:r>
              <a:rPr lang="en-US"/>
              <a:t>Click to edit Master title style</a:t>
            </a:r>
          </a:p>
        </p:txBody>
      </p:sp>
    </p:spTree>
    <p:extLst>
      <p:ext uri="{BB962C8B-B14F-4D97-AF65-F5344CB8AC3E}">
        <p14:creationId xmlns:p14="http://schemas.microsoft.com/office/powerpoint/2010/main" val="223436964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emo slide">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D3C203B-3C30-BE44-8585-84A27F52C8F8}"/>
              </a:ext>
            </a:extLst>
          </p:cNvPr>
          <p:cNvPicPr>
            <a:picLocks noChangeAspect="1"/>
          </p:cNvPicPr>
          <p:nvPr userDrawn="1"/>
        </p:nvPicPr>
        <p:blipFill>
          <a:blip r:embed="rId2"/>
          <a:srcRect/>
          <a:stretch/>
        </p:blipFill>
        <p:spPr>
          <a:xfrm>
            <a:off x="0" y="-43841"/>
            <a:ext cx="12192000" cy="6858000"/>
          </a:xfrm>
          <a:prstGeom prst="rect">
            <a:avLst/>
          </a:prstGeom>
        </p:spPr>
      </p:pic>
      <p:sp>
        <p:nvSpPr>
          <p:cNvPr id="2" name="Title 1"/>
          <p:cNvSpPr>
            <a:spLocks noGrp="1"/>
          </p:cNvSpPr>
          <p:nvPr>
            <p:ph type="title" hasCustomPrompt="1"/>
          </p:nvPr>
        </p:nvSpPr>
        <p:spPr>
          <a:xfrm>
            <a:off x="2551798" y="3033223"/>
            <a:ext cx="9144000" cy="498598"/>
          </a:xfrm>
          <a:noFill/>
        </p:spPr>
        <p:txBody>
          <a:bodyPr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Tech Section title</a:t>
            </a:r>
          </a:p>
        </p:txBody>
      </p:sp>
    </p:spTree>
    <p:extLst>
      <p:ext uri="{BB962C8B-B14F-4D97-AF65-F5344CB8AC3E}">
        <p14:creationId xmlns:p14="http://schemas.microsoft.com/office/powerpoint/2010/main" val="3898909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olor Block Header&amp; Sub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12207" y="27027"/>
            <a:ext cx="3036599" cy="2751138"/>
          </a:xfrm>
          <a:prstGeom prst="rect">
            <a:avLst/>
          </a:prstGeom>
        </p:spPr>
        <p:txBody>
          <a:bodyPr anchor="b" anchorCtr="0">
            <a:noAutofit/>
          </a:bodyPr>
          <a:lstStyle>
            <a:lvl1pPr marL="0" indent="0">
              <a:lnSpc>
                <a:spcPts val="3798"/>
              </a:lnSpc>
              <a:spcBef>
                <a:spcPts val="0"/>
              </a:spcBef>
              <a:buNone/>
              <a:defRPr sz="3598" b="0" cap="none" baseline="0">
                <a:gradFill>
                  <a:gsLst>
                    <a:gs pos="100000">
                      <a:schemeClr val="bg1"/>
                    </a:gs>
                    <a:gs pos="0">
                      <a:schemeClr val="bg1"/>
                    </a:gs>
                  </a:gsLst>
                  <a:lin ang="5400000" scaled="0"/>
                </a:gradFill>
                <a:latin typeface="Segoe UI Light" pitchFamily="34" charset="0"/>
              </a:defRPr>
            </a:lvl1pPr>
            <a:lvl2pPr marL="607606" indent="0">
              <a:buNone/>
              <a:defRPr sz="2691" b="1"/>
            </a:lvl2pPr>
            <a:lvl3pPr marL="1215210" indent="0">
              <a:buNone/>
              <a:defRPr sz="2392" b="1"/>
            </a:lvl3pPr>
            <a:lvl4pPr marL="1822816" indent="0">
              <a:buNone/>
              <a:defRPr sz="2092" b="1"/>
            </a:lvl4pPr>
            <a:lvl5pPr marL="2430421" indent="0">
              <a:buNone/>
              <a:defRPr sz="2092" b="1"/>
            </a:lvl5pPr>
            <a:lvl6pPr marL="3038027" indent="0">
              <a:buNone/>
              <a:defRPr sz="2092" b="1"/>
            </a:lvl6pPr>
            <a:lvl7pPr marL="3645632" indent="0">
              <a:buNone/>
              <a:defRPr sz="2092" b="1"/>
            </a:lvl7pPr>
            <a:lvl8pPr marL="4253237" indent="0">
              <a:buNone/>
              <a:defRPr sz="2092" b="1"/>
            </a:lvl8pPr>
            <a:lvl9pPr marL="4860842" indent="0">
              <a:buNone/>
              <a:defRPr sz="2092" b="1"/>
            </a:lvl9pPr>
          </a:lstStyle>
          <a:p>
            <a:pPr lvl="0"/>
            <a:r>
              <a:rPr lang="en-US"/>
              <a:t>Click to edit Master text styles.</a:t>
            </a:r>
          </a:p>
        </p:txBody>
      </p:sp>
      <p:sp>
        <p:nvSpPr>
          <p:cNvPr id="7" name="Text Placeholder 6"/>
          <p:cNvSpPr>
            <a:spLocks noGrp="1"/>
          </p:cNvSpPr>
          <p:nvPr>
            <p:ph type="body" sz="quarter" idx="10"/>
          </p:nvPr>
        </p:nvSpPr>
        <p:spPr>
          <a:xfrm>
            <a:off x="533064" y="3054088"/>
            <a:ext cx="3036599" cy="3575317"/>
          </a:xfrm>
        </p:spPr>
        <p:txBody>
          <a:bodyPr/>
          <a:lstStyle>
            <a:lvl1pPr marL="0" indent="0">
              <a:lnSpc>
                <a:spcPct val="100000"/>
              </a:lnSpc>
              <a:spcBef>
                <a:spcPts val="0"/>
              </a:spcBef>
              <a:spcAft>
                <a:spcPts val="1200"/>
              </a:spcAft>
              <a:buNone/>
              <a:defRPr sz="1798" spc="0" baseline="0">
                <a:solidFill>
                  <a:schemeClr val="bg1"/>
                </a:solidFill>
                <a:latin typeface="Segoe UI" pitchFamily="34" charset="0"/>
                <a:ea typeface="Segoe UI" pitchFamily="34" charset="0"/>
                <a:cs typeface="Segoe UI" pitchFamily="34" charset="0"/>
              </a:defRPr>
            </a:lvl1pPr>
            <a:lvl2pPr marL="0" indent="0">
              <a:lnSpc>
                <a:spcPct val="100000"/>
              </a:lnSpc>
              <a:spcBef>
                <a:spcPts val="0"/>
              </a:spcBef>
              <a:spcAft>
                <a:spcPts val="1200"/>
              </a:spcAft>
              <a:buNone/>
              <a:defRPr sz="1400" spc="0" baseline="0">
                <a:solidFill>
                  <a:schemeClr val="bg1"/>
                </a:solidFill>
                <a:latin typeface="Segoe UI" pitchFamily="34" charset="0"/>
                <a:ea typeface="Segoe UI" pitchFamily="34" charset="0"/>
                <a:cs typeface="Segoe UI" pitchFamily="34" charset="0"/>
              </a:defRPr>
            </a:lvl2pPr>
            <a:lvl3pPr marL="0" indent="0">
              <a:lnSpc>
                <a:spcPct val="100000"/>
              </a:lnSpc>
              <a:spcBef>
                <a:spcPts val="0"/>
              </a:spcBef>
              <a:spcAft>
                <a:spcPts val="1200"/>
              </a:spcAft>
              <a:buNone/>
              <a:defRPr sz="1200" spc="0" baseline="0">
                <a:solidFill>
                  <a:schemeClr val="bg1"/>
                </a:solidFill>
                <a:latin typeface="Segoe UI" pitchFamily="34" charset="0"/>
                <a:ea typeface="Segoe UI" pitchFamily="34" charset="0"/>
                <a:cs typeface="Segoe UI" pitchFamily="34" charset="0"/>
              </a:defRPr>
            </a:lvl3pPr>
            <a:lvl4pPr marL="0" indent="0">
              <a:lnSpc>
                <a:spcPct val="100000"/>
              </a:lnSpc>
              <a:spcBef>
                <a:spcPts val="0"/>
              </a:spcBef>
              <a:spcAft>
                <a:spcPts val="1200"/>
              </a:spcAft>
              <a:buNone/>
              <a:defRPr sz="1400" spc="0" baseline="0">
                <a:solidFill>
                  <a:schemeClr val="bg1"/>
                </a:solidFill>
                <a:latin typeface="Segoe UI" pitchFamily="34" charset="0"/>
                <a:ea typeface="Segoe UI" pitchFamily="34" charset="0"/>
                <a:cs typeface="Segoe UI" pitchFamily="34" charset="0"/>
              </a:defRPr>
            </a:lvl4pPr>
            <a:lvl5pPr marL="0" indent="0">
              <a:lnSpc>
                <a:spcPct val="100000"/>
              </a:lnSpc>
              <a:spcBef>
                <a:spcPts val="0"/>
              </a:spcBef>
              <a:spcAft>
                <a:spcPts val="1200"/>
              </a:spcAft>
              <a:buNone/>
              <a:defRPr sz="1400" spc="0" baseline="0">
                <a:solidFill>
                  <a:schemeClr val="bg1"/>
                </a:solidFill>
                <a:latin typeface="Segoe UI" pitchFamily="34" charset="0"/>
                <a:ea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
        <p:nvSpPr>
          <p:cNvPr id="5" name="Picture Placeholder 4"/>
          <p:cNvSpPr>
            <a:spLocks noGrp="1"/>
          </p:cNvSpPr>
          <p:nvPr>
            <p:ph type="pic" sz="quarter" idx="11"/>
          </p:nvPr>
        </p:nvSpPr>
        <p:spPr>
          <a:xfrm>
            <a:off x="3890390" y="1033461"/>
            <a:ext cx="7993557" cy="4860925"/>
          </a:xfrm>
          <a:solidFill>
            <a:schemeClr val="bg1">
              <a:lumMod val="95000"/>
            </a:schemeClr>
          </a:solidFill>
          <a:ln>
            <a:noFill/>
          </a:ln>
          <a:effectLst>
            <a:outerShdw blurRad="63500" sx="101000" sy="1010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lvl1pPr>
              <a:defRPr lang="en-US" sz="2198">
                <a:solidFill>
                  <a:schemeClr val="bg2"/>
                </a:solidFill>
                <a:latin typeface="+mn-lt"/>
                <a:ea typeface="Segoe UI" pitchFamily="34" charset="0"/>
                <a:cs typeface="Segoe UI" pitchFamily="34" charset="0"/>
              </a:defRPr>
            </a:lvl1pPr>
          </a:lstStyle>
          <a:p>
            <a:pPr marL="0" lvl="0" algn="ctr" defTabSz="913551" fontAlgn="base">
              <a:spcBef>
                <a:spcPct val="0"/>
              </a:spcBef>
              <a:spcAft>
                <a:spcPct val="0"/>
              </a:spcAft>
            </a:pPr>
            <a:endParaRPr lang="en-US"/>
          </a:p>
        </p:txBody>
      </p:sp>
    </p:spTree>
    <p:extLst>
      <p:ext uri="{BB962C8B-B14F-4D97-AF65-F5344CB8AC3E}">
        <p14:creationId xmlns:p14="http://schemas.microsoft.com/office/powerpoint/2010/main" val="10628542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D59D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Business meeting in a conference room.">
            <a:extLst>
              <a:ext uri="{FF2B5EF4-FFF2-40B4-BE49-F238E27FC236}">
                <a16:creationId xmlns:a16="http://schemas.microsoft.com/office/drawing/2014/main" id="{F5C01742-16F2-479B-B961-C10AF969420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54160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Business meeting in a conference room.">
            <a:extLst>
              <a:ext uri="{FF2B5EF4-FFF2-40B4-BE49-F238E27FC236}">
                <a16:creationId xmlns:a16="http://schemas.microsoft.com/office/drawing/2014/main" id="{21B38327-7FF8-46B9-9F4D-5CD06F8ECD0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52026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59D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477897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309097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11264873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51276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7802581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85344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187483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emo slide">
    <p:bg>
      <p:bgRef idx="1001">
        <a:schemeClr val="bg2"/>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D3C203B-3C30-BE44-8585-84A27F52C8F8}"/>
              </a:ext>
            </a:extLst>
          </p:cNvPr>
          <p:cNvPicPr>
            <a:picLocks noChangeAspect="1"/>
          </p:cNvPicPr>
          <p:nvPr userDrawn="1"/>
        </p:nvPicPr>
        <p:blipFill>
          <a:blip r:embed="rId2"/>
          <a:srcRect/>
          <a:stretch/>
        </p:blipFill>
        <p:spPr>
          <a:xfrm>
            <a:off x="0" y="-43841"/>
            <a:ext cx="12192000" cy="6858000"/>
          </a:xfrm>
          <a:prstGeom prst="rect">
            <a:avLst/>
          </a:prstGeom>
        </p:spPr>
      </p:pic>
      <p:sp>
        <p:nvSpPr>
          <p:cNvPr id="2" name="Title 1"/>
          <p:cNvSpPr>
            <a:spLocks noGrp="1"/>
          </p:cNvSpPr>
          <p:nvPr>
            <p:ph type="title" hasCustomPrompt="1"/>
          </p:nvPr>
        </p:nvSpPr>
        <p:spPr>
          <a:xfrm>
            <a:off x="2551798" y="3033223"/>
            <a:ext cx="9144000" cy="498598"/>
          </a:xfrm>
          <a:noFill/>
        </p:spPr>
        <p:txBody>
          <a:bodyPr lIns="0" tIns="0" rIns="0" bIns="0" anchor="b" anchorCtr="0">
            <a:spAutoFit/>
          </a:bodyPr>
          <a:lstStyle>
            <a:lvl1pPr algn="r"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Business Section title</a:t>
            </a:r>
          </a:p>
        </p:txBody>
      </p:sp>
    </p:spTree>
    <p:extLst>
      <p:ext uri="{BB962C8B-B14F-4D97-AF65-F5344CB8AC3E}">
        <p14:creationId xmlns:p14="http://schemas.microsoft.com/office/powerpoint/2010/main" val="2081772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840666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82306880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9051075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4638018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61899687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28153345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8307890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09314980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5527354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39056576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556723"/>
      </p:ext>
    </p:extLst>
  </p:cSld>
  <p:clrMapOvr>
    <a:masterClrMapping/>
  </p:clrMapOvr>
  <p:transition>
    <p:fade/>
  </p:transition>
  <p:extLst>
    <p:ext uri="{DCECCB84-F9BA-43D5-87BE-67443E8EF086}">
      <p15:sldGuideLst xmlns:p15="http://schemas.microsoft.com/office/powerpoint/2012/main">
        <p15:guide id="1" orient="horz" pos="1272" userDrawn="1">
          <p15:clr>
            <a:srgbClr val="5ACBF0"/>
          </p15:clr>
        </p15:guide>
        <p15:guide id="2" orient="horz" pos="904" userDrawn="1">
          <p15:clr>
            <a:srgbClr val="5ACBF0"/>
          </p15:clr>
        </p15:guide>
        <p15:guide id="3" orient="horz" pos="288"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11574840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25477659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26286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dirty="0">
                <a:solidFill>
                  <a:srgbClr val="A3A3A3"/>
                </a:solidFill>
              </a:rPr>
              <a:t>ELT layout</a:t>
            </a:r>
          </a:p>
        </p:txBody>
      </p:sp>
    </p:spTree>
    <p:extLst>
      <p:ext uri="{BB962C8B-B14F-4D97-AF65-F5344CB8AC3E}">
        <p14:creationId xmlns:p14="http://schemas.microsoft.com/office/powerpoint/2010/main" val="415323794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59D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27250806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15440356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D59D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361781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2581449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8800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81498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losing logo 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40AEC0B-11BC-1547-B56F-B23F987760FB}"/>
              </a:ext>
            </a:extLst>
          </p:cNvPr>
          <p:cNvPicPr>
            <a:picLocks noChangeAspect="1"/>
          </p:cNvPicPr>
          <p:nvPr userDrawn="1"/>
        </p:nvPicPr>
        <p:blipFill>
          <a:blip r:embed="rId2"/>
          <a:srcRect/>
          <a:stretch/>
        </p:blipFill>
        <p:spPr>
          <a:xfrm>
            <a:off x="2667000" y="0"/>
            <a:ext cx="6858000" cy="6858000"/>
          </a:xfrm>
          <a:prstGeom prst="rect">
            <a:avLst/>
          </a:prstGeom>
        </p:spPr>
      </p:pic>
      <p:sp>
        <p:nvSpPr>
          <p:cNvPr id="6" name="Text Placeholder 3">
            <a:extLst>
              <a:ext uri="{FF2B5EF4-FFF2-40B4-BE49-F238E27FC236}">
                <a16:creationId xmlns:a16="http://schemas.microsoft.com/office/drawing/2014/main" id="{CF3AE5F8-88EF-D741-BC59-8A5FE45AA6E3}"/>
              </a:ext>
            </a:extLst>
          </p:cNvPr>
          <p:cNvSpPr>
            <a:spLocks noGrp="1"/>
          </p:cNvSpPr>
          <p:nvPr>
            <p:ph type="body" sz="quarter" idx="10" hasCustomPrompt="1"/>
          </p:nvPr>
        </p:nvSpPr>
        <p:spPr>
          <a:xfrm>
            <a:off x="7200900" y="4141408"/>
            <a:ext cx="4648200" cy="629453"/>
          </a:xfrm>
        </p:spPr>
        <p:txBody>
          <a:bodyPr anchor="ctr"/>
          <a:lstStyle>
            <a:lvl1pPr marL="0" indent="0" algn="r">
              <a:buNone/>
              <a:defRPr sz="3200" b="1" i="0" spc="0">
                <a:latin typeface="Segoe UI Semibold" panose="020B0502040204020203" pitchFamily="34" charset="0"/>
                <a:cs typeface="Segoe UI Semibold" panose="020B0502040204020203" pitchFamily="34" charset="0"/>
              </a:defRPr>
            </a:lvl1pPr>
          </a:lstStyle>
          <a:p>
            <a:pPr lvl="0"/>
            <a:r>
              <a:rPr lang="en-GB" dirty="0"/>
              <a:t>THANK YOU MESSAGE.</a:t>
            </a:r>
          </a:p>
        </p:txBody>
      </p:sp>
    </p:spTree>
    <p:extLst>
      <p:ext uri="{BB962C8B-B14F-4D97-AF65-F5344CB8AC3E}">
        <p14:creationId xmlns:p14="http://schemas.microsoft.com/office/powerpoint/2010/main" val="16608996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615653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141809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681919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_Closing logo slide">
    <p:bg>
      <p:bgPr>
        <a:solidFill>
          <a:schemeClr val="tx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bg1"/>
                </a:solidFill>
                <a:cs typeface="Segoe UI" pitchFamily="34" charset="0"/>
              </a:rPr>
              <a:t>© Copyright Microsoft Corporation. All rights reserved. </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4200" y="585788"/>
            <a:ext cx="1374280" cy="293179"/>
          </a:xfrm>
          <a:prstGeom prst="rect">
            <a:avLst/>
          </a:prstGeom>
        </p:spPr>
      </p:pic>
    </p:spTree>
    <p:extLst>
      <p:ext uri="{BB962C8B-B14F-4D97-AF65-F5344CB8AC3E}">
        <p14:creationId xmlns:p14="http://schemas.microsoft.com/office/powerpoint/2010/main" val="3512578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9368790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BBE86-25BE-8B2D-B292-68EE80A2E6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E"/>
          </a:p>
        </p:txBody>
      </p:sp>
      <p:sp>
        <p:nvSpPr>
          <p:cNvPr id="3" name="Subtitle 2">
            <a:extLst>
              <a:ext uri="{FF2B5EF4-FFF2-40B4-BE49-F238E27FC236}">
                <a16:creationId xmlns:a16="http://schemas.microsoft.com/office/drawing/2014/main" id="{079C37D9-787D-CB63-5F9F-71B1E40881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E"/>
          </a:p>
        </p:txBody>
      </p:sp>
      <p:sp>
        <p:nvSpPr>
          <p:cNvPr id="4" name="Date Placeholder 3">
            <a:extLst>
              <a:ext uri="{FF2B5EF4-FFF2-40B4-BE49-F238E27FC236}">
                <a16:creationId xmlns:a16="http://schemas.microsoft.com/office/drawing/2014/main" id="{8362BE4F-FBE0-DF00-B147-AEB60231D139}"/>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5" name="Footer Placeholder 4">
            <a:extLst>
              <a:ext uri="{FF2B5EF4-FFF2-40B4-BE49-F238E27FC236}">
                <a16:creationId xmlns:a16="http://schemas.microsoft.com/office/drawing/2014/main" id="{EC89D6BC-FF83-2144-BE25-F31EDCCDA9A7}"/>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C509DB95-8861-DC0D-D04B-BDC6AFF497C9}"/>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89978932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518B4-41E2-D26A-833E-DFCE237A3AC2}"/>
              </a:ext>
            </a:extLst>
          </p:cNvPr>
          <p:cNvSpPr>
            <a:spLocks noGrp="1"/>
          </p:cNvSpPr>
          <p:nvPr>
            <p:ph type="title"/>
          </p:nvPr>
        </p:nvSpPr>
        <p:spPr/>
        <p:txBody>
          <a:bodyPr/>
          <a:lstStyle/>
          <a:p>
            <a:r>
              <a:rPr lang="en-US"/>
              <a:t>Click to edit Master title style</a:t>
            </a:r>
            <a:endParaRPr lang="en-AE"/>
          </a:p>
        </p:txBody>
      </p:sp>
      <p:sp>
        <p:nvSpPr>
          <p:cNvPr id="3" name="Content Placeholder 2">
            <a:extLst>
              <a:ext uri="{FF2B5EF4-FFF2-40B4-BE49-F238E27FC236}">
                <a16:creationId xmlns:a16="http://schemas.microsoft.com/office/drawing/2014/main" id="{4CCAA48F-8C52-66E0-F2EE-B749788D5D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BFCAE0FF-BFE4-C9A4-A12E-C60C046EF01A}"/>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5" name="Footer Placeholder 4">
            <a:extLst>
              <a:ext uri="{FF2B5EF4-FFF2-40B4-BE49-F238E27FC236}">
                <a16:creationId xmlns:a16="http://schemas.microsoft.com/office/drawing/2014/main" id="{8B19CD45-3627-AA9D-A123-5D9F3ADCCCE5}"/>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2F2B2482-1439-3F4A-FDE0-6A40A417531B}"/>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33008094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35641-A0F8-7BC5-CF95-A18D500A51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E"/>
          </a:p>
        </p:txBody>
      </p:sp>
      <p:sp>
        <p:nvSpPr>
          <p:cNvPr id="3" name="Text Placeholder 2">
            <a:extLst>
              <a:ext uri="{FF2B5EF4-FFF2-40B4-BE49-F238E27FC236}">
                <a16:creationId xmlns:a16="http://schemas.microsoft.com/office/drawing/2014/main" id="{32C6EA93-93F3-4872-5FFF-729CDA56AAC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2D26184-86A6-D9BA-F264-0C62DF6863A9}"/>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5" name="Footer Placeholder 4">
            <a:extLst>
              <a:ext uri="{FF2B5EF4-FFF2-40B4-BE49-F238E27FC236}">
                <a16:creationId xmlns:a16="http://schemas.microsoft.com/office/drawing/2014/main" id="{6C7660C2-B4AC-503D-8A00-8EB3FD712A7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11ADC348-425E-1FF6-4620-347E0CCCE62E}"/>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22708163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8C5E0-1928-4627-F206-36B5D6F4DCE6}"/>
              </a:ext>
            </a:extLst>
          </p:cNvPr>
          <p:cNvSpPr>
            <a:spLocks noGrp="1"/>
          </p:cNvSpPr>
          <p:nvPr>
            <p:ph type="title"/>
          </p:nvPr>
        </p:nvSpPr>
        <p:spPr/>
        <p:txBody>
          <a:bodyPr/>
          <a:lstStyle/>
          <a:p>
            <a:r>
              <a:rPr lang="en-US"/>
              <a:t>Click to edit Master title style</a:t>
            </a:r>
            <a:endParaRPr lang="en-AE"/>
          </a:p>
        </p:txBody>
      </p:sp>
      <p:sp>
        <p:nvSpPr>
          <p:cNvPr id="3" name="Content Placeholder 2">
            <a:extLst>
              <a:ext uri="{FF2B5EF4-FFF2-40B4-BE49-F238E27FC236}">
                <a16:creationId xmlns:a16="http://schemas.microsoft.com/office/drawing/2014/main" id="{6F62812F-A56E-78A8-5986-1C0E4D9817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Content Placeholder 3">
            <a:extLst>
              <a:ext uri="{FF2B5EF4-FFF2-40B4-BE49-F238E27FC236}">
                <a16:creationId xmlns:a16="http://schemas.microsoft.com/office/drawing/2014/main" id="{982008BD-BBE3-AF14-24E9-D82456A2570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5" name="Date Placeholder 4">
            <a:extLst>
              <a:ext uri="{FF2B5EF4-FFF2-40B4-BE49-F238E27FC236}">
                <a16:creationId xmlns:a16="http://schemas.microsoft.com/office/drawing/2014/main" id="{7893EFFE-8A91-FDE2-EADD-8CD2AD2D09D9}"/>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6" name="Footer Placeholder 5">
            <a:extLst>
              <a:ext uri="{FF2B5EF4-FFF2-40B4-BE49-F238E27FC236}">
                <a16:creationId xmlns:a16="http://schemas.microsoft.com/office/drawing/2014/main" id="{E974BBCE-7A1C-4759-37D0-DF725D4E8FA3}"/>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4689D44C-9B5D-F545-A669-BEDF2D664AE3}"/>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25034371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02660-F682-E4CE-E072-722F525BDE6C}"/>
              </a:ext>
            </a:extLst>
          </p:cNvPr>
          <p:cNvSpPr>
            <a:spLocks noGrp="1"/>
          </p:cNvSpPr>
          <p:nvPr>
            <p:ph type="title"/>
          </p:nvPr>
        </p:nvSpPr>
        <p:spPr>
          <a:xfrm>
            <a:off x="839788" y="365125"/>
            <a:ext cx="10515600" cy="1325563"/>
          </a:xfrm>
        </p:spPr>
        <p:txBody>
          <a:bodyPr/>
          <a:lstStyle/>
          <a:p>
            <a:r>
              <a:rPr lang="en-US"/>
              <a:t>Click to edit Master title style</a:t>
            </a:r>
            <a:endParaRPr lang="en-AE"/>
          </a:p>
        </p:txBody>
      </p:sp>
      <p:sp>
        <p:nvSpPr>
          <p:cNvPr id="3" name="Text Placeholder 2">
            <a:extLst>
              <a:ext uri="{FF2B5EF4-FFF2-40B4-BE49-F238E27FC236}">
                <a16:creationId xmlns:a16="http://schemas.microsoft.com/office/drawing/2014/main" id="{137BF2C3-23E4-B7C9-439B-2CAB1C1B7DB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C31DD2B-2878-7D46-0675-0A0C92F080E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5" name="Text Placeholder 4">
            <a:extLst>
              <a:ext uri="{FF2B5EF4-FFF2-40B4-BE49-F238E27FC236}">
                <a16:creationId xmlns:a16="http://schemas.microsoft.com/office/drawing/2014/main" id="{7ED8A056-0CEA-ADC6-6A44-1F9542B98DE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5BAB3D3-A6EF-12E6-EB98-1313C1F856D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7" name="Date Placeholder 6">
            <a:extLst>
              <a:ext uri="{FF2B5EF4-FFF2-40B4-BE49-F238E27FC236}">
                <a16:creationId xmlns:a16="http://schemas.microsoft.com/office/drawing/2014/main" id="{640D9074-1103-5B1A-0FB3-CD962CA38CB0}"/>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8" name="Footer Placeholder 7">
            <a:extLst>
              <a:ext uri="{FF2B5EF4-FFF2-40B4-BE49-F238E27FC236}">
                <a16:creationId xmlns:a16="http://schemas.microsoft.com/office/drawing/2014/main" id="{BF0A236D-ADCE-5D0E-B298-70011E3E48AA}"/>
              </a:ext>
            </a:extLst>
          </p:cNvPr>
          <p:cNvSpPr>
            <a:spLocks noGrp="1"/>
          </p:cNvSpPr>
          <p:nvPr>
            <p:ph type="ftr" sz="quarter" idx="11"/>
          </p:nvPr>
        </p:nvSpPr>
        <p:spPr/>
        <p:txBody>
          <a:bodyPr/>
          <a:lstStyle/>
          <a:p>
            <a:endParaRPr lang="en-AE"/>
          </a:p>
        </p:txBody>
      </p:sp>
      <p:sp>
        <p:nvSpPr>
          <p:cNvPr id="9" name="Slide Number Placeholder 8">
            <a:extLst>
              <a:ext uri="{FF2B5EF4-FFF2-40B4-BE49-F238E27FC236}">
                <a16:creationId xmlns:a16="http://schemas.microsoft.com/office/drawing/2014/main" id="{3103A544-FA6E-BA13-97A6-A11A8189C79F}"/>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22503372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4445808-4074-B94B-A4BC-32B49477B0C7}"/>
              </a:ext>
            </a:extLst>
          </p:cNvPr>
          <p:cNvPicPr>
            <a:picLocks noChangeAspect="1"/>
          </p:cNvPicPr>
          <p:nvPr userDrawn="1"/>
        </p:nvPicPr>
        <p:blipFill>
          <a:blip r:embed="rId2"/>
          <a:srcRect/>
          <a:stretch/>
        </p:blipFill>
        <p:spPr>
          <a:xfrm>
            <a:off x="0" y="0"/>
            <a:ext cx="6858000" cy="6858000"/>
          </a:xfrm>
          <a:prstGeom prst="rect">
            <a:avLst/>
          </a:prstGeom>
        </p:spPr>
      </p:pic>
      <p:sp>
        <p:nvSpPr>
          <p:cNvPr id="4" name="Text Placeholder 3">
            <a:extLst>
              <a:ext uri="{FF2B5EF4-FFF2-40B4-BE49-F238E27FC236}">
                <a16:creationId xmlns:a16="http://schemas.microsoft.com/office/drawing/2014/main" id="{6BB10E75-9523-9041-95F0-DC72EB503E97}"/>
              </a:ext>
            </a:extLst>
          </p:cNvPr>
          <p:cNvSpPr>
            <a:spLocks noGrp="1"/>
          </p:cNvSpPr>
          <p:nvPr>
            <p:ph type="body" sz="quarter" idx="10" hasCustomPrompt="1"/>
          </p:nvPr>
        </p:nvSpPr>
        <p:spPr>
          <a:xfrm>
            <a:off x="7586727" y="2564065"/>
            <a:ext cx="4008437" cy="1107996"/>
          </a:xfrm>
        </p:spPr>
        <p:txBody>
          <a:bodyPr/>
          <a:lstStyle>
            <a:lvl1pPr marL="0" marR="0" indent="0" algn="l" defTabSz="932742" rtl="0" eaLnBrk="1" fontAlgn="auto" latinLnBrk="0" hangingPunct="1">
              <a:lnSpc>
                <a:spcPct val="100000"/>
              </a:lnSpc>
              <a:spcBef>
                <a:spcPct val="0"/>
              </a:spcBef>
              <a:spcAft>
                <a:spcPts val="0"/>
              </a:spcAft>
              <a:buClrTx/>
              <a:buSzTx/>
              <a:buFontTx/>
              <a:buNone/>
              <a:tabLst/>
              <a:defRPr sz="3600" b="1" i="0">
                <a:latin typeface="Segoe UI" panose="020B0502040204020203" pitchFamily="34" charset="0"/>
                <a:cs typeface="Segoe UI" panose="020B0502040204020203" pitchFamily="34" charset="0"/>
              </a:defRPr>
            </a:lvl1pPr>
            <a:lvl2pPr>
              <a:buNone/>
              <a:defRPr/>
            </a:lvl2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1" i="0" u="none" strike="noStrike" kern="1200" cap="none" spc="-50" normalizeH="0" baseline="0" noProof="0" dirty="0">
                <a:ln w="3175">
                  <a:noFill/>
                </a:ln>
                <a:solidFill>
                  <a:srgbClr val="1A1A1A"/>
                </a:solidFill>
                <a:effectLst/>
                <a:uLnTx/>
                <a:uFillTx/>
                <a:latin typeface="Segoe UI Semibold"/>
                <a:ea typeface="+mn-ea"/>
                <a:cs typeface="Segoe UI" pitchFamily="34" charset="0"/>
              </a:rPr>
              <a:t>Event name or presentation title </a:t>
            </a:r>
          </a:p>
        </p:txBody>
      </p:sp>
      <p:sp>
        <p:nvSpPr>
          <p:cNvPr id="17" name="Text Placeholder 16">
            <a:extLst>
              <a:ext uri="{FF2B5EF4-FFF2-40B4-BE49-F238E27FC236}">
                <a16:creationId xmlns:a16="http://schemas.microsoft.com/office/drawing/2014/main" id="{A9110753-B6A2-F142-88F2-6149B918320E}"/>
              </a:ext>
            </a:extLst>
          </p:cNvPr>
          <p:cNvSpPr>
            <a:spLocks noGrp="1"/>
          </p:cNvSpPr>
          <p:nvPr>
            <p:ph type="body" sz="quarter" idx="11" hasCustomPrompt="1"/>
          </p:nvPr>
        </p:nvSpPr>
        <p:spPr>
          <a:xfrm>
            <a:off x="7586727" y="3965687"/>
            <a:ext cx="4087812" cy="307777"/>
          </a:xfrm>
        </p:spPr>
        <p:txBody>
          <a:bodyPr/>
          <a:lstStyle>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lvl2pPr>
          </a:lstStyle>
          <a:p>
            <a:pPr marL="457200" marR="0" lvl="1"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1A1A1A"/>
                </a:solidFill>
                <a:effectLst/>
                <a:uLnTx/>
                <a:uFillTx/>
                <a:latin typeface="+mn-lt"/>
                <a:ea typeface="+mn-ea"/>
                <a:cs typeface="Segoe UI" panose="020B0502040204020203" pitchFamily="34" charset="0"/>
              </a:rPr>
              <a:t>Speaker name or subtitle</a:t>
            </a:r>
          </a:p>
        </p:txBody>
      </p:sp>
    </p:spTree>
    <p:extLst>
      <p:ext uri="{BB962C8B-B14F-4D97-AF65-F5344CB8AC3E}">
        <p14:creationId xmlns:p14="http://schemas.microsoft.com/office/powerpoint/2010/main" val="16054354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732D9E-5D3D-8D47-7DBF-6FA4DEF492FD}"/>
              </a:ext>
            </a:extLst>
          </p:cNvPr>
          <p:cNvSpPr>
            <a:spLocks noGrp="1"/>
          </p:cNvSpPr>
          <p:nvPr>
            <p:ph type="title"/>
          </p:nvPr>
        </p:nvSpPr>
        <p:spPr/>
        <p:txBody>
          <a:bodyPr/>
          <a:lstStyle/>
          <a:p>
            <a:r>
              <a:rPr lang="en-US"/>
              <a:t>Click to edit Master title style</a:t>
            </a:r>
            <a:endParaRPr lang="en-AE"/>
          </a:p>
        </p:txBody>
      </p:sp>
      <p:sp>
        <p:nvSpPr>
          <p:cNvPr id="3" name="Date Placeholder 2">
            <a:extLst>
              <a:ext uri="{FF2B5EF4-FFF2-40B4-BE49-F238E27FC236}">
                <a16:creationId xmlns:a16="http://schemas.microsoft.com/office/drawing/2014/main" id="{BE72FD0A-8523-17F8-47F6-BF49CBB3073F}"/>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4" name="Footer Placeholder 3">
            <a:extLst>
              <a:ext uri="{FF2B5EF4-FFF2-40B4-BE49-F238E27FC236}">
                <a16:creationId xmlns:a16="http://schemas.microsoft.com/office/drawing/2014/main" id="{42D69161-FB44-A98A-1628-3B311462C9A5}"/>
              </a:ext>
            </a:extLst>
          </p:cNvPr>
          <p:cNvSpPr>
            <a:spLocks noGrp="1"/>
          </p:cNvSpPr>
          <p:nvPr>
            <p:ph type="ftr" sz="quarter" idx="11"/>
          </p:nvPr>
        </p:nvSpPr>
        <p:spPr/>
        <p:txBody>
          <a:bodyPr/>
          <a:lstStyle/>
          <a:p>
            <a:endParaRPr lang="en-AE"/>
          </a:p>
        </p:txBody>
      </p:sp>
      <p:sp>
        <p:nvSpPr>
          <p:cNvPr id="5" name="Slide Number Placeholder 4">
            <a:extLst>
              <a:ext uri="{FF2B5EF4-FFF2-40B4-BE49-F238E27FC236}">
                <a16:creationId xmlns:a16="http://schemas.microsoft.com/office/drawing/2014/main" id="{708E7375-A1EE-E2E7-8C97-0ED2CF610A0B}"/>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389708292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76B3CC-9B67-680E-11F9-FC5BA6FD7725}"/>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3" name="Footer Placeholder 2">
            <a:extLst>
              <a:ext uri="{FF2B5EF4-FFF2-40B4-BE49-F238E27FC236}">
                <a16:creationId xmlns:a16="http://schemas.microsoft.com/office/drawing/2014/main" id="{ED841BE1-6F2D-4473-B2C6-9788050E06B3}"/>
              </a:ext>
            </a:extLst>
          </p:cNvPr>
          <p:cNvSpPr>
            <a:spLocks noGrp="1"/>
          </p:cNvSpPr>
          <p:nvPr>
            <p:ph type="ftr" sz="quarter" idx="11"/>
          </p:nvPr>
        </p:nvSpPr>
        <p:spPr/>
        <p:txBody>
          <a:bodyPr/>
          <a:lstStyle/>
          <a:p>
            <a:endParaRPr lang="en-AE"/>
          </a:p>
        </p:txBody>
      </p:sp>
      <p:sp>
        <p:nvSpPr>
          <p:cNvPr id="4" name="Slide Number Placeholder 3">
            <a:extLst>
              <a:ext uri="{FF2B5EF4-FFF2-40B4-BE49-F238E27FC236}">
                <a16:creationId xmlns:a16="http://schemas.microsoft.com/office/drawing/2014/main" id="{9157DB70-B89C-600E-4A37-3E7CCA39667E}"/>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55939598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15633-598A-EEB1-9DD4-18CF3D0BC7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5181F180-06CE-CBAC-3B3B-D77D3F46456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A737D806-D9BD-558F-D9E7-4A8E3BB6220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931D07-C475-45CB-A720-2A58B7407E79}"/>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6" name="Footer Placeholder 5">
            <a:extLst>
              <a:ext uri="{FF2B5EF4-FFF2-40B4-BE49-F238E27FC236}">
                <a16:creationId xmlns:a16="http://schemas.microsoft.com/office/drawing/2014/main" id="{190C3BB2-7E9B-2BCA-235B-E0FFE437E9C2}"/>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CCD66B3A-D513-E3EE-1B62-B574CB98A64C}"/>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106868273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E35443-A192-BE6C-BCBF-E49B3E8C5C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33C750D8-10AE-913C-733F-5F148E0E75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E"/>
          </a:p>
        </p:txBody>
      </p:sp>
      <p:sp>
        <p:nvSpPr>
          <p:cNvPr id="4" name="Text Placeholder 3">
            <a:extLst>
              <a:ext uri="{FF2B5EF4-FFF2-40B4-BE49-F238E27FC236}">
                <a16:creationId xmlns:a16="http://schemas.microsoft.com/office/drawing/2014/main" id="{31C011D2-EB02-0334-17E8-E4CE4708E7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EE8F94-DE45-8BE8-DAE3-3C6A996E3666}"/>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6" name="Footer Placeholder 5">
            <a:extLst>
              <a:ext uri="{FF2B5EF4-FFF2-40B4-BE49-F238E27FC236}">
                <a16:creationId xmlns:a16="http://schemas.microsoft.com/office/drawing/2014/main" id="{474431D9-9E22-2C45-DC86-53F1C3AD31DA}"/>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EDE21FBC-0DA8-7606-5F4C-A8B99F1E6B37}"/>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19475599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53FBD-DA32-1A67-34A6-86A295D36F1B}"/>
              </a:ext>
            </a:extLst>
          </p:cNvPr>
          <p:cNvSpPr>
            <a:spLocks noGrp="1"/>
          </p:cNvSpPr>
          <p:nvPr>
            <p:ph type="title"/>
          </p:nvPr>
        </p:nvSpPr>
        <p:spPr/>
        <p:txBody>
          <a:body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FDA1AD19-338B-081D-66A3-30C0824A2A5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0CB363F7-ECD8-CE8F-CF93-80CEFF822D70}"/>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5" name="Footer Placeholder 4">
            <a:extLst>
              <a:ext uri="{FF2B5EF4-FFF2-40B4-BE49-F238E27FC236}">
                <a16:creationId xmlns:a16="http://schemas.microsoft.com/office/drawing/2014/main" id="{28AA82C8-2BD4-548D-16C1-BD4E044788DD}"/>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48D5EEDD-F2CE-60F8-BCF1-87AF0B9BD8C5}"/>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96657795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3A4236-924A-05D3-BB1D-5BE28CE01F0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4CEA350A-922E-DEE8-055B-03E509B47A0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77381FC1-BCBC-D404-4738-63488793946E}"/>
              </a:ext>
            </a:extLst>
          </p:cNvPr>
          <p:cNvSpPr>
            <a:spLocks noGrp="1"/>
          </p:cNvSpPr>
          <p:nvPr>
            <p:ph type="dt" sz="half" idx="10"/>
          </p:nvPr>
        </p:nvSpPr>
        <p:spPr/>
        <p:txBody>
          <a:bodyPr/>
          <a:lstStyle/>
          <a:p>
            <a:fld id="{AE36E50C-8EAB-47D3-A385-20D7B69429FD}" type="datetimeFigureOut">
              <a:rPr lang="en-AE" smtClean="0"/>
              <a:t>26/10/2022</a:t>
            </a:fld>
            <a:endParaRPr lang="en-AE"/>
          </a:p>
        </p:txBody>
      </p:sp>
      <p:sp>
        <p:nvSpPr>
          <p:cNvPr id="5" name="Footer Placeholder 4">
            <a:extLst>
              <a:ext uri="{FF2B5EF4-FFF2-40B4-BE49-F238E27FC236}">
                <a16:creationId xmlns:a16="http://schemas.microsoft.com/office/drawing/2014/main" id="{8B330D5B-D2F3-FE78-D829-6ED839A7DE18}"/>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9849F024-A79A-781D-555D-D03A5E114250}"/>
              </a:ext>
            </a:extLst>
          </p:cNvPr>
          <p:cNvSpPr>
            <a:spLocks noGrp="1"/>
          </p:cNvSpPr>
          <p:nvPr>
            <p:ph type="sldNum" sz="quarter" idx="12"/>
          </p:nvPr>
        </p:nvSpPr>
        <p:spPr/>
        <p:txBody>
          <a:bodyPr/>
          <a:lstStyle/>
          <a:p>
            <a:fld id="{D8144A4C-3819-4BE7-95C8-23BC91644D05}" type="slidenum">
              <a:rPr lang="en-AE" smtClean="0"/>
              <a:t>‹#›</a:t>
            </a:fld>
            <a:endParaRPr lang="en-AE"/>
          </a:p>
        </p:txBody>
      </p:sp>
    </p:spTree>
    <p:extLst>
      <p:ext uri="{BB962C8B-B14F-4D97-AF65-F5344CB8AC3E}">
        <p14:creationId xmlns:p14="http://schemas.microsoft.com/office/powerpoint/2010/main" val="316026615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tx2"/>
        </a:solidFill>
        <a:effectLst/>
      </p:bgPr>
    </p:bg>
    <p:spTree>
      <p:nvGrpSpPr>
        <p:cNvPr id="1" name=""/>
        <p:cNvGrpSpPr/>
        <p:nvPr/>
      </p:nvGrpSpPr>
      <p:grpSpPr>
        <a:xfrm>
          <a:off x="0" y="0"/>
          <a:ext cx="0" cy="0"/>
          <a:chOff x="0" y="0"/>
          <a:chExt cx="0" cy="0"/>
        </a:xfrm>
      </p:grpSpPr>
      <p:pic>
        <p:nvPicPr>
          <p:cNvPr id="5" name="Picture 4" descr="The Golden gate bridge illuminated at night ">
            <a:extLst>
              <a:ext uri="{FF2B5EF4-FFF2-40B4-BE49-F238E27FC236}">
                <a16:creationId xmlns:a16="http://schemas.microsoft.com/office/drawing/2014/main" id="{DCA925EA-A74D-1D42-AA55-CEBA35F4E32F}"/>
              </a:ext>
              <a:ext uri="{C183D7F6-B498-43B3-948B-1728B52AA6E4}">
                <adec:decorative xmlns:adec="http://schemas.microsoft.com/office/drawing/2017/decorative" val="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 name="Group 2">
            <a:extLst>
              <a:ext uri="{FF2B5EF4-FFF2-40B4-BE49-F238E27FC236}">
                <a16:creationId xmlns:a16="http://schemas.microsoft.com/office/drawing/2014/main" id="{62B7002A-CF12-44F8-A81A-0978FF3E5A7E}"/>
              </a:ext>
              <a:ext uri="{C183D7F6-B498-43B3-948B-1728B52AA6E4}">
                <adec:decorative xmlns:adec="http://schemas.microsoft.com/office/drawing/2017/decorative" val="1"/>
              </a:ext>
            </a:extLst>
          </p:cNvPr>
          <p:cNvGrpSpPr/>
          <p:nvPr userDrawn="1"/>
        </p:nvGrpSpPr>
        <p:grpSpPr>
          <a:xfrm>
            <a:off x="-2" y="-418"/>
            <a:ext cx="12192002" cy="6858419"/>
            <a:chOff x="-2" y="-418"/>
            <a:chExt cx="12192002" cy="6858419"/>
          </a:xfrm>
        </p:grpSpPr>
        <p:sp>
          <p:nvSpPr>
            <p:cNvPr id="11" name="Rectangle 10">
              <a:extLst>
                <a:ext uri="{FF2B5EF4-FFF2-40B4-BE49-F238E27FC236}">
                  <a16:creationId xmlns:a16="http://schemas.microsoft.com/office/drawing/2014/main" id="{FB6A7679-CD12-264F-8D68-C04698BD1C02}"/>
                </a:ext>
                <a:ext uri="{C183D7F6-B498-43B3-948B-1728B52AA6E4}">
                  <adec:decorative xmlns:adec="http://schemas.microsoft.com/office/drawing/2017/decorative" val="1"/>
                </a:ext>
              </a:extLst>
            </p:cNvPr>
            <p:cNvSpPr/>
            <p:nvPr userDrawn="1"/>
          </p:nvSpPr>
          <p:spPr bwMode="auto">
            <a:xfrm>
              <a:off x="3614509" y="-418"/>
              <a:ext cx="8577491" cy="6858000"/>
            </a:xfrm>
            <a:prstGeom prst="rect">
              <a:avLst/>
            </a:prstGeom>
            <a:gradFill>
              <a:gsLst>
                <a:gs pos="68000">
                  <a:schemeClr val="bg1">
                    <a:alpha val="45000"/>
                  </a:schemeClr>
                </a:gs>
                <a:gs pos="0">
                  <a:schemeClr val="tx1">
                    <a:alpha val="0"/>
                  </a:schemeClr>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A9CEB608-0900-4220-A4A5-6730BBDCE2F2}"/>
                </a:ext>
                <a:ext uri="{C183D7F6-B498-43B3-948B-1728B52AA6E4}">
                  <adec:decorative xmlns:adec="http://schemas.microsoft.com/office/drawing/2017/decorative" val="1"/>
                </a:ext>
              </a:extLst>
            </p:cNvPr>
            <p:cNvSpPr/>
            <p:nvPr userDrawn="1"/>
          </p:nvSpPr>
          <p:spPr bwMode="auto">
            <a:xfrm>
              <a:off x="5394960" y="3318235"/>
              <a:ext cx="6797040" cy="3539765"/>
            </a:xfrm>
            <a:prstGeom prst="rect">
              <a:avLst/>
            </a:prstGeom>
            <a:gradFill>
              <a:gsLst>
                <a:gs pos="41000">
                  <a:srgbClr val="000000">
                    <a:alpha val="22000"/>
                  </a:srgbClr>
                </a:gs>
                <a:gs pos="0">
                  <a:schemeClr val="bg1">
                    <a:alpha val="0"/>
                  </a:schemeClr>
                </a:gs>
                <a:gs pos="100000">
                  <a:schemeClr val="bg1">
                    <a:alpha val="85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9320F6BE-ABC5-4EF8-952B-C5E297BB94B1}"/>
                </a:ext>
                <a:ext uri="{C183D7F6-B498-43B3-948B-1728B52AA6E4}">
                  <adec:decorative xmlns:adec="http://schemas.microsoft.com/office/drawing/2017/decorative" val="1"/>
                </a:ext>
              </a:extLst>
            </p:cNvPr>
            <p:cNvSpPr/>
            <p:nvPr userDrawn="1"/>
          </p:nvSpPr>
          <p:spPr bwMode="auto">
            <a:xfrm flipH="1">
              <a:off x="-2" y="-1"/>
              <a:ext cx="4648198" cy="6858002"/>
            </a:xfrm>
            <a:prstGeom prst="rect">
              <a:avLst/>
            </a:prstGeom>
            <a:gradFill>
              <a:gsLst>
                <a:gs pos="41000">
                  <a:srgbClr val="000000">
                    <a:alpha val="22000"/>
                  </a:srgbClr>
                </a:gs>
                <a:gs pos="0">
                  <a:schemeClr val="bg1">
                    <a:alpha val="0"/>
                  </a:schemeClr>
                </a:gs>
                <a:gs pos="100000">
                  <a:schemeClr val="bg1">
                    <a:alpha val="85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Rectangle 1">
            <a:extLst>
              <a:ext uri="{FF2B5EF4-FFF2-40B4-BE49-F238E27FC236}">
                <a16:creationId xmlns:a16="http://schemas.microsoft.com/office/drawing/2014/main" id="{4C5C4687-7859-D044-817A-4562925B6B94}"/>
              </a:ext>
              <a:ext uri="{C183D7F6-B498-43B3-948B-1728B52AA6E4}">
                <adec:decorative xmlns:adec="http://schemas.microsoft.com/office/drawing/2017/decorative" val="1"/>
              </a:ext>
            </a:extLst>
          </p:cNvPr>
          <p:cNvSpPr/>
          <p:nvPr userDrawn="1"/>
        </p:nvSpPr>
        <p:spPr bwMode="auto">
          <a:xfrm>
            <a:off x="6096000" y="3318235"/>
            <a:ext cx="6096000" cy="226243"/>
          </a:xfrm>
          <a:prstGeom prst="rect">
            <a:avLst/>
          </a:pr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14" name="Title 2">
            <a:extLst>
              <a:ext uri="{FF2B5EF4-FFF2-40B4-BE49-F238E27FC236}">
                <a16:creationId xmlns:a16="http://schemas.microsoft.com/office/drawing/2014/main" id="{FC4F5691-A5DB-4223-A5B1-05F087EB3961}"/>
              </a:ext>
            </a:extLst>
          </p:cNvPr>
          <p:cNvSpPr>
            <a:spLocks noGrp="1"/>
          </p:cNvSpPr>
          <p:nvPr>
            <p:ph type="title" hasCustomPrompt="1"/>
          </p:nvPr>
        </p:nvSpPr>
        <p:spPr>
          <a:xfrm>
            <a:off x="6095998" y="986820"/>
            <a:ext cx="4648200" cy="2279835"/>
          </a:xfrm>
        </p:spPr>
        <p:txBody>
          <a:bodyPr anchor="b">
            <a:noAutofit/>
          </a:bodyPr>
          <a:lstStyle>
            <a:lvl1pPr>
              <a:defRPr sz="3600"/>
            </a:lvl1pPr>
          </a:lstStyle>
          <a:p>
            <a:r>
              <a:rPr lang="en-US"/>
              <a:t>Event name or Presentation title</a:t>
            </a:r>
          </a:p>
        </p:txBody>
      </p:sp>
      <p:sp>
        <p:nvSpPr>
          <p:cNvPr id="15" name="Text Placeholder 2">
            <a:extLst>
              <a:ext uri="{FF2B5EF4-FFF2-40B4-BE49-F238E27FC236}">
                <a16:creationId xmlns:a16="http://schemas.microsoft.com/office/drawing/2014/main" id="{E78F0C23-4D22-40D7-B72B-4D51667FF668}"/>
              </a:ext>
            </a:extLst>
          </p:cNvPr>
          <p:cNvSpPr>
            <a:spLocks noGrp="1"/>
          </p:cNvSpPr>
          <p:nvPr>
            <p:ph type="body" sz="quarter" idx="12" hasCustomPrompt="1"/>
          </p:nvPr>
        </p:nvSpPr>
        <p:spPr>
          <a:xfrm>
            <a:off x="6096000" y="3595848"/>
            <a:ext cx="4648200" cy="276999"/>
          </a:xfrm>
        </p:spPr>
        <p:txBody>
          <a:bodyPr/>
          <a:lstStyle>
            <a:lvl1pPr marL="0" indent="0">
              <a:buFontTx/>
              <a:buNone/>
              <a:defRPr sz="1800"/>
            </a:lvl1pPr>
          </a:lstStyle>
          <a:p>
            <a:r>
              <a:rPr lang="en-US"/>
              <a:t>Speaker Name or </a:t>
            </a:r>
            <a:r>
              <a:rPr lang="en-US" err="1"/>
              <a:t>subtilte</a:t>
            </a:r>
            <a:endParaRPr lang="en-US"/>
          </a:p>
        </p:txBody>
      </p:sp>
      <p:pic>
        <p:nvPicPr>
          <p:cNvPr id="7" name="Picture 6" descr="Microsoft logo white text version">
            <a:extLst>
              <a:ext uri="{FF2B5EF4-FFF2-40B4-BE49-F238E27FC236}">
                <a16:creationId xmlns:a16="http://schemas.microsoft.com/office/drawing/2014/main" id="{F47C80E3-9EE8-474B-B460-8FCB659F5EB0}"/>
              </a:ext>
            </a:extLst>
          </p:cNvPr>
          <p:cNvPicPr>
            <a:picLocks noChangeAspect="1"/>
          </p:cNvPicPr>
          <p:nvPr userDrawn="1"/>
        </p:nvPicPr>
        <p:blipFill>
          <a:blip r:embed="rId3"/>
          <a:stretch>
            <a:fillRect/>
          </a:stretch>
        </p:blipFill>
        <p:spPr>
          <a:xfrm>
            <a:off x="126243" y="2759700"/>
            <a:ext cx="2979002" cy="1337764"/>
          </a:xfrm>
          <a:prstGeom prst="rect">
            <a:avLst/>
          </a:prstGeom>
        </p:spPr>
      </p:pic>
      <p:sp>
        <p:nvSpPr>
          <p:cNvPr id="13" name="Title 1">
            <a:extLst>
              <a:ext uri="{FF2B5EF4-FFF2-40B4-BE49-F238E27FC236}">
                <a16:creationId xmlns:a16="http://schemas.microsoft.com/office/drawing/2014/main" id="{EE2BF0FC-0845-4F63-BBEF-9BE6F56DA069}"/>
              </a:ext>
            </a:extLst>
          </p:cNvPr>
          <p:cNvSpPr txBox="1">
            <a:spLocks/>
          </p:cNvSpPr>
          <p:nvPr userDrawn="1"/>
        </p:nvSpPr>
        <p:spPr>
          <a:xfrm>
            <a:off x="2641919" y="6416168"/>
            <a:ext cx="7772400" cy="533400"/>
          </a:xfrm>
          <a:prstGeom prst="rect">
            <a:avLst/>
          </a:prstGeom>
        </p:spPr>
        <p:txBody>
          <a:bodyPr/>
          <a:lstStyle>
            <a:lvl1pPr algn="l" defTabSz="582930" rtl="0" eaLnBrk="1" latinLnBrk="0" hangingPunct="1">
              <a:lnSpc>
                <a:spcPct val="90000"/>
              </a:lnSpc>
              <a:spcBef>
                <a:spcPct val="0"/>
              </a:spcBef>
              <a:buNone/>
              <a:defRPr sz="2805" kern="1200">
                <a:solidFill>
                  <a:schemeClr val="tx1"/>
                </a:solidFill>
                <a:latin typeface="+mj-lt"/>
                <a:ea typeface="+mj-ea"/>
                <a:cs typeface="+mj-cs"/>
              </a:defRPr>
            </a:lvl1pPr>
          </a:lstStyle>
          <a:p>
            <a:pPr algn="ctr"/>
            <a:r>
              <a:rPr lang="en-US" sz="800">
                <a:solidFill>
                  <a:schemeClr val="tx1"/>
                </a:solidFill>
                <a:latin typeface="Segoe UI" panose="020B0502040204020203" pitchFamily="34" charset="0"/>
                <a:cs typeface="Segoe UI" panose="020B0502040204020203" pitchFamily="34" charset="0"/>
              </a:rPr>
              <a:t>2022 © Microsoft Corporation. All rights reserved. </a:t>
            </a:r>
            <a:br>
              <a:rPr lang="en-US" sz="800">
                <a:solidFill>
                  <a:schemeClr val="tx1"/>
                </a:solidFill>
                <a:latin typeface="Segoe UI" panose="020B0502040204020203" pitchFamily="34" charset="0"/>
                <a:cs typeface="Segoe UI" panose="020B0502040204020203" pitchFamily="34" charset="0"/>
              </a:rPr>
            </a:br>
            <a:r>
              <a:rPr lang="en-US" sz="800">
                <a:solidFill>
                  <a:schemeClr val="tx1"/>
                </a:solidFill>
                <a:latin typeface="Segoe UI" panose="020B0502040204020203" pitchFamily="34" charset="0"/>
                <a:cs typeface="Segoe UI" panose="020B0502040204020203" pitchFamily="34" charset="0"/>
              </a:rPr>
              <a:t>This presentation is for informational purposes only. </a:t>
            </a:r>
            <a:br>
              <a:rPr lang="en-US" sz="800">
                <a:solidFill>
                  <a:schemeClr val="tx1"/>
                </a:solidFill>
                <a:latin typeface="Segoe UI" panose="020B0502040204020203" pitchFamily="34" charset="0"/>
                <a:cs typeface="Segoe UI" panose="020B0502040204020203" pitchFamily="34" charset="0"/>
              </a:rPr>
            </a:br>
            <a:r>
              <a:rPr lang="en-US" sz="800">
                <a:solidFill>
                  <a:schemeClr val="tx1"/>
                </a:solidFill>
                <a:latin typeface="Segoe UI" panose="020B0502040204020203" pitchFamily="34" charset="0"/>
                <a:cs typeface="Segoe UI" panose="020B0502040204020203" pitchFamily="34" charset="0"/>
              </a:rPr>
              <a:t>MICROSOFT MAKES NO WARRANTIES, EXPRESS OR IMPLIED, IN THIS SUMMARY</a:t>
            </a:r>
            <a:br>
              <a:rPr lang="en-US" sz="800">
                <a:solidFill>
                  <a:schemeClr val="tx1"/>
                </a:solidFill>
                <a:latin typeface="Segoe UI" panose="020B0502040204020203" pitchFamily="34" charset="0"/>
                <a:cs typeface="Segoe UI" panose="020B0502040204020203" pitchFamily="34" charset="0"/>
              </a:rPr>
            </a:br>
            <a:endParaRPr lang="en-US" sz="800">
              <a:solidFill>
                <a:schemeClr val="tx1"/>
              </a:solidFill>
            </a:endParaRPr>
          </a:p>
        </p:txBody>
      </p:sp>
    </p:spTree>
    <p:extLst>
      <p:ext uri="{BB962C8B-B14F-4D97-AF65-F5344CB8AC3E}">
        <p14:creationId xmlns:p14="http://schemas.microsoft.com/office/powerpoint/2010/main" val="2487446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Signoff/End slide">
    <p:bg>
      <p:bgPr>
        <a:solidFill>
          <a:schemeClr val="tx1"/>
        </a:solidFill>
        <a:effectLst/>
      </p:bgPr>
    </p:bg>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6A378EBD-E5B4-A144-B609-1817629B412F}"/>
              </a:ext>
              <a:ext uri="{C183D7F6-B498-43B3-948B-1728B52AA6E4}">
                <adec:decorative xmlns:adec="http://schemas.microsoft.com/office/drawing/2017/decorative" val="1"/>
              </a:ext>
            </a:extLst>
          </p:cNvPr>
          <p:cNvSpPr/>
          <p:nvPr userDrawn="1"/>
        </p:nvSpPr>
        <p:spPr>
          <a:xfrm>
            <a:off x="0" y="3315973"/>
            <a:ext cx="3106264" cy="228600"/>
          </a:xfrm>
          <a:custGeom>
            <a:avLst/>
            <a:gdLst/>
            <a:ahLst/>
            <a:cxnLst/>
            <a:rect l="l" t="t" r="r" b="b"/>
            <a:pathLst>
              <a:path w="1993900" h="228600">
                <a:moveTo>
                  <a:pt x="1993900" y="0"/>
                </a:moveTo>
                <a:lnTo>
                  <a:pt x="0" y="0"/>
                </a:lnTo>
                <a:lnTo>
                  <a:pt x="0" y="228600"/>
                </a:lnTo>
                <a:lnTo>
                  <a:pt x="1993900" y="228600"/>
                </a:lnTo>
                <a:lnTo>
                  <a:pt x="1993900" y="0"/>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sz="2000">
              <a:solidFill>
                <a:srgbClr val="FFFFFF"/>
              </a:solidFill>
              <a:cs typeface="Segoe UI" pitchFamily="34" charset="0"/>
            </a:endParaRPr>
          </a:p>
        </p:txBody>
      </p:sp>
      <p:pic>
        <p:nvPicPr>
          <p:cNvPr id="8" name="object 4" descr="Microsoft logo white text version">
            <a:extLst>
              <a:ext uri="{FF2B5EF4-FFF2-40B4-BE49-F238E27FC236}">
                <a16:creationId xmlns:a16="http://schemas.microsoft.com/office/drawing/2014/main" id="{81433FD3-DE6E-8E46-A694-7E52D07A1AA7}"/>
              </a:ext>
            </a:extLst>
          </p:cNvPr>
          <p:cNvPicPr/>
          <p:nvPr userDrawn="1"/>
        </p:nvPicPr>
        <p:blipFill>
          <a:blip r:embed="rId2" cstate="print"/>
          <a:stretch>
            <a:fillRect/>
          </a:stretch>
        </p:blipFill>
        <p:spPr>
          <a:xfrm>
            <a:off x="8831988" y="2710383"/>
            <a:ext cx="2979012" cy="1439780"/>
          </a:xfrm>
          <a:prstGeom prst="rect">
            <a:avLst/>
          </a:prstGeom>
        </p:spPr>
      </p:pic>
      <p:sp>
        <p:nvSpPr>
          <p:cNvPr id="2" name="Title 1">
            <a:extLst>
              <a:ext uri="{FF2B5EF4-FFF2-40B4-BE49-F238E27FC236}">
                <a16:creationId xmlns:a16="http://schemas.microsoft.com/office/drawing/2014/main" id="{736D64A9-BA26-4FC4-8C41-604790D4D3D9}"/>
              </a:ext>
            </a:extLst>
          </p:cNvPr>
          <p:cNvSpPr txBox="1">
            <a:spLocks/>
          </p:cNvSpPr>
          <p:nvPr userDrawn="1"/>
        </p:nvSpPr>
        <p:spPr>
          <a:xfrm>
            <a:off x="2396031" y="6400800"/>
            <a:ext cx="7772400" cy="533400"/>
          </a:xfrm>
          <a:prstGeom prst="rect">
            <a:avLst/>
          </a:prstGeom>
        </p:spPr>
        <p:txBody>
          <a:bodyPr/>
          <a:lstStyle>
            <a:lvl1pPr algn="l" defTabSz="582930" rtl="0" eaLnBrk="1" latinLnBrk="0" hangingPunct="1">
              <a:lnSpc>
                <a:spcPct val="90000"/>
              </a:lnSpc>
              <a:spcBef>
                <a:spcPct val="0"/>
              </a:spcBef>
              <a:buNone/>
              <a:defRPr sz="2805" kern="1200">
                <a:solidFill>
                  <a:schemeClr val="tx1"/>
                </a:solidFill>
                <a:latin typeface="+mj-lt"/>
                <a:ea typeface="+mj-ea"/>
                <a:cs typeface="+mj-cs"/>
              </a:defRPr>
            </a:lvl1pPr>
          </a:lstStyle>
          <a:p>
            <a:pPr algn="ctr"/>
            <a:r>
              <a:rPr lang="en-US" sz="800">
                <a:solidFill>
                  <a:schemeClr val="bg1"/>
                </a:solidFill>
                <a:latin typeface="Segoe UI" panose="020B0502040204020203" pitchFamily="34" charset="0"/>
                <a:cs typeface="Segoe UI" panose="020B0502040204020203" pitchFamily="34" charset="0"/>
              </a:rPr>
              <a:t>2022 © Microsoft Corporation. All rights reserved. </a:t>
            </a:r>
            <a:br>
              <a:rPr lang="en-US" sz="800">
                <a:solidFill>
                  <a:schemeClr val="bg1"/>
                </a:solidFill>
                <a:latin typeface="Segoe UI" panose="020B0502040204020203" pitchFamily="34" charset="0"/>
                <a:cs typeface="Segoe UI" panose="020B0502040204020203" pitchFamily="34" charset="0"/>
              </a:rPr>
            </a:br>
            <a:r>
              <a:rPr lang="en-US" sz="800">
                <a:solidFill>
                  <a:schemeClr val="bg1"/>
                </a:solidFill>
                <a:latin typeface="Segoe UI" panose="020B0502040204020203" pitchFamily="34" charset="0"/>
                <a:cs typeface="Segoe UI" panose="020B0502040204020203" pitchFamily="34" charset="0"/>
              </a:rPr>
              <a:t>This presentation is for informational purposes only. </a:t>
            </a:r>
            <a:br>
              <a:rPr lang="en-US" sz="800">
                <a:solidFill>
                  <a:schemeClr val="bg1"/>
                </a:solidFill>
                <a:latin typeface="Segoe UI" panose="020B0502040204020203" pitchFamily="34" charset="0"/>
                <a:cs typeface="Segoe UI" panose="020B0502040204020203" pitchFamily="34" charset="0"/>
              </a:rPr>
            </a:br>
            <a:r>
              <a:rPr lang="en-US" sz="800">
                <a:solidFill>
                  <a:schemeClr val="bg1"/>
                </a:solidFill>
                <a:latin typeface="Segoe UI" panose="020B0502040204020203" pitchFamily="34" charset="0"/>
                <a:cs typeface="Segoe UI" panose="020B0502040204020203" pitchFamily="34" charset="0"/>
              </a:rPr>
              <a:t>MICROSOFT MAKES NO WARRANTIES, EXPRESS OR IMPLIED, IN THIS SUMMARY</a:t>
            </a:r>
            <a:br>
              <a:rPr lang="en-US" sz="800">
                <a:solidFill>
                  <a:schemeClr val="bg1"/>
                </a:solidFill>
                <a:latin typeface="Segoe UI" panose="020B0502040204020203" pitchFamily="34" charset="0"/>
                <a:cs typeface="Segoe UI" panose="020B0502040204020203" pitchFamily="34" charset="0"/>
              </a:rPr>
            </a:br>
            <a:endParaRPr lang="en-US" sz="800">
              <a:solidFill>
                <a:schemeClr val="bg1"/>
              </a:solidFill>
            </a:endParaRPr>
          </a:p>
        </p:txBody>
      </p:sp>
    </p:spTree>
    <p:extLst>
      <p:ext uri="{BB962C8B-B14F-4D97-AF65-F5344CB8AC3E}">
        <p14:creationId xmlns:p14="http://schemas.microsoft.com/office/powerpoint/2010/main" val="428863359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08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only 1">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1000" y="457200"/>
            <a:ext cx="11430000" cy="553998"/>
          </a:xfrm>
        </p:spPr>
        <p:txBody>
          <a:bodyPr anchor="t"/>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Freeform: Shape 6">
            <a:extLst>
              <a:ext uri="{FF2B5EF4-FFF2-40B4-BE49-F238E27FC236}">
                <a16:creationId xmlns:a16="http://schemas.microsoft.com/office/drawing/2014/main" id="{12459C84-37BE-4847-8FEC-294FA2757DD2}"/>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59119318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Four round photo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CCD7CA-4A29-4B5A-9299-CE3769737794}"/>
              </a:ext>
            </a:extLst>
          </p:cNvPr>
          <p:cNvSpPr>
            <a:spLocks noGrp="1"/>
          </p:cNvSpPr>
          <p:nvPr>
            <p:ph type="title"/>
          </p:nvPr>
        </p:nvSpPr>
        <p:spPr/>
        <p:txBody>
          <a:body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0" name="Freeform: Shape 19">
            <a:extLst>
              <a:ext uri="{FF2B5EF4-FFF2-40B4-BE49-F238E27FC236}">
                <a16:creationId xmlns:a16="http://schemas.microsoft.com/office/drawing/2014/main" id="{1CCF2B0C-AD16-4502-8CEA-ACEE14D1FAF1}"/>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8057186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5" pos="182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1F482-CF54-4070-9A14-19DA8B77C06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6AA4766-ECBD-4A8E-9EBC-9F5FAC9ED9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DD82738-913A-49C4-AF0B-EEE965B86C54}"/>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5" name="Footer Placeholder 4">
            <a:extLst>
              <a:ext uri="{FF2B5EF4-FFF2-40B4-BE49-F238E27FC236}">
                <a16:creationId xmlns:a16="http://schemas.microsoft.com/office/drawing/2014/main" id="{A255F298-25D5-40B4-9138-6E95E2E781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A8DBE1-C396-4BC3-868E-61DF53BA8DEA}"/>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65728567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Header Line 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71691-F7B7-4463-B935-B649E7A19B97}"/>
              </a:ext>
            </a:extLst>
          </p:cNvPr>
          <p:cNvSpPr>
            <a:spLocks noGrp="1"/>
          </p:cNvSpPr>
          <p:nvPr>
            <p:ph type="title"/>
          </p:nvPr>
        </p:nvSpPr>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43B88945-A1B8-4956-AB83-E961A2C93E98}"/>
              </a:ext>
              <a:ext uri="{C183D7F6-B498-43B3-948B-1728B52AA6E4}">
                <adec:decorative xmlns:adec="http://schemas.microsoft.com/office/drawing/2017/decorative" val="1"/>
              </a:ext>
            </a:extLst>
          </p:cNvPr>
          <p:cNvCxnSpPr>
            <a:cxnSpLocks/>
          </p:cNvCxnSpPr>
          <p:nvPr userDrawn="1"/>
        </p:nvCxnSpPr>
        <p:spPr>
          <a:xfrm>
            <a:off x="381000" y="1143000"/>
            <a:ext cx="11430000" cy="0"/>
          </a:xfrm>
          <a:prstGeom prst="line">
            <a:avLst/>
          </a:prstGeom>
          <a:ln w="25400" cap="sq">
            <a:gradFill>
              <a:gsLst>
                <a:gs pos="60000">
                  <a:srgbClr val="61C5BE"/>
                </a:gs>
                <a:gs pos="29000">
                  <a:srgbClr val="FFF200"/>
                </a:gs>
                <a:gs pos="100000">
                  <a:schemeClr val="accent5"/>
                </a:gs>
              </a:gsLst>
              <a:lin ang="0" scaled="0"/>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A7149627-4344-8C48-B568-35686403307E}"/>
              </a:ext>
            </a:extLst>
          </p:cNvPr>
          <p:cNvSpPr>
            <a:spLocks noGrp="1"/>
          </p:cNvSpPr>
          <p:nvPr>
            <p:ph type="body" sz="quarter" idx="10"/>
          </p:nvPr>
        </p:nvSpPr>
        <p:spPr>
          <a:xfrm>
            <a:off x="381000"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E22851BA-80AF-794F-B0BE-1575B984DF3F}"/>
              </a:ext>
            </a:extLst>
          </p:cNvPr>
          <p:cNvSpPr>
            <a:spLocks noGrp="1"/>
          </p:cNvSpPr>
          <p:nvPr>
            <p:ph type="body" sz="quarter" idx="11"/>
          </p:nvPr>
        </p:nvSpPr>
        <p:spPr>
          <a:xfrm>
            <a:off x="381000" y="2286000"/>
            <a:ext cx="2133600" cy="3986784"/>
          </a:xfr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spcBef>
                <a:spcPts val="600"/>
              </a:spcBef>
              <a:buFontTx/>
              <a:buNone/>
              <a:defRPr lang="en-US" sz="1200" kern="1200" dirty="0" smtClean="0">
                <a:solidFill>
                  <a:schemeClr val="tx1"/>
                </a:solidFill>
                <a:latin typeface="+mn-lt"/>
                <a:ea typeface="+mn-ea"/>
                <a:cs typeface="+mn-cs"/>
              </a:defRPr>
            </a:lvl2pPr>
            <a:lvl3pPr marL="171450" indent="-171450" algn="l" defTabSz="914367" rtl="0" eaLnBrk="1" latinLnBrk="0" hangingPunct="1">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15" name="Text Placeholder 9">
            <a:extLst>
              <a:ext uri="{FF2B5EF4-FFF2-40B4-BE49-F238E27FC236}">
                <a16:creationId xmlns:a16="http://schemas.microsoft.com/office/drawing/2014/main" id="{B1A4445F-1B1A-C64D-A49F-C8C1D7FDDF98}"/>
              </a:ext>
            </a:extLst>
          </p:cNvPr>
          <p:cNvSpPr>
            <a:spLocks noGrp="1"/>
          </p:cNvSpPr>
          <p:nvPr>
            <p:ph type="body" sz="quarter" idx="12"/>
          </p:nvPr>
        </p:nvSpPr>
        <p:spPr>
          <a:xfrm>
            <a:off x="2709421"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16" name="Text Placeholder 11">
            <a:extLst>
              <a:ext uri="{FF2B5EF4-FFF2-40B4-BE49-F238E27FC236}">
                <a16:creationId xmlns:a16="http://schemas.microsoft.com/office/drawing/2014/main" id="{AC4E410E-F5E6-0440-B7BB-9149AA028BE0}"/>
              </a:ext>
            </a:extLst>
          </p:cNvPr>
          <p:cNvSpPr>
            <a:spLocks noGrp="1"/>
          </p:cNvSpPr>
          <p:nvPr>
            <p:ph type="body" sz="quarter" idx="13"/>
          </p:nvPr>
        </p:nvSpPr>
        <p:spPr>
          <a:xfrm>
            <a:off x="2709421" y="2286000"/>
            <a:ext cx="2133600" cy="3986784"/>
          </a:xfr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17" name="Text Placeholder 9">
            <a:extLst>
              <a:ext uri="{FF2B5EF4-FFF2-40B4-BE49-F238E27FC236}">
                <a16:creationId xmlns:a16="http://schemas.microsoft.com/office/drawing/2014/main" id="{3641EBFA-B27C-3946-B7B1-8F727C5049D6}"/>
              </a:ext>
            </a:extLst>
          </p:cNvPr>
          <p:cNvSpPr>
            <a:spLocks noGrp="1"/>
          </p:cNvSpPr>
          <p:nvPr>
            <p:ph type="body" sz="quarter" idx="14"/>
          </p:nvPr>
        </p:nvSpPr>
        <p:spPr>
          <a:xfrm>
            <a:off x="5047268"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18" name="Text Placeholder 11">
            <a:extLst>
              <a:ext uri="{FF2B5EF4-FFF2-40B4-BE49-F238E27FC236}">
                <a16:creationId xmlns:a16="http://schemas.microsoft.com/office/drawing/2014/main" id="{71F938E2-A8B7-944D-A6CD-CD897CEB6911}"/>
              </a:ext>
            </a:extLst>
          </p:cNvPr>
          <p:cNvSpPr>
            <a:spLocks noGrp="1"/>
          </p:cNvSpPr>
          <p:nvPr>
            <p:ph type="body" sz="quarter" idx="15"/>
          </p:nvPr>
        </p:nvSpPr>
        <p:spPr>
          <a:xfrm>
            <a:off x="5047268" y="2286000"/>
            <a:ext cx="2133600" cy="3983038"/>
          </a:xfr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19" name="Text Placeholder 9">
            <a:extLst>
              <a:ext uri="{FF2B5EF4-FFF2-40B4-BE49-F238E27FC236}">
                <a16:creationId xmlns:a16="http://schemas.microsoft.com/office/drawing/2014/main" id="{8BD6BF2D-9128-C44F-BE85-D061C7BA822C}"/>
              </a:ext>
            </a:extLst>
          </p:cNvPr>
          <p:cNvSpPr>
            <a:spLocks noGrp="1"/>
          </p:cNvSpPr>
          <p:nvPr>
            <p:ph type="body" sz="quarter" idx="16"/>
          </p:nvPr>
        </p:nvSpPr>
        <p:spPr>
          <a:xfrm>
            <a:off x="7356835"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20" name="Text Placeholder 11">
            <a:extLst>
              <a:ext uri="{FF2B5EF4-FFF2-40B4-BE49-F238E27FC236}">
                <a16:creationId xmlns:a16="http://schemas.microsoft.com/office/drawing/2014/main" id="{55B5EA8C-8960-F24A-86F4-6F1A709A100B}"/>
              </a:ext>
            </a:extLst>
          </p:cNvPr>
          <p:cNvSpPr>
            <a:spLocks noGrp="1"/>
          </p:cNvSpPr>
          <p:nvPr>
            <p:ph type="body" sz="quarter" idx="17"/>
          </p:nvPr>
        </p:nvSpPr>
        <p:spPr>
          <a:xfrm>
            <a:off x="7356835" y="2286000"/>
            <a:ext cx="2133600" cy="3983038"/>
          </a:xfr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1" name="Text Placeholder 9">
            <a:extLst>
              <a:ext uri="{FF2B5EF4-FFF2-40B4-BE49-F238E27FC236}">
                <a16:creationId xmlns:a16="http://schemas.microsoft.com/office/drawing/2014/main" id="{EB9E96FF-1743-9340-8E99-08C92FF506BC}"/>
              </a:ext>
            </a:extLst>
          </p:cNvPr>
          <p:cNvSpPr>
            <a:spLocks noGrp="1"/>
          </p:cNvSpPr>
          <p:nvPr>
            <p:ph type="body" sz="quarter" idx="18"/>
          </p:nvPr>
        </p:nvSpPr>
        <p:spPr>
          <a:xfrm>
            <a:off x="9685256"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22" name="Text Placeholder 11">
            <a:extLst>
              <a:ext uri="{FF2B5EF4-FFF2-40B4-BE49-F238E27FC236}">
                <a16:creationId xmlns:a16="http://schemas.microsoft.com/office/drawing/2014/main" id="{1183CC26-FA4E-FF4E-8EED-0F14D01769F3}"/>
              </a:ext>
            </a:extLst>
          </p:cNvPr>
          <p:cNvSpPr>
            <a:spLocks noGrp="1"/>
          </p:cNvSpPr>
          <p:nvPr>
            <p:ph type="body" sz="quarter" idx="19"/>
          </p:nvPr>
        </p:nvSpPr>
        <p:spPr>
          <a:xfrm>
            <a:off x="9685256" y="2286000"/>
            <a:ext cx="2133600" cy="3983038"/>
          </a:xfr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08152602"/>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28" orient="horz" pos="888">
          <p15:clr>
            <a:srgbClr val="5ACBF0"/>
          </p15:clr>
        </p15:guide>
        <p15:guide id="29" orient="horz" pos="1248">
          <p15:clr>
            <a:srgbClr val="5ACBF0"/>
          </p15:clr>
        </p15:guide>
        <p15:guide id="30" orient="horz" pos="288">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Title only with bar">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D6D3E5-5F4F-4FB7-8B74-E695C6636C0B}"/>
              </a:ext>
            </a:extLst>
          </p:cNvPr>
          <p:cNvSpPr>
            <a:spLocks noGrp="1"/>
          </p:cNvSpPr>
          <p:nvPr>
            <p:ph type="title"/>
          </p:nvPr>
        </p:nvSpPr>
        <p:spPr/>
        <p:txBody>
          <a:body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a:cxnSpLocks/>
          </p:cNvCxnSpPr>
          <p:nvPr userDrawn="1"/>
        </p:nvCxnSpPr>
        <p:spPr>
          <a:xfrm>
            <a:off x="381000" y="1143000"/>
            <a:ext cx="11430000" cy="0"/>
          </a:xfrm>
          <a:prstGeom prst="line">
            <a:avLst/>
          </a:prstGeom>
          <a:ln w="25400" cap="sq">
            <a:gradFill>
              <a:gsLst>
                <a:gs pos="60000">
                  <a:srgbClr val="61C5BE"/>
                </a:gs>
                <a:gs pos="29000">
                  <a:srgbClr val="FFF200"/>
                </a:gs>
                <a:gs pos="100000">
                  <a:schemeClr val="accent5"/>
                </a:gs>
              </a:gsLst>
              <a:lin ang="0" scaled="0"/>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Freeform: Shape 8">
            <a:extLst>
              <a:ext uri="{FF2B5EF4-FFF2-40B4-BE49-F238E27FC236}">
                <a16:creationId xmlns:a16="http://schemas.microsoft.com/office/drawing/2014/main" id="{56FB0A30-03DB-4893-B1DF-E2A457407E56}"/>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93432590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2C7CE7-3817-435C-BE24-164AFC0CEB6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DFE5612-3482-4947-85BD-70B41B1EF8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3D9AE9-A045-4129-81AD-91CC4065F040}"/>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5" name="Footer Placeholder 4">
            <a:extLst>
              <a:ext uri="{FF2B5EF4-FFF2-40B4-BE49-F238E27FC236}">
                <a16:creationId xmlns:a16="http://schemas.microsoft.com/office/drawing/2014/main" id="{CAD66FDC-FCA3-47A9-99BB-F075FACEC1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18956F-EB16-4B58-B3BA-A31C3BDBCF79}"/>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21227744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03EC6-F80F-4C90-B38C-D72EB2AD5AB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B1F5CE5-0AA6-4717-AB4D-6D6AA0AEFD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B99DC63-8D2A-4546-AA66-5F9C5249BB9D}"/>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5" name="Footer Placeholder 4">
            <a:extLst>
              <a:ext uri="{FF2B5EF4-FFF2-40B4-BE49-F238E27FC236}">
                <a16:creationId xmlns:a16="http://schemas.microsoft.com/office/drawing/2014/main" id="{42004F81-96AE-4D69-A233-7E6685EDC8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25BE1E-58E3-4D07-9FCB-79C2B69C18A0}"/>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40468702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1C4D7-1E2F-401D-9F2A-D66C243522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EADABE-7016-4A5A-85CE-C225F632F01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4BFE24-BD6B-46FA-B9A9-DBBDC205467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F5C43FA-ADE9-4E98-AA0C-0F4952F9BA3B}"/>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6" name="Footer Placeholder 5">
            <a:extLst>
              <a:ext uri="{FF2B5EF4-FFF2-40B4-BE49-F238E27FC236}">
                <a16:creationId xmlns:a16="http://schemas.microsoft.com/office/drawing/2014/main" id="{D082DD79-21D3-4BF2-A488-6B341DEAC1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F8810B4-C162-4663-893C-0C3AE84CDFC4}"/>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10003485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86878-7B99-491B-BDA6-681DDD4E6D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C226F06-5CAE-4950-8674-D5FEC36917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6C9096A-5865-4D46-AF33-1A13A2CE935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BF9E80-537C-427E-BE67-46A50B1F69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8D98D4-11D6-413D-B4EA-6100EDFA905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3EFF180-1D4D-4B8D-AE96-57B117A56DB1}"/>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8" name="Footer Placeholder 7">
            <a:extLst>
              <a:ext uri="{FF2B5EF4-FFF2-40B4-BE49-F238E27FC236}">
                <a16:creationId xmlns:a16="http://schemas.microsoft.com/office/drawing/2014/main" id="{B9B615F7-2F7B-4843-82E0-27B4F2FCF64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BC6DC03-0755-472F-BA01-306A821A8839}"/>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41699672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C4EF4-7F98-482E-95B5-A0944F65371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7A335BD-46FE-4D0B-B21D-0FB8D12C7DE3}"/>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4" name="Footer Placeholder 3">
            <a:extLst>
              <a:ext uri="{FF2B5EF4-FFF2-40B4-BE49-F238E27FC236}">
                <a16:creationId xmlns:a16="http://schemas.microsoft.com/office/drawing/2014/main" id="{9CFCF3B8-13C6-4FC3-8D99-FB4AF1021E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6F8F500-4D1A-4BA6-A70B-3D5FAA23A2F2}"/>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22091891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A4EE69-E2CD-46E9-8111-9B7E7097B0CB}"/>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3" name="Footer Placeholder 2">
            <a:extLst>
              <a:ext uri="{FF2B5EF4-FFF2-40B4-BE49-F238E27FC236}">
                <a16:creationId xmlns:a16="http://schemas.microsoft.com/office/drawing/2014/main" id="{4C5C3B54-665B-467A-9809-E107ABE490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472A42D-174F-4F52-8E73-E994EABEFC67}"/>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3659194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9A102-0953-4B82-BEAD-A1B0AFED82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CDDAB6-ED46-4FE2-B6E5-84E93D99C1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EBBF8D2-738B-4C77-AFB3-54C1322EB8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40A9F5-5E08-48D0-83B2-EADAF41770B6}"/>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6" name="Footer Placeholder 5">
            <a:extLst>
              <a:ext uri="{FF2B5EF4-FFF2-40B4-BE49-F238E27FC236}">
                <a16:creationId xmlns:a16="http://schemas.microsoft.com/office/drawing/2014/main" id="{CE8067C6-BFB3-48F1-B032-E43A32E758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BE10E3-760E-49D4-AE8E-60824CCE3022}"/>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37648096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EC426-6E45-4ECE-9D1C-98FAD99C5A8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BC04427-B984-4BC0-8B86-98DB6A9D56C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70125D7-D932-49CC-A095-BA8027E276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0D4D38-0B04-4ED6-8D11-38FDEEF31DA6}"/>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6" name="Footer Placeholder 5">
            <a:extLst>
              <a:ext uri="{FF2B5EF4-FFF2-40B4-BE49-F238E27FC236}">
                <a16:creationId xmlns:a16="http://schemas.microsoft.com/office/drawing/2014/main" id="{314A5601-2BA0-42FA-BEBC-A2EFB14C1E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1A8818-7997-4717-BD3B-68CDFC6581B3}"/>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22163939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D0D0D"/>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A09A67-B572-3244-A390-08310CB2B9AA}"/>
              </a:ext>
            </a:extLst>
          </p:cNvPr>
          <p:cNvPicPr>
            <a:picLocks noChangeAspect="1"/>
          </p:cNvPicPr>
          <p:nvPr userDrawn="1"/>
        </p:nvPicPr>
        <p:blipFill>
          <a:blip r:embed="rId2"/>
          <a:srcRect/>
          <a:stretch/>
        </p:blipFill>
        <p:spPr>
          <a:xfrm>
            <a:off x="0" y="0"/>
            <a:ext cx="12192000" cy="6858000"/>
          </a:xfrm>
          <a:prstGeom prst="rect">
            <a:avLst/>
          </a:prstGeom>
        </p:spPr>
      </p:pic>
      <p:sp>
        <p:nvSpPr>
          <p:cNvPr id="9" name="Title 1"/>
          <p:cNvSpPr>
            <a:spLocks noGrp="1"/>
          </p:cNvSpPr>
          <p:nvPr>
            <p:ph type="title" hasCustomPrompt="1"/>
          </p:nvPr>
        </p:nvSpPr>
        <p:spPr>
          <a:xfrm>
            <a:off x="501754" y="2875002"/>
            <a:ext cx="9144000" cy="553998"/>
          </a:xfrm>
          <a:noFill/>
        </p:spPr>
        <p:txBody>
          <a:bodyPr lIns="0" tIns="0" rIns="0" bIns="0" anchor="b" anchorCtr="0">
            <a:spAutoFit/>
          </a:bodyPr>
          <a:lstStyle>
            <a:lvl1pPr algn="l">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01754" y="3800474"/>
            <a:ext cx="9144000" cy="307777"/>
          </a:xfrm>
          <a:noFill/>
        </p:spPr>
        <p:txBody>
          <a:bodyPr wrap="square" lIns="0" tIns="0" rIns="0" bIns="0">
            <a:spAutoFit/>
          </a:bodyPr>
          <a:lstStyle>
            <a:lvl1pPr marL="0" indent="0" algn="l">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93850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userDrawn="1">
          <p15:clr>
            <a:srgbClr val="5ACBF0"/>
          </p15:clr>
        </p15:guide>
        <p15:guide id="2" orient="horz" pos="2496" userDrawn="1">
          <p15:clr>
            <a:srgbClr val="5ACBF0"/>
          </p15:clr>
        </p15:guide>
        <p15:guide id="3" pos="6132" userDrawn="1">
          <p15:clr>
            <a:srgbClr val="5ACBF0"/>
          </p15:clr>
        </p15:guide>
        <p15:guide id="4"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6EF9E-374C-4400-92C1-7F9E43F5FB1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9FA0A8-FDA7-47CE-B438-56467D5E426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3C1A30-8638-4063-B429-A591F6C91364}"/>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5" name="Footer Placeholder 4">
            <a:extLst>
              <a:ext uri="{FF2B5EF4-FFF2-40B4-BE49-F238E27FC236}">
                <a16:creationId xmlns:a16="http://schemas.microsoft.com/office/drawing/2014/main" id="{B623D524-2830-41DF-80B8-10B9960D9F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0E8EDF-6105-45FF-8F77-79ACCDB8689B}"/>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35235990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67045E8-94EA-4EE5-B756-08C2A8C3A3C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243FEF0-91BB-4644-A15E-0B67AFA502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9DA778-8503-4FE9-AE39-814218721A8A}"/>
              </a:ext>
            </a:extLst>
          </p:cNvPr>
          <p:cNvSpPr>
            <a:spLocks noGrp="1"/>
          </p:cNvSpPr>
          <p:nvPr>
            <p:ph type="dt" sz="half" idx="10"/>
          </p:nvPr>
        </p:nvSpPr>
        <p:spPr/>
        <p:txBody>
          <a:bodyPr/>
          <a:lstStyle/>
          <a:p>
            <a:fld id="{44C7B3C9-5481-4AD9-B3AF-5D6F5B5CEDE1}" type="datetimeFigureOut">
              <a:rPr lang="en-US" smtClean="0"/>
              <a:t>10/26/2022</a:t>
            </a:fld>
            <a:endParaRPr lang="en-US"/>
          </a:p>
        </p:txBody>
      </p:sp>
      <p:sp>
        <p:nvSpPr>
          <p:cNvPr id="5" name="Footer Placeholder 4">
            <a:extLst>
              <a:ext uri="{FF2B5EF4-FFF2-40B4-BE49-F238E27FC236}">
                <a16:creationId xmlns:a16="http://schemas.microsoft.com/office/drawing/2014/main" id="{5AD32418-37D4-4D6B-9386-746C5A89BF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420486-81E5-42FD-9EA1-E1F3F7FFF384}"/>
              </a:ext>
            </a:extLst>
          </p:cNvPr>
          <p:cNvSpPr>
            <a:spLocks noGrp="1"/>
          </p:cNvSpPr>
          <p:nvPr>
            <p:ph type="sldNum" sz="quarter" idx="12"/>
          </p:nvPr>
        </p:nvSpPr>
        <p:spPr/>
        <p:txBody>
          <a:bodyPr/>
          <a:lstStyle/>
          <a:p>
            <a:fld id="{84D3EA2B-B302-4851-B362-90A7E205E45F}" type="slidenum">
              <a:rPr lang="en-US" smtClean="0"/>
              <a:t>‹#›</a:t>
            </a:fld>
            <a:endParaRPr lang="en-US"/>
          </a:p>
        </p:txBody>
      </p:sp>
    </p:spTree>
    <p:extLst>
      <p:ext uri="{BB962C8B-B14F-4D97-AF65-F5344CB8AC3E}">
        <p14:creationId xmlns:p14="http://schemas.microsoft.com/office/powerpoint/2010/main" val="18624553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168227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square photo">
    <p:bg>
      <p:bgPr>
        <a:solidFill>
          <a:srgbClr val="243A5E"/>
        </a:solidFill>
        <a:effectLst/>
      </p:bgPr>
    </p:bg>
    <p:spTree>
      <p:nvGrpSpPr>
        <p:cNvPr id="1" name=""/>
        <p:cNvGrpSpPr/>
        <p:nvPr/>
      </p:nvGrpSpPr>
      <p:grpSpPr>
        <a:xfrm>
          <a:off x="0" y="0"/>
          <a:ext cx="0" cy="0"/>
          <a:chOff x="0" y="0"/>
          <a:chExt cx="0" cy="0"/>
        </a:xfrm>
      </p:grpSpPr>
      <p:pic>
        <p:nvPicPr>
          <p:cNvPr id="6" name="Picture 2" descr="EDU20_K12device_009">
            <a:extLst>
              <a:ext uri="{FF2B5EF4-FFF2-40B4-BE49-F238E27FC236}">
                <a16:creationId xmlns:a16="http://schemas.microsoft.com/office/drawing/2014/main" id="{A19EE5B0-089F-4998-BC52-CE5DD0009A1B}"/>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 r="29934"/>
          <a:stretch/>
        </p:blipFill>
        <p:spPr bwMode="auto">
          <a:xfrm flipH="1">
            <a:off x="4984377" y="0"/>
            <a:ext cx="7207623"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1613011"/>
            <a:ext cx="4167887" cy="1920526"/>
          </a:xfrm>
        </p:spPr>
        <p:txBody>
          <a:bodyPr anchor="b" anchorCtr="0">
            <a:spAutoFit/>
          </a:bodyPr>
          <a:lstStyle>
            <a:lvl1pPr>
              <a:defRPr>
                <a:solidFill>
                  <a:srgbClr val="50E6FF"/>
                </a:solidFill>
                <a:latin typeface="Segoe UI Semilight" panose="020B0402040204020203" pitchFamily="34" charset="0"/>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0"/>
            <a:ext cx="4164583" cy="304699"/>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stStyle>
          <a:p>
            <a:pPr lvl="0"/>
            <a:r>
              <a:rPr lang="en-US"/>
              <a:t>Speaker name or subtitle</a:t>
            </a:r>
          </a:p>
        </p:txBody>
      </p:sp>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3"/>
          <a:stretch>
            <a:fillRect/>
          </a:stretch>
        </p:blipFill>
        <p:spPr bwMode="black">
          <a:xfrm>
            <a:off x="584201" y="585788"/>
            <a:ext cx="1366245" cy="292608"/>
          </a:xfrm>
          <a:prstGeom prst="rect">
            <a:avLst/>
          </a:prstGeom>
        </p:spPr>
      </p:pic>
      <p:pic>
        <p:nvPicPr>
          <p:cNvPr id="3" name="Picture 2" descr="A person sitting at a table using a computer&#10;&#10;Description automatically generated">
            <a:extLst>
              <a:ext uri="{FF2B5EF4-FFF2-40B4-BE49-F238E27FC236}">
                <a16:creationId xmlns:a16="http://schemas.microsoft.com/office/drawing/2014/main" id="{6E64A7D4-CCFE-4291-A75F-7F30E51558C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40882" t="7796" b="7796"/>
          <a:stretch/>
        </p:blipFill>
        <p:spPr>
          <a:xfrm>
            <a:off x="4984377" y="0"/>
            <a:ext cx="7207623" cy="6858000"/>
          </a:xfrm>
          <a:prstGeom prst="rect">
            <a:avLst/>
          </a:prstGeom>
        </p:spPr>
      </p:pic>
    </p:spTree>
    <p:extLst>
      <p:ext uri="{BB962C8B-B14F-4D97-AF65-F5344CB8AC3E}">
        <p14:creationId xmlns:p14="http://schemas.microsoft.com/office/powerpoint/2010/main" val="26466796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15440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6">
    <p:spTree>
      <p:nvGrpSpPr>
        <p:cNvPr id="1" name=""/>
        <p:cNvGrpSpPr/>
        <p:nvPr/>
      </p:nvGrpSpPr>
      <p:grpSpPr>
        <a:xfrm>
          <a:off x="0" y="0"/>
          <a:ext cx="0" cy="0"/>
          <a:chOff x="0" y="0"/>
          <a:chExt cx="0" cy="0"/>
        </a:xfrm>
      </p:grpSpPr>
      <p:sp>
        <p:nvSpPr>
          <p:cNvPr id="6" name="Bild"/>
          <p:cNvSpPr>
            <a:spLocks noGrp="1"/>
          </p:cNvSpPr>
          <p:nvPr>
            <p:ph type="pic" sz="quarter" idx="19"/>
          </p:nvPr>
        </p:nvSpPr>
        <p:spPr>
          <a:xfrm>
            <a:off x="4363542" y="0"/>
            <a:ext cx="5016500" cy="6858000"/>
          </a:xfrm>
          <a:prstGeom prst="rect">
            <a:avLst/>
          </a:prstGeom>
          <a:pattFill prst="pct5">
            <a:fgClr>
              <a:schemeClr val="accent1"/>
            </a:fgClr>
            <a:bgClr>
              <a:schemeClr val="bg1">
                <a:lumMod val="95000"/>
              </a:schemeClr>
            </a:bgClr>
          </a:pattFill>
        </p:spPr>
        <p:txBody>
          <a:bodyPr lIns="91439" tIns="45719" rIns="91439" bIns="45719" anchor="t">
            <a:noAutofit/>
          </a:bodyPr>
          <a:lstStyle/>
          <a:p>
            <a:endParaRPr/>
          </a:p>
        </p:txBody>
      </p:sp>
      <p:sp>
        <p:nvSpPr>
          <p:cNvPr id="413" name="Foliennummer"/>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43710084"/>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18178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tx2"/>
        </a:solidFill>
        <a:effectLst/>
      </p:bgPr>
    </p:bg>
    <p:spTree>
      <p:nvGrpSpPr>
        <p:cNvPr id="1" name=""/>
        <p:cNvGrpSpPr/>
        <p:nvPr/>
      </p:nvGrpSpPr>
      <p:grpSpPr>
        <a:xfrm>
          <a:off x="0" y="0"/>
          <a:ext cx="0" cy="0"/>
          <a:chOff x="0" y="0"/>
          <a:chExt cx="0" cy="0"/>
        </a:xfrm>
      </p:grpSpPr>
      <p:pic>
        <p:nvPicPr>
          <p:cNvPr id="5" name="Picture 4" descr="The Golden gate bridge illuminated at night ">
            <a:extLst>
              <a:ext uri="{FF2B5EF4-FFF2-40B4-BE49-F238E27FC236}">
                <a16:creationId xmlns:a16="http://schemas.microsoft.com/office/drawing/2014/main" id="{DCA925EA-A74D-1D42-AA55-CEBA35F4E32F}"/>
              </a:ext>
              <a:ext uri="{C183D7F6-B498-43B3-948B-1728B52AA6E4}">
                <adec:decorative xmlns:adec="http://schemas.microsoft.com/office/drawing/2017/decorative" val="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3" name="Group 2">
            <a:extLst>
              <a:ext uri="{FF2B5EF4-FFF2-40B4-BE49-F238E27FC236}">
                <a16:creationId xmlns:a16="http://schemas.microsoft.com/office/drawing/2014/main" id="{62B7002A-CF12-44F8-A81A-0978FF3E5A7E}"/>
              </a:ext>
              <a:ext uri="{C183D7F6-B498-43B3-948B-1728B52AA6E4}">
                <adec:decorative xmlns:adec="http://schemas.microsoft.com/office/drawing/2017/decorative" val="1"/>
              </a:ext>
            </a:extLst>
          </p:cNvPr>
          <p:cNvGrpSpPr/>
          <p:nvPr userDrawn="1"/>
        </p:nvGrpSpPr>
        <p:grpSpPr>
          <a:xfrm>
            <a:off x="-2" y="-418"/>
            <a:ext cx="12192002" cy="6858419"/>
            <a:chOff x="-2" y="-418"/>
            <a:chExt cx="12192002" cy="6858419"/>
          </a:xfrm>
        </p:grpSpPr>
        <p:sp>
          <p:nvSpPr>
            <p:cNvPr id="11" name="Rectangle 10">
              <a:extLst>
                <a:ext uri="{FF2B5EF4-FFF2-40B4-BE49-F238E27FC236}">
                  <a16:creationId xmlns:a16="http://schemas.microsoft.com/office/drawing/2014/main" id="{FB6A7679-CD12-264F-8D68-C04698BD1C02}"/>
                </a:ext>
                <a:ext uri="{C183D7F6-B498-43B3-948B-1728B52AA6E4}">
                  <adec:decorative xmlns:adec="http://schemas.microsoft.com/office/drawing/2017/decorative" val="1"/>
                </a:ext>
              </a:extLst>
            </p:cNvPr>
            <p:cNvSpPr/>
            <p:nvPr userDrawn="1"/>
          </p:nvSpPr>
          <p:spPr bwMode="auto">
            <a:xfrm>
              <a:off x="3614509" y="-418"/>
              <a:ext cx="8577491" cy="6858000"/>
            </a:xfrm>
            <a:prstGeom prst="rect">
              <a:avLst/>
            </a:prstGeom>
            <a:gradFill>
              <a:gsLst>
                <a:gs pos="68000">
                  <a:schemeClr val="bg1">
                    <a:alpha val="45000"/>
                  </a:schemeClr>
                </a:gs>
                <a:gs pos="0">
                  <a:schemeClr val="tx1">
                    <a:alpha val="0"/>
                  </a:schemeClr>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A9CEB608-0900-4220-A4A5-6730BBDCE2F2}"/>
                </a:ext>
                <a:ext uri="{C183D7F6-B498-43B3-948B-1728B52AA6E4}">
                  <adec:decorative xmlns:adec="http://schemas.microsoft.com/office/drawing/2017/decorative" val="1"/>
                </a:ext>
              </a:extLst>
            </p:cNvPr>
            <p:cNvSpPr/>
            <p:nvPr userDrawn="1"/>
          </p:nvSpPr>
          <p:spPr bwMode="auto">
            <a:xfrm>
              <a:off x="5394960" y="3318235"/>
              <a:ext cx="6797040" cy="3539765"/>
            </a:xfrm>
            <a:prstGeom prst="rect">
              <a:avLst/>
            </a:prstGeom>
            <a:gradFill>
              <a:gsLst>
                <a:gs pos="41000">
                  <a:srgbClr val="000000">
                    <a:alpha val="22000"/>
                  </a:srgbClr>
                </a:gs>
                <a:gs pos="0">
                  <a:schemeClr val="bg1">
                    <a:alpha val="0"/>
                  </a:schemeClr>
                </a:gs>
                <a:gs pos="100000">
                  <a:schemeClr val="bg1">
                    <a:alpha val="85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 name="Rectangle 11">
              <a:extLst>
                <a:ext uri="{FF2B5EF4-FFF2-40B4-BE49-F238E27FC236}">
                  <a16:creationId xmlns:a16="http://schemas.microsoft.com/office/drawing/2014/main" id="{9320F6BE-ABC5-4EF8-952B-C5E297BB94B1}"/>
                </a:ext>
                <a:ext uri="{C183D7F6-B498-43B3-948B-1728B52AA6E4}">
                  <adec:decorative xmlns:adec="http://schemas.microsoft.com/office/drawing/2017/decorative" val="1"/>
                </a:ext>
              </a:extLst>
            </p:cNvPr>
            <p:cNvSpPr/>
            <p:nvPr userDrawn="1"/>
          </p:nvSpPr>
          <p:spPr bwMode="auto">
            <a:xfrm flipH="1">
              <a:off x="-2" y="-1"/>
              <a:ext cx="4648198" cy="6858002"/>
            </a:xfrm>
            <a:prstGeom prst="rect">
              <a:avLst/>
            </a:prstGeom>
            <a:gradFill>
              <a:gsLst>
                <a:gs pos="41000">
                  <a:srgbClr val="000000">
                    <a:alpha val="22000"/>
                  </a:srgbClr>
                </a:gs>
                <a:gs pos="0">
                  <a:schemeClr val="bg1">
                    <a:alpha val="0"/>
                  </a:schemeClr>
                </a:gs>
                <a:gs pos="100000">
                  <a:schemeClr val="bg1">
                    <a:alpha val="85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Rectangle 1">
            <a:extLst>
              <a:ext uri="{FF2B5EF4-FFF2-40B4-BE49-F238E27FC236}">
                <a16:creationId xmlns:a16="http://schemas.microsoft.com/office/drawing/2014/main" id="{4C5C4687-7859-D044-817A-4562925B6B94}"/>
              </a:ext>
              <a:ext uri="{C183D7F6-B498-43B3-948B-1728B52AA6E4}">
                <adec:decorative xmlns:adec="http://schemas.microsoft.com/office/drawing/2017/decorative" val="1"/>
              </a:ext>
            </a:extLst>
          </p:cNvPr>
          <p:cNvSpPr/>
          <p:nvPr userDrawn="1"/>
        </p:nvSpPr>
        <p:spPr bwMode="auto">
          <a:xfrm>
            <a:off x="6096000" y="3318235"/>
            <a:ext cx="6096000" cy="226243"/>
          </a:xfrm>
          <a:prstGeom prst="rect">
            <a:avLst/>
          </a:pr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14" name="Title 2">
            <a:extLst>
              <a:ext uri="{FF2B5EF4-FFF2-40B4-BE49-F238E27FC236}">
                <a16:creationId xmlns:a16="http://schemas.microsoft.com/office/drawing/2014/main" id="{FC4F5691-A5DB-4223-A5B1-05F087EB3961}"/>
              </a:ext>
            </a:extLst>
          </p:cNvPr>
          <p:cNvSpPr>
            <a:spLocks noGrp="1"/>
          </p:cNvSpPr>
          <p:nvPr>
            <p:ph type="title" hasCustomPrompt="1"/>
          </p:nvPr>
        </p:nvSpPr>
        <p:spPr>
          <a:xfrm>
            <a:off x="6095998" y="986820"/>
            <a:ext cx="4648200" cy="2279835"/>
          </a:xfrm>
        </p:spPr>
        <p:txBody>
          <a:bodyPr anchor="b">
            <a:noAutofit/>
          </a:bodyPr>
          <a:lstStyle>
            <a:lvl1pPr>
              <a:defRPr sz="3600"/>
            </a:lvl1pPr>
          </a:lstStyle>
          <a:p>
            <a:r>
              <a:rPr lang="en-US"/>
              <a:t>Event name or Presentation title</a:t>
            </a:r>
          </a:p>
        </p:txBody>
      </p:sp>
      <p:sp>
        <p:nvSpPr>
          <p:cNvPr id="15" name="Text Placeholder 2">
            <a:extLst>
              <a:ext uri="{FF2B5EF4-FFF2-40B4-BE49-F238E27FC236}">
                <a16:creationId xmlns:a16="http://schemas.microsoft.com/office/drawing/2014/main" id="{E78F0C23-4D22-40D7-B72B-4D51667FF668}"/>
              </a:ext>
            </a:extLst>
          </p:cNvPr>
          <p:cNvSpPr>
            <a:spLocks noGrp="1"/>
          </p:cNvSpPr>
          <p:nvPr>
            <p:ph type="body" sz="quarter" idx="12" hasCustomPrompt="1"/>
          </p:nvPr>
        </p:nvSpPr>
        <p:spPr>
          <a:xfrm>
            <a:off x="6096000" y="3595848"/>
            <a:ext cx="4648200" cy="276999"/>
          </a:xfrm>
        </p:spPr>
        <p:txBody>
          <a:bodyPr/>
          <a:lstStyle>
            <a:lvl1pPr marL="0" indent="0">
              <a:buFontTx/>
              <a:buNone/>
              <a:defRPr sz="1800"/>
            </a:lvl1pPr>
          </a:lstStyle>
          <a:p>
            <a:r>
              <a:rPr lang="en-US"/>
              <a:t>Speaker Name or </a:t>
            </a:r>
            <a:r>
              <a:rPr lang="en-US" err="1"/>
              <a:t>subtilte</a:t>
            </a:r>
            <a:endParaRPr lang="en-US"/>
          </a:p>
        </p:txBody>
      </p:sp>
      <p:pic>
        <p:nvPicPr>
          <p:cNvPr id="7" name="Picture 6" descr="Microsoft logo white text version">
            <a:extLst>
              <a:ext uri="{FF2B5EF4-FFF2-40B4-BE49-F238E27FC236}">
                <a16:creationId xmlns:a16="http://schemas.microsoft.com/office/drawing/2014/main" id="{F47C80E3-9EE8-474B-B460-8FCB659F5EB0}"/>
              </a:ext>
            </a:extLst>
          </p:cNvPr>
          <p:cNvPicPr>
            <a:picLocks noChangeAspect="1"/>
          </p:cNvPicPr>
          <p:nvPr userDrawn="1"/>
        </p:nvPicPr>
        <p:blipFill>
          <a:blip r:embed="rId3"/>
          <a:stretch>
            <a:fillRect/>
          </a:stretch>
        </p:blipFill>
        <p:spPr>
          <a:xfrm>
            <a:off x="126243" y="2759700"/>
            <a:ext cx="2979002" cy="1337764"/>
          </a:xfrm>
          <a:prstGeom prst="rect">
            <a:avLst/>
          </a:prstGeom>
        </p:spPr>
      </p:pic>
      <p:sp>
        <p:nvSpPr>
          <p:cNvPr id="13" name="Title 1">
            <a:extLst>
              <a:ext uri="{FF2B5EF4-FFF2-40B4-BE49-F238E27FC236}">
                <a16:creationId xmlns:a16="http://schemas.microsoft.com/office/drawing/2014/main" id="{EE2BF0FC-0845-4F63-BBEF-9BE6F56DA069}"/>
              </a:ext>
            </a:extLst>
          </p:cNvPr>
          <p:cNvSpPr txBox="1">
            <a:spLocks/>
          </p:cNvSpPr>
          <p:nvPr userDrawn="1"/>
        </p:nvSpPr>
        <p:spPr>
          <a:xfrm>
            <a:off x="2641919" y="6416168"/>
            <a:ext cx="7772400" cy="533400"/>
          </a:xfrm>
          <a:prstGeom prst="rect">
            <a:avLst/>
          </a:prstGeom>
        </p:spPr>
        <p:txBody>
          <a:bodyPr/>
          <a:lstStyle>
            <a:lvl1pPr algn="l" defTabSz="582930" rtl="0" eaLnBrk="1" latinLnBrk="0" hangingPunct="1">
              <a:lnSpc>
                <a:spcPct val="90000"/>
              </a:lnSpc>
              <a:spcBef>
                <a:spcPct val="0"/>
              </a:spcBef>
              <a:buNone/>
              <a:defRPr sz="2805" kern="1200">
                <a:solidFill>
                  <a:schemeClr val="tx1"/>
                </a:solidFill>
                <a:latin typeface="+mj-lt"/>
                <a:ea typeface="+mj-ea"/>
                <a:cs typeface="+mj-cs"/>
              </a:defRPr>
            </a:lvl1pPr>
          </a:lstStyle>
          <a:p>
            <a:pPr algn="ctr"/>
            <a:r>
              <a:rPr lang="en-US" sz="800">
                <a:solidFill>
                  <a:schemeClr val="tx1"/>
                </a:solidFill>
                <a:latin typeface="Segoe UI" panose="020B0502040204020203" pitchFamily="34" charset="0"/>
                <a:cs typeface="Segoe UI" panose="020B0502040204020203" pitchFamily="34" charset="0"/>
              </a:rPr>
              <a:t>2022 © Microsoft Corporation. All rights reserved. </a:t>
            </a:r>
            <a:br>
              <a:rPr lang="en-US" sz="800">
                <a:solidFill>
                  <a:schemeClr val="tx1"/>
                </a:solidFill>
                <a:latin typeface="Segoe UI" panose="020B0502040204020203" pitchFamily="34" charset="0"/>
                <a:cs typeface="Segoe UI" panose="020B0502040204020203" pitchFamily="34" charset="0"/>
              </a:rPr>
            </a:br>
            <a:r>
              <a:rPr lang="en-US" sz="800">
                <a:solidFill>
                  <a:schemeClr val="tx1"/>
                </a:solidFill>
                <a:latin typeface="Segoe UI" panose="020B0502040204020203" pitchFamily="34" charset="0"/>
                <a:cs typeface="Segoe UI" panose="020B0502040204020203" pitchFamily="34" charset="0"/>
              </a:rPr>
              <a:t>This presentation is for informational purposes only. </a:t>
            </a:r>
            <a:br>
              <a:rPr lang="en-US" sz="800">
                <a:solidFill>
                  <a:schemeClr val="tx1"/>
                </a:solidFill>
                <a:latin typeface="Segoe UI" panose="020B0502040204020203" pitchFamily="34" charset="0"/>
                <a:cs typeface="Segoe UI" panose="020B0502040204020203" pitchFamily="34" charset="0"/>
              </a:rPr>
            </a:br>
            <a:r>
              <a:rPr lang="en-US" sz="800">
                <a:solidFill>
                  <a:schemeClr val="tx1"/>
                </a:solidFill>
                <a:latin typeface="Segoe UI" panose="020B0502040204020203" pitchFamily="34" charset="0"/>
                <a:cs typeface="Segoe UI" panose="020B0502040204020203" pitchFamily="34" charset="0"/>
              </a:rPr>
              <a:t>MICROSOFT MAKES NO WARRANTIES, EXPRESS OR IMPLIED, IN THIS SUMMARY</a:t>
            </a:r>
            <a:br>
              <a:rPr lang="en-US" sz="800">
                <a:solidFill>
                  <a:schemeClr val="tx1"/>
                </a:solidFill>
                <a:latin typeface="Segoe UI" panose="020B0502040204020203" pitchFamily="34" charset="0"/>
                <a:cs typeface="Segoe UI" panose="020B0502040204020203" pitchFamily="34" charset="0"/>
              </a:rPr>
            </a:br>
            <a:endParaRPr lang="en-US" sz="800">
              <a:solidFill>
                <a:schemeClr val="tx1"/>
              </a:solidFill>
            </a:endParaRPr>
          </a:p>
        </p:txBody>
      </p:sp>
    </p:spTree>
    <p:extLst>
      <p:ext uri="{BB962C8B-B14F-4D97-AF65-F5344CB8AC3E}">
        <p14:creationId xmlns:p14="http://schemas.microsoft.com/office/powerpoint/2010/main" val="653411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1">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381000" y="457200"/>
            <a:ext cx="11430000" cy="553998"/>
          </a:xfrm>
        </p:spPr>
        <p:txBody>
          <a:bodyPr anchor="t"/>
          <a:lstStyle>
            <a:lvl1pPr>
              <a:defRPr>
                <a:solidFill>
                  <a:schemeClr val="tx1"/>
                </a:solidFill>
              </a:defRPr>
            </a:lvl1pPr>
          </a:lstStyle>
          <a:p>
            <a:r>
              <a:rPr lang="en-US"/>
              <a:t>Click to edit Master title style</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Freeform: Shape 6">
            <a:extLst>
              <a:ext uri="{FF2B5EF4-FFF2-40B4-BE49-F238E27FC236}">
                <a16:creationId xmlns:a16="http://schemas.microsoft.com/office/drawing/2014/main" id="{12459C84-37BE-4847-8FEC-294FA2757DD2}"/>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14251336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Four Column Bullet with Subtitl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138DE4-BAE7-4915-9E11-FB061A6C1E5B}"/>
              </a:ext>
            </a:extLst>
          </p:cNvPr>
          <p:cNvSpPr>
            <a:spLocks noGrp="1"/>
          </p:cNvSpPr>
          <p:nvPr>
            <p:ph type="title"/>
          </p:nvPr>
        </p:nvSpPr>
        <p:spPr/>
        <p:txBody>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381000" y="1438275"/>
            <a:ext cx="2623795"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381000" y="2283115"/>
            <a:ext cx="2623795" cy="1969770"/>
          </a:xfrm>
        </p:spPr>
        <p:txBody>
          <a:bodyPr wrap="square">
            <a:spAutoFit/>
          </a:bodyPr>
          <a:lstStyle>
            <a:lvl1pPr marL="141288" indent="-141288">
              <a:spcAft>
                <a:spcPts val="600"/>
              </a:spcAft>
              <a:defRPr lang="en-US" sz="1800" dirty="0"/>
            </a:lvl1pPr>
            <a:lvl2pPr marL="457200" indent="-179388">
              <a:spcAft>
                <a:spcPts val="600"/>
              </a:spcAft>
              <a:defRPr lang="en-US" sz="1600" dirty="0"/>
            </a:lvl2pPr>
            <a:lvl3pPr marL="438150" indent="-133350">
              <a:spcAft>
                <a:spcPts val="600"/>
              </a:spcAft>
              <a:defRPr lang="en-US" dirty="0"/>
            </a:lvl3pPr>
            <a:lvl4pPr marL="566738" indent="-114300">
              <a:spcAft>
                <a:spcPts val="600"/>
              </a:spcAft>
              <a:defRPr lang="en-US" dirty="0"/>
            </a:lvl4pPr>
            <a:lvl5pPr marL="685800" indent="-109538">
              <a:spcAft>
                <a:spcPts val="600"/>
              </a:spcAft>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314966" y="1438275"/>
            <a:ext cx="2625439"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315557" y="2276475"/>
            <a:ext cx="2623795" cy="1969770"/>
          </a:xfrm>
        </p:spPr>
        <p:txBody>
          <a:bodyPr wrap="square">
            <a:spAutoFit/>
          </a:bodyPr>
          <a:lstStyle>
            <a:lvl1pPr marL="141288" indent="-141288">
              <a:spcAft>
                <a:spcPts val="600"/>
              </a:spcAft>
              <a:defRPr lang="en-US" sz="1800" dirty="0"/>
            </a:lvl1pPr>
            <a:lvl2pPr marL="457200" indent="-179388">
              <a:spcAft>
                <a:spcPts val="600"/>
              </a:spcAft>
              <a:defRPr lang="en-US" sz="1600" dirty="0"/>
            </a:lvl2pPr>
            <a:lvl3pPr marL="438150" indent="-133350">
              <a:spcAft>
                <a:spcPts val="600"/>
              </a:spcAft>
              <a:defRPr lang="en-US" dirty="0"/>
            </a:lvl3pPr>
            <a:lvl4pPr marL="566738" indent="-114300">
              <a:spcAft>
                <a:spcPts val="600"/>
              </a:spcAft>
              <a:defRPr lang="en-US" dirty="0"/>
            </a:lvl4pPr>
            <a:lvl5pPr marL="685800" indent="-109538">
              <a:spcAft>
                <a:spcPts val="600"/>
              </a:spcAft>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50576" y="1438275"/>
            <a:ext cx="2623795"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50114" y="2283115"/>
            <a:ext cx="2623795" cy="1969770"/>
          </a:xfrm>
        </p:spPr>
        <p:txBody>
          <a:bodyPr wrap="square">
            <a:spAutoFit/>
          </a:bodyPr>
          <a:lstStyle>
            <a:lvl1pPr marL="141288" indent="-141288">
              <a:spcAft>
                <a:spcPts val="600"/>
              </a:spcAft>
              <a:defRPr lang="en-US" sz="1800" dirty="0"/>
            </a:lvl1pPr>
            <a:lvl2pPr marL="457200" indent="-179388">
              <a:spcAft>
                <a:spcPts val="600"/>
              </a:spcAft>
              <a:defRPr lang="en-US" sz="1600" dirty="0"/>
            </a:lvl2pPr>
            <a:lvl3pPr marL="438150" indent="-133350">
              <a:spcAft>
                <a:spcPts val="600"/>
              </a:spcAft>
              <a:defRPr lang="en-US" dirty="0"/>
            </a:lvl3pPr>
            <a:lvl4pPr marL="566738" indent="-114300">
              <a:spcAft>
                <a:spcPts val="600"/>
              </a:spcAft>
              <a:defRPr lang="en-US" dirty="0"/>
            </a:lvl4pPr>
            <a:lvl5pPr marL="685800" indent="-109538">
              <a:spcAft>
                <a:spcPts val="600"/>
              </a:spcAft>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184543" y="1438275"/>
            <a:ext cx="2625439"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184670" y="2276475"/>
            <a:ext cx="2623795" cy="1969770"/>
          </a:xfrm>
        </p:spPr>
        <p:txBody>
          <a:bodyPr wrap="square">
            <a:spAutoFit/>
          </a:bodyPr>
          <a:lstStyle>
            <a:lvl1pPr marL="141288" indent="-141288">
              <a:spcAft>
                <a:spcPts val="600"/>
              </a:spcAft>
              <a:defRPr lang="en-US" sz="1800" dirty="0"/>
            </a:lvl1pPr>
            <a:lvl2pPr marL="457200" indent="-179388">
              <a:spcAft>
                <a:spcPts val="600"/>
              </a:spcAft>
              <a:defRPr lang="en-US" sz="1600" dirty="0"/>
            </a:lvl2pPr>
            <a:lvl3pPr marL="438150" indent="-133350">
              <a:spcAft>
                <a:spcPts val="600"/>
              </a:spcAft>
              <a:defRPr lang="en-US" dirty="0"/>
            </a:lvl3pPr>
            <a:lvl4pPr marL="566738" indent="-114300">
              <a:spcAft>
                <a:spcPts val="600"/>
              </a:spcAft>
              <a:defRPr lang="en-US" dirty="0"/>
            </a:lvl4pPr>
            <a:lvl5pPr marL="685800" indent="-109538">
              <a:spcAft>
                <a:spcPts val="600"/>
              </a:spcAft>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reeform: Shape 11">
            <a:extLst>
              <a:ext uri="{FF2B5EF4-FFF2-40B4-BE49-F238E27FC236}">
                <a16:creationId xmlns:a16="http://schemas.microsoft.com/office/drawing/2014/main" id="{CFF548A1-8A7A-4AA3-8C23-66218ADDF76A}"/>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84081877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B6B966-3A02-BF4C-B27A-9F3ACCE06A5C}"/>
              </a:ext>
            </a:extLst>
          </p:cNvPr>
          <p:cNvPicPr>
            <a:picLocks noChangeAspect="1"/>
          </p:cNvPicPr>
          <p:nvPr userDrawn="1"/>
        </p:nvPicPr>
        <p:blipFill>
          <a:blip r:embed="rId2"/>
          <a:src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E56DAC7C-182F-5C46-9807-19A6537E82FB}"/>
              </a:ext>
            </a:extLst>
          </p:cNvPr>
          <p:cNvSpPr>
            <a:spLocks noGrp="1"/>
          </p:cNvSpPr>
          <p:nvPr>
            <p:ph type="title" hasCustomPrompt="1"/>
          </p:nvPr>
        </p:nvSpPr>
        <p:spPr>
          <a:xfrm>
            <a:off x="584200" y="4454086"/>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dirty="0"/>
              <a:t>Event name or presentation title </a:t>
            </a:r>
          </a:p>
        </p:txBody>
      </p:sp>
      <p:sp>
        <p:nvSpPr>
          <p:cNvPr id="11" name="Text Placeholder 4">
            <a:extLst>
              <a:ext uri="{FF2B5EF4-FFF2-40B4-BE49-F238E27FC236}">
                <a16:creationId xmlns:a16="http://schemas.microsoft.com/office/drawing/2014/main" id="{BBA87077-B7AB-0647-8E46-A7ADECDA056F}"/>
              </a:ext>
            </a:extLst>
          </p:cNvPr>
          <p:cNvSpPr>
            <a:spLocks noGrp="1"/>
          </p:cNvSpPr>
          <p:nvPr>
            <p:ph type="body" sz="quarter" idx="12" hasCustomPrompt="1"/>
          </p:nvPr>
        </p:nvSpPr>
        <p:spPr>
          <a:xfrm>
            <a:off x="584200" y="5379558"/>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Four round photo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6CCD7CA-4A29-4B5A-9299-CE3769737794}"/>
              </a:ext>
            </a:extLst>
          </p:cNvPr>
          <p:cNvSpPr>
            <a:spLocks noGrp="1"/>
          </p:cNvSpPr>
          <p:nvPr>
            <p:ph type="title"/>
          </p:nvPr>
        </p:nvSpPr>
        <p:spPr/>
        <p:txBody>
          <a:body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0" name="Freeform: Shape 19">
            <a:extLst>
              <a:ext uri="{FF2B5EF4-FFF2-40B4-BE49-F238E27FC236}">
                <a16:creationId xmlns:a16="http://schemas.microsoft.com/office/drawing/2014/main" id="{1CCF2B0C-AD16-4502-8CEA-ACEE14D1FAF1}"/>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21676551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5" pos="182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381000" y="1435100"/>
            <a:ext cx="11425238" cy="1664045"/>
          </a:xfrm>
        </p:spPr>
        <p:txBody>
          <a:bodyPr/>
          <a:lstStyle>
            <a:lvl1pPr>
              <a:spcBef>
                <a:spcPts val="1200"/>
              </a:spcBef>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reeform: Shape 11">
            <a:extLst>
              <a:ext uri="{FF2B5EF4-FFF2-40B4-BE49-F238E27FC236}">
                <a16:creationId xmlns:a16="http://schemas.microsoft.com/office/drawing/2014/main" id="{7C73A5B4-C208-4BD9-9155-E6BA0BE91059}"/>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85186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with bar">
    <p:bg>
      <p:bgPr>
        <a:solidFill>
          <a:srgbClr val="FFFFFF"/>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D6D3E5-5F4F-4FB7-8B74-E695C6636C0B}"/>
              </a:ext>
            </a:extLst>
          </p:cNvPr>
          <p:cNvSpPr>
            <a:spLocks noGrp="1"/>
          </p:cNvSpPr>
          <p:nvPr>
            <p:ph type="title"/>
          </p:nvPr>
        </p:nvSpPr>
        <p:spPr/>
        <p:txBody>
          <a:bodyPr/>
          <a:lstStyle/>
          <a:p>
            <a:r>
              <a:rPr lang="en-US"/>
              <a:t>Click to edit Master title style</a:t>
            </a:r>
          </a:p>
        </p:txBody>
      </p:sp>
      <p:cxnSp>
        <p:nvCxnSpPr>
          <p:cNvPr id="7" name="Straight Connector 6">
            <a:extLst>
              <a:ext uri="{FF2B5EF4-FFF2-40B4-BE49-F238E27FC236}">
                <a16:creationId xmlns:a16="http://schemas.microsoft.com/office/drawing/2014/main" id="{8EDAE969-6DFB-AD4B-A4BB-4C9D04F1489D}"/>
              </a:ext>
              <a:ext uri="{C183D7F6-B498-43B3-948B-1728B52AA6E4}">
                <adec:decorative xmlns:adec="http://schemas.microsoft.com/office/drawing/2017/decorative" val="1"/>
              </a:ext>
            </a:extLst>
          </p:cNvPr>
          <p:cNvCxnSpPr>
            <a:cxnSpLocks/>
          </p:cNvCxnSpPr>
          <p:nvPr userDrawn="1"/>
        </p:nvCxnSpPr>
        <p:spPr>
          <a:xfrm>
            <a:off x="381000" y="1143000"/>
            <a:ext cx="11430000" cy="0"/>
          </a:xfrm>
          <a:prstGeom prst="line">
            <a:avLst/>
          </a:prstGeom>
          <a:ln w="25400" cap="sq">
            <a:gradFill>
              <a:gsLst>
                <a:gs pos="60000">
                  <a:srgbClr val="61C5BE"/>
                </a:gs>
                <a:gs pos="29000">
                  <a:srgbClr val="FFF200"/>
                </a:gs>
                <a:gs pos="100000">
                  <a:schemeClr val="accent5"/>
                </a:gs>
              </a:gsLst>
              <a:lin ang="0" scaled="0"/>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Freeform: Shape 8">
            <a:extLst>
              <a:ext uri="{FF2B5EF4-FFF2-40B4-BE49-F238E27FC236}">
                <a16:creationId xmlns:a16="http://schemas.microsoft.com/office/drawing/2014/main" id="{56FB0A30-03DB-4893-B1DF-E2A457407E56}"/>
              </a:ext>
              <a:ext uri="{C183D7F6-B498-43B3-948B-1728B52AA6E4}">
                <adec:decorative xmlns:adec="http://schemas.microsoft.com/office/drawing/2017/decorative" val="1"/>
              </a:ext>
            </a:extLst>
          </p:cNvPr>
          <p:cNvSpPr/>
          <p:nvPr userDrawn="1"/>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cs typeface="Segoe UI" pitchFamily="34" charset="0"/>
            </a:endParaRPr>
          </a:p>
        </p:txBody>
      </p:sp>
    </p:spTree>
    <p:extLst>
      <p:ext uri="{BB962C8B-B14F-4D97-AF65-F5344CB8AC3E}">
        <p14:creationId xmlns:p14="http://schemas.microsoft.com/office/powerpoint/2010/main" val="35373795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Header Line Blan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71691-F7B7-4463-B935-B649E7A19B97}"/>
              </a:ext>
            </a:extLst>
          </p:cNvPr>
          <p:cNvSpPr>
            <a:spLocks noGrp="1"/>
          </p:cNvSpPr>
          <p:nvPr>
            <p:ph type="title"/>
          </p:nvPr>
        </p:nvSpPr>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43B88945-A1B8-4956-AB83-E961A2C93E98}"/>
              </a:ext>
              <a:ext uri="{C183D7F6-B498-43B3-948B-1728B52AA6E4}">
                <adec:decorative xmlns:adec="http://schemas.microsoft.com/office/drawing/2017/decorative" val="1"/>
              </a:ext>
            </a:extLst>
          </p:cNvPr>
          <p:cNvCxnSpPr>
            <a:cxnSpLocks/>
          </p:cNvCxnSpPr>
          <p:nvPr userDrawn="1"/>
        </p:nvCxnSpPr>
        <p:spPr>
          <a:xfrm>
            <a:off x="381000" y="1143000"/>
            <a:ext cx="11430000" cy="0"/>
          </a:xfrm>
          <a:prstGeom prst="line">
            <a:avLst/>
          </a:prstGeom>
          <a:ln w="25400" cap="sq">
            <a:gradFill>
              <a:gsLst>
                <a:gs pos="60000">
                  <a:srgbClr val="61C5BE"/>
                </a:gs>
                <a:gs pos="29000">
                  <a:srgbClr val="FFF200"/>
                </a:gs>
                <a:gs pos="100000">
                  <a:schemeClr val="accent5"/>
                </a:gs>
              </a:gsLst>
              <a:lin ang="0" scaled="0"/>
            </a:gradFill>
            <a:miter lim="800000"/>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A7149627-4344-8C48-B568-35686403307E}"/>
              </a:ext>
            </a:extLst>
          </p:cNvPr>
          <p:cNvSpPr>
            <a:spLocks noGrp="1"/>
          </p:cNvSpPr>
          <p:nvPr>
            <p:ph type="body" sz="quarter" idx="10"/>
          </p:nvPr>
        </p:nvSpPr>
        <p:spPr>
          <a:xfrm>
            <a:off x="381000"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E22851BA-80AF-794F-B0BE-1575B984DF3F}"/>
              </a:ext>
            </a:extLst>
          </p:cNvPr>
          <p:cNvSpPr>
            <a:spLocks noGrp="1"/>
          </p:cNvSpPr>
          <p:nvPr>
            <p:ph type="body" sz="quarter" idx="11"/>
          </p:nvPr>
        </p:nvSpPr>
        <p:spPr>
          <a:xfrm>
            <a:off x="381000" y="2286000"/>
            <a:ext cx="2133600" cy="3986784"/>
          </a:xfr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spcBef>
                <a:spcPts val="600"/>
              </a:spcBef>
              <a:buFontTx/>
              <a:buNone/>
              <a:defRPr lang="en-US" sz="1200" kern="1200" dirty="0" smtClean="0">
                <a:solidFill>
                  <a:schemeClr val="tx1"/>
                </a:solidFill>
                <a:latin typeface="+mn-lt"/>
                <a:ea typeface="+mn-ea"/>
                <a:cs typeface="+mn-cs"/>
              </a:defRPr>
            </a:lvl2pPr>
            <a:lvl3pPr marL="171450" indent="-171450" algn="l" defTabSz="914367" rtl="0" eaLnBrk="1" latinLnBrk="0" hangingPunct="1">
              <a:spcBef>
                <a:spcPts val="300"/>
              </a:spcBef>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15" name="Text Placeholder 9">
            <a:extLst>
              <a:ext uri="{FF2B5EF4-FFF2-40B4-BE49-F238E27FC236}">
                <a16:creationId xmlns:a16="http://schemas.microsoft.com/office/drawing/2014/main" id="{B1A4445F-1B1A-C64D-A49F-C8C1D7FDDF98}"/>
              </a:ext>
            </a:extLst>
          </p:cNvPr>
          <p:cNvSpPr>
            <a:spLocks noGrp="1"/>
          </p:cNvSpPr>
          <p:nvPr>
            <p:ph type="body" sz="quarter" idx="12"/>
          </p:nvPr>
        </p:nvSpPr>
        <p:spPr>
          <a:xfrm>
            <a:off x="2709421"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16" name="Text Placeholder 11">
            <a:extLst>
              <a:ext uri="{FF2B5EF4-FFF2-40B4-BE49-F238E27FC236}">
                <a16:creationId xmlns:a16="http://schemas.microsoft.com/office/drawing/2014/main" id="{AC4E410E-F5E6-0440-B7BB-9149AA028BE0}"/>
              </a:ext>
            </a:extLst>
          </p:cNvPr>
          <p:cNvSpPr>
            <a:spLocks noGrp="1"/>
          </p:cNvSpPr>
          <p:nvPr>
            <p:ph type="body" sz="quarter" idx="13"/>
          </p:nvPr>
        </p:nvSpPr>
        <p:spPr>
          <a:xfrm>
            <a:off x="2709421" y="2286000"/>
            <a:ext cx="2133600" cy="3986784"/>
          </a:xfrm>
        </p:spPr>
        <p:txBody>
          <a:bodyPr>
            <a:noAutofit/>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17" name="Text Placeholder 9">
            <a:extLst>
              <a:ext uri="{FF2B5EF4-FFF2-40B4-BE49-F238E27FC236}">
                <a16:creationId xmlns:a16="http://schemas.microsoft.com/office/drawing/2014/main" id="{3641EBFA-B27C-3946-B7B1-8F727C5049D6}"/>
              </a:ext>
            </a:extLst>
          </p:cNvPr>
          <p:cNvSpPr>
            <a:spLocks noGrp="1"/>
          </p:cNvSpPr>
          <p:nvPr>
            <p:ph type="body" sz="quarter" idx="14"/>
          </p:nvPr>
        </p:nvSpPr>
        <p:spPr>
          <a:xfrm>
            <a:off x="5047268"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18" name="Text Placeholder 11">
            <a:extLst>
              <a:ext uri="{FF2B5EF4-FFF2-40B4-BE49-F238E27FC236}">
                <a16:creationId xmlns:a16="http://schemas.microsoft.com/office/drawing/2014/main" id="{71F938E2-A8B7-944D-A6CD-CD897CEB6911}"/>
              </a:ext>
            </a:extLst>
          </p:cNvPr>
          <p:cNvSpPr>
            <a:spLocks noGrp="1"/>
          </p:cNvSpPr>
          <p:nvPr>
            <p:ph type="body" sz="quarter" idx="15"/>
          </p:nvPr>
        </p:nvSpPr>
        <p:spPr>
          <a:xfrm>
            <a:off x="5047268" y="2286000"/>
            <a:ext cx="2133600" cy="3983038"/>
          </a:xfr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19" name="Text Placeholder 9">
            <a:extLst>
              <a:ext uri="{FF2B5EF4-FFF2-40B4-BE49-F238E27FC236}">
                <a16:creationId xmlns:a16="http://schemas.microsoft.com/office/drawing/2014/main" id="{8BD6BF2D-9128-C44F-BE85-D061C7BA822C}"/>
              </a:ext>
            </a:extLst>
          </p:cNvPr>
          <p:cNvSpPr>
            <a:spLocks noGrp="1"/>
          </p:cNvSpPr>
          <p:nvPr>
            <p:ph type="body" sz="quarter" idx="16"/>
          </p:nvPr>
        </p:nvSpPr>
        <p:spPr>
          <a:xfrm>
            <a:off x="7356835"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20" name="Text Placeholder 11">
            <a:extLst>
              <a:ext uri="{FF2B5EF4-FFF2-40B4-BE49-F238E27FC236}">
                <a16:creationId xmlns:a16="http://schemas.microsoft.com/office/drawing/2014/main" id="{55B5EA8C-8960-F24A-86F4-6F1A709A100B}"/>
              </a:ext>
            </a:extLst>
          </p:cNvPr>
          <p:cNvSpPr>
            <a:spLocks noGrp="1"/>
          </p:cNvSpPr>
          <p:nvPr>
            <p:ph type="body" sz="quarter" idx="17"/>
          </p:nvPr>
        </p:nvSpPr>
        <p:spPr>
          <a:xfrm>
            <a:off x="7356835" y="2286000"/>
            <a:ext cx="2133600" cy="3983038"/>
          </a:xfr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
        <p:nvSpPr>
          <p:cNvPr id="21" name="Text Placeholder 9">
            <a:extLst>
              <a:ext uri="{FF2B5EF4-FFF2-40B4-BE49-F238E27FC236}">
                <a16:creationId xmlns:a16="http://schemas.microsoft.com/office/drawing/2014/main" id="{EB9E96FF-1743-9340-8E99-08C92FF506BC}"/>
              </a:ext>
            </a:extLst>
          </p:cNvPr>
          <p:cNvSpPr>
            <a:spLocks noGrp="1"/>
          </p:cNvSpPr>
          <p:nvPr>
            <p:ph type="body" sz="quarter" idx="18"/>
          </p:nvPr>
        </p:nvSpPr>
        <p:spPr>
          <a:xfrm>
            <a:off x="9685256" y="1635125"/>
            <a:ext cx="2133600" cy="346075"/>
          </a:xfrm>
          <a:solidFill>
            <a:schemeClr val="accent5"/>
          </a:solidFill>
        </p:spPr>
        <p:txBody>
          <a:bodyPr lIns="91440" rIns="91440" anchor="ctr">
            <a:noAutofit/>
          </a:bodyPr>
          <a:lstStyle>
            <a:lvl1pPr marL="0" indent="0" algn="l" defTabSz="914367" rtl="0" eaLnBrk="1" latinLnBrk="0" hangingPunct="1">
              <a:buFontTx/>
              <a:buNone/>
              <a:defRPr lang="en-US" sz="1400" kern="1200" dirty="0" smtClean="0">
                <a:solidFill>
                  <a:schemeClr val="bg1"/>
                </a:solidFill>
                <a:latin typeface="+mj-lt"/>
                <a:ea typeface="+mn-ea"/>
                <a:cs typeface="+mn-cs"/>
              </a:defRPr>
            </a:lvl1pPr>
          </a:lstStyle>
          <a:p>
            <a:pPr lvl="0"/>
            <a:r>
              <a:rPr lang="en-US"/>
              <a:t>Click to edit Master text styles</a:t>
            </a:r>
          </a:p>
        </p:txBody>
      </p:sp>
      <p:sp>
        <p:nvSpPr>
          <p:cNvPr id="22" name="Text Placeholder 11">
            <a:extLst>
              <a:ext uri="{FF2B5EF4-FFF2-40B4-BE49-F238E27FC236}">
                <a16:creationId xmlns:a16="http://schemas.microsoft.com/office/drawing/2014/main" id="{1183CC26-FA4E-FF4E-8EED-0F14D01769F3}"/>
              </a:ext>
            </a:extLst>
          </p:cNvPr>
          <p:cNvSpPr>
            <a:spLocks noGrp="1"/>
          </p:cNvSpPr>
          <p:nvPr>
            <p:ph type="body" sz="quarter" idx="19"/>
          </p:nvPr>
        </p:nvSpPr>
        <p:spPr>
          <a:xfrm>
            <a:off x="9685256" y="2286000"/>
            <a:ext cx="2133600" cy="3983038"/>
          </a:xfrm>
        </p:spPr>
        <p:txBody>
          <a:bodyPr/>
          <a:lstStyle>
            <a:lvl1pPr marL="0" indent="0" algn="l" defTabSz="914367" rtl="0" eaLnBrk="1" latinLnBrk="0" hangingPunct="1">
              <a:buFontTx/>
              <a:buNone/>
              <a:defRPr lang="en-US" sz="1200" b="1" kern="1200" dirty="0" smtClean="0">
                <a:solidFill>
                  <a:schemeClr val="tx1"/>
                </a:solidFill>
                <a:latin typeface="+mn-lt"/>
                <a:ea typeface="+mn-ea"/>
                <a:cs typeface="+mn-cs"/>
              </a:defRPr>
            </a:lvl1pPr>
            <a:lvl2pPr marL="0" indent="0" algn="l" defTabSz="914367" rtl="0" eaLnBrk="1" latinLnBrk="0" hangingPunct="1">
              <a:buFontTx/>
              <a:buNone/>
              <a:defRPr lang="en-US" sz="1200" kern="1200" dirty="0" smtClean="0">
                <a:solidFill>
                  <a:schemeClr val="tx1"/>
                </a:solidFill>
                <a:latin typeface="+mn-lt"/>
                <a:ea typeface="+mn-ea"/>
                <a:cs typeface="+mn-cs"/>
              </a:defRPr>
            </a:lvl2pPr>
            <a:lvl3pPr marL="171450" indent="-171450" algn="l" defTabSz="914367" rtl="0" eaLnBrk="1" latinLnBrk="0" hangingPunct="1">
              <a:buFont typeface="Arial" panose="020B0604020202020204" pitchFamily="34" charset="0"/>
              <a:buChar char="•"/>
              <a:defRPr lang="en-US" sz="1200" kern="1200" dirty="0" smtClean="0">
                <a:solidFill>
                  <a:schemeClr val="tx1"/>
                </a:solidFill>
                <a:latin typeface="+mn-lt"/>
                <a:ea typeface="+mn-ea"/>
                <a:cs typeface="+mn-cs"/>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69122970"/>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28" orient="horz" pos="888">
          <p15:clr>
            <a:srgbClr val="5ACBF0"/>
          </p15:clr>
        </p15:guide>
        <p15:guide id="29" orient="horz" pos="1248">
          <p15:clr>
            <a:srgbClr val="5ACBF0"/>
          </p15:clr>
        </p15:guide>
        <p15:guide id="30" orient="horz" pos="288">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ignoff/End slide">
    <p:bg>
      <p:bgPr>
        <a:solidFill>
          <a:schemeClr val="tx1"/>
        </a:solidFill>
        <a:effectLst/>
      </p:bgPr>
    </p:bg>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6A378EBD-E5B4-A144-B609-1817629B412F}"/>
              </a:ext>
              <a:ext uri="{C183D7F6-B498-43B3-948B-1728B52AA6E4}">
                <adec:decorative xmlns:adec="http://schemas.microsoft.com/office/drawing/2017/decorative" val="1"/>
              </a:ext>
            </a:extLst>
          </p:cNvPr>
          <p:cNvSpPr/>
          <p:nvPr userDrawn="1"/>
        </p:nvSpPr>
        <p:spPr>
          <a:xfrm>
            <a:off x="0" y="3315973"/>
            <a:ext cx="3106264" cy="228600"/>
          </a:xfrm>
          <a:custGeom>
            <a:avLst/>
            <a:gdLst/>
            <a:ahLst/>
            <a:cxnLst/>
            <a:rect l="l" t="t" r="r" b="b"/>
            <a:pathLst>
              <a:path w="1993900" h="228600">
                <a:moveTo>
                  <a:pt x="1993900" y="0"/>
                </a:moveTo>
                <a:lnTo>
                  <a:pt x="0" y="0"/>
                </a:lnTo>
                <a:lnTo>
                  <a:pt x="0" y="228600"/>
                </a:lnTo>
                <a:lnTo>
                  <a:pt x="1993900" y="228600"/>
                </a:lnTo>
                <a:lnTo>
                  <a:pt x="1993900" y="0"/>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sz="2000">
              <a:solidFill>
                <a:srgbClr val="FFFFFF"/>
              </a:solidFill>
              <a:cs typeface="Segoe UI" pitchFamily="34" charset="0"/>
            </a:endParaRPr>
          </a:p>
        </p:txBody>
      </p:sp>
      <p:pic>
        <p:nvPicPr>
          <p:cNvPr id="8" name="object 4" descr="Microsoft logo white text version">
            <a:extLst>
              <a:ext uri="{FF2B5EF4-FFF2-40B4-BE49-F238E27FC236}">
                <a16:creationId xmlns:a16="http://schemas.microsoft.com/office/drawing/2014/main" id="{81433FD3-DE6E-8E46-A694-7E52D07A1AA7}"/>
              </a:ext>
            </a:extLst>
          </p:cNvPr>
          <p:cNvPicPr/>
          <p:nvPr userDrawn="1"/>
        </p:nvPicPr>
        <p:blipFill>
          <a:blip r:embed="rId2" cstate="print"/>
          <a:stretch>
            <a:fillRect/>
          </a:stretch>
        </p:blipFill>
        <p:spPr>
          <a:xfrm>
            <a:off x="8831988" y="2710383"/>
            <a:ext cx="2979012" cy="1439780"/>
          </a:xfrm>
          <a:prstGeom prst="rect">
            <a:avLst/>
          </a:prstGeom>
        </p:spPr>
      </p:pic>
      <p:sp>
        <p:nvSpPr>
          <p:cNvPr id="2" name="Title 1">
            <a:extLst>
              <a:ext uri="{FF2B5EF4-FFF2-40B4-BE49-F238E27FC236}">
                <a16:creationId xmlns:a16="http://schemas.microsoft.com/office/drawing/2014/main" id="{736D64A9-BA26-4FC4-8C41-604790D4D3D9}"/>
              </a:ext>
            </a:extLst>
          </p:cNvPr>
          <p:cNvSpPr txBox="1">
            <a:spLocks/>
          </p:cNvSpPr>
          <p:nvPr userDrawn="1"/>
        </p:nvSpPr>
        <p:spPr>
          <a:xfrm>
            <a:off x="2396031" y="6400800"/>
            <a:ext cx="7772400" cy="533400"/>
          </a:xfrm>
          <a:prstGeom prst="rect">
            <a:avLst/>
          </a:prstGeom>
        </p:spPr>
        <p:txBody>
          <a:bodyPr/>
          <a:lstStyle>
            <a:lvl1pPr algn="l" defTabSz="582930" rtl="0" eaLnBrk="1" latinLnBrk="0" hangingPunct="1">
              <a:lnSpc>
                <a:spcPct val="90000"/>
              </a:lnSpc>
              <a:spcBef>
                <a:spcPct val="0"/>
              </a:spcBef>
              <a:buNone/>
              <a:defRPr sz="2805" kern="1200">
                <a:solidFill>
                  <a:schemeClr val="tx1"/>
                </a:solidFill>
                <a:latin typeface="+mj-lt"/>
                <a:ea typeface="+mj-ea"/>
                <a:cs typeface="+mj-cs"/>
              </a:defRPr>
            </a:lvl1pPr>
          </a:lstStyle>
          <a:p>
            <a:pPr algn="ctr"/>
            <a:r>
              <a:rPr lang="en-US" sz="800">
                <a:solidFill>
                  <a:schemeClr val="bg1"/>
                </a:solidFill>
                <a:latin typeface="Segoe UI" panose="020B0502040204020203" pitchFamily="34" charset="0"/>
                <a:cs typeface="Segoe UI" panose="020B0502040204020203" pitchFamily="34" charset="0"/>
              </a:rPr>
              <a:t>2022 © Microsoft Corporation. All rights reserved. </a:t>
            </a:r>
            <a:br>
              <a:rPr lang="en-US" sz="800">
                <a:solidFill>
                  <a:schemeClr val="bg1"/>
                </a:solidFill>
                <a:latin typeface="Segoe UI" panose="020B0502040204020203" pitchFamily="34" charset="0"/>
                <a:cs typeface="Segoe UI" panose="020B0502040204020203" pitchFamily="34" charset="0"/>
              </a:rPr>
            </a:br>
            <a:r>
              <a:rPr lang="en-US" sz="800">
                <a:solidFill>
                  <a:schemeClr val="bg1"/>
                </a:solidFill>
                <a:latin typeface="Segoe UI" panose="020B0502040204020203" pitchFamily="34" charset="0"/>
                <a:cs typeface="Segoe UI" panose="020B0502040204020203" pitchFamily="34" charset="0"/>
              </a:rPr>
              <a:t>This presentation is for informational purposes only. </a:t>
            </a:r>
            <a:br>
              <a:rPr lang="en-US" sz="800">
                <a:solidFill>
                  <a:schemeClr val="bg1"/>
                </a:solidFill>
                <a:latin typeface="Segoe UI" panose="020B0502040204020203" pitchFamily="34" charset="0"/>
                <a:cs typeface="Segoe UI" panose="020B0502040204020203" pitchFamily="34" charset="0"/>
              </a:rPr>
            </a:br>
            <a:r>
              <a:rPr lang="en-US" sz="800">
                <a:solidFill>
                  <a:schemeClr val="bg1"/>
                </a:solidFill>
                <a:latin typeface="Segoe UI" panose="020B0502040204020203" pitchFamily="34" charset="0"/>
                <a:cs typeface="Segoe UI" panose="020B0502040204020203" pitchFamily="34" charset="0"/>
              </a:rPr>
              <a:t>MICROSOFT MAKES NO WARRANTIES, EXPRESS OR IMPLIED, IN THIS SUMMARY</a:t>
            </a:r>
            <a:br>
              <a:rPr lang="en-US" sz="800">
                <a:solidFill>
                  <a:schemeClr val="bg1"/>
                </a:solidFill>
                <a:latin typeface="Segoe UI" panose="020B0502040204020203" pitchFamily="34" charset="0"/>
                <a:cs typeface="Segoe UI" panose="020B0502040204020203" pitchFamily="34" charset="0"/>
              </a:rPr>
            </a:br>
            <a:endParaRPr lang="en-US" sz="800">
              <a:solidFill>
                <a:schemeClr val="bg1"/>
              </a:solidFill>
            </a:endParaRPr>
          </a:p>
        </p:txBody>
      </p:sp>
    </p:spTree>
    <p:extLst>
      <p:ext uri="{BB962C8B-B14F-4D97-AF65-F5344CB8AC3E}">
        <p14:creationId xmlns:p14="http://schemas.microsoft.com/office/powerpoint/2010/main" val="8225596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213977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40983600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775226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0/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1275457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0/2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3659252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a:extLst>
              <a:ext uri="{FF2B5EF4-FFF2-40B4-BE49-F238E27FC236}">
                <a16:creationId xmlns:a16="http://schemas.microsoft.com/office/drawing/2014/main" id="{49735B11-5998-466B-9358-4C374CDB55F0}"/>
              </a:ext>
            </a:extLst>
          </p:cNvPr>
          <p:cNvPicPr>
            <a:picLocks noChangeAspect="1"/>
          </p:cNvPicPr>
          <p:nvPr userDrawn="1"/>
        </p:nvPicPr>
        <p:blipFill>
          <a:blip r:embed="rId2"/>
          <a:srcRect/>
          <a:stretch/>
        </p:blipFill>
        <p:spPr>
          <a:xfrm>
            <a:off x="586389" y="6083901"/>
            <a:ext cx="591057" cy="591057"/>
          </a:xfrm>
          <a:prstGeom prst="rect">
            <a:avLst/>
          </a:prstGeom>
        </p:spPr>
      </p:pic>
      <p:sp>
        <p:nvSpPr>
          <p:cNvPr id="2" name="TextBox 1">
            <a:extLst>
              <a:ext uri="{FF2B5EF4-FFF2-40B4-BE49-F238E27FC236}">
                <a16:creationId xmlns:a16="http://schemas.microsoft.com/office/drawing/2014/main" id="{A273FAD7-7B35-55F5-E868-ED430BB3751D}"/>
              </a:ext>
            </a:extLst>
          </p:cNvPr>
          <p:cNvSpPr txBox="1"/>
          <p:nvPr userDrawn="1"/>
        </p:nvSpPr>
        <p:spPr>
          <a:xfrm>
            <a:off x="11119832" y="6379429"/>
            <a:ext cx="970156" cy="184666"/>
          </a:xfrm>
          <a:prstGeom prst="rect">
            <a:avLst/>
          </a:prstGeom>
          <a:noFill/>
        </p:spPr>
        <p:txBody>
          <a:bodyPr wrap="square" lIns="0" tIns="0" rIns="0" bIns="0" rtlCol="0">
            <a:spAutoFit/>
          </a:bodyPr>
          <a:lstStyle/>
          <a:p>
            <a:pPr algn="l"/>
            <a:r>
              <a:rPr lang="en-HR" sz="1200" b="1" dirty="0">
                <a:gradFill>
                  <a:gsLst>
                    <a:gs pos="2917">
                      <a:schemeClr val="tx1"/>
                    </a:gs>
                    <a:gs pos="30000">
                      <a:schemeClr val="tx1"/>
                    </a:gs>
                  </a:gsLst>
                  <a:lin ang="5400000" scaled="0"/>
                </a:gradFill>
              </a:rPr>
              <a:t>#ntk22</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2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8026057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2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0922116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1924977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2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5791924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23079034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2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33948489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3992263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42308832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42450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5343564" y="0"/>
            <a:ext cx="6816725" cy="430887"/>
          </a:xfrm>
          <a:prstGeom prst="rect">
            <a:avLst/>
          </a:prstGeom>
        </p:spPr>
        <p:txBody>
          <a:bodyPr/>
          <a:lstStyle/>
          <a:p>
            <a:endParaRPr lang="id-ID"/>
          </a:p>
        </p:txBody>
      </p:sp>
    </p:spTree>
    <p:extLst>
      <p:ext uri="{BB962C8B-B14F-4D97-AF65-F5344CB8AC3E}">
        <p14:creationId xmlns:p14="http://schemas.microsoft.com/office/powerpoint/2010/main" val="3880234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584200" y="1435497"/>
            <a:ext cx="11018520"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1C0E24AE-7AFE-CC89-54CD-6C2680AD7159}"/>
              </a:ext>
            </a:extLst>
          </p:cNvPr>
          <p:cNvPicPr>
            <a:picLocks noChangeAspect="1"/>
          </p:cNvPicPr>
          <p:nvPr userDrawn="1"/>
        </p:nvPicPr>
        <p:blipFill>
          <a:blip r:embed="rId2"/>
          <a:srcRect/>
          <a:stretch/>
        </p:blipFill>
        <p:spPr>
          <a:xfrm>
            <a:off x="586389" y="6083901"/>
            <a:ext cx="591057" cy="591057"/>
          </a:xfrm>
          <a:prstGeom prst="rect">
            <a:avLst/>
          </a:prstGeom>
        </p:spPr>
      </p:pic>
      <p:sp>
        <p:nvSpPr>
          <p:cNvPr id="6" name="TextBox 5">
            <a:extLst>
              <a:ext uri="{FF2B5EF4-FFF2-40B4-BE49-F238E27FC236}">
                <a16:creationId xmlns:a16="http://schemas.microsoft.com/office/drawing/2014/main" id="{DE52D520-F8F1-4071-1840-2C8FC3FB53CE}"/>
              </a:ext>
            </a:extLst>
          </p:cNvPr>
          <p:cNvSpPr txBox="1"/>
          <p:nvPr userDrawn="1"/>
        </p:nvSpPr>
        <p:spPr>
          <a:xfrm>
            <a:off x="11119832" y="6379429"/>
            <a:ext cx="970156" cy="184666"/>
          </a:xfrm>
          <a:prstGeom prst="rect">
            <a:avLst/>
          </a:prstGeom>
          <a:noFill/>
        </p:spPr>
        <p:txBody>
          <a:bodyPr wrap="square" lIns="0" tIns="0" rIns="0" bIns="0" rtlCol="0">
            <a:spAutoFit/>
          </a:bodyPr>
          <a:lstStyle/>
          <a:p>
            <a:pPr algn="l"/>
            <a:r>
              <a:rPr lang="en-HR" sz="1200" b="1" dirty="0">
                <a:gradFill>
                  <a:gsLst>
                    <a:gs pos="2917">
                      <a:schemeClr val="tx1"/>
                    </a:gs>
                    <a:gs pos="30000">
                      <a:schemeClr val="tx1"/>
                    </a:gs>
                  </a:gsLst>
                  <a:lin ang="5400000" scaled="0"/>
                </a:gradFill>
              </a:rPr>
              <a:t>#ntk22</a:t>
            </a:r>
          </a:p>
        </p:txBody>
      </p:sp>
    </p:spTree>
    <p:extLst>
      <p:ext uri="{BB962C8B-B14F-4D97-AF65-F5344CB8AC3E}">
        <p14:creationId xmlns:p14="http://schemas.microsoft.com/office/powerpoint/2010/main" val="1703268474"/>
      </p:ext>
    </p:extLst>
  </p:cSld>
  <p:clrMapOvr>
    <a:masterClrMapping/>
  </p:clrMapOvr>
  <p:transition>
    <p:fade/>
  </p:transition>
  <p:extLst>
    <p:ext uri="{DCECCB84-F9BA-43D5-87BE-67443E8EF086}">
      <p15:sldGuideLst xmlns:p15="http://schemas.microsoft.com/office/powerpoint/2012/main">
        <p15:guide id="2" orient="horz" pos="1272" userDrawn="1">
          <p15:clr>
            <a:srgbClr val="5ACBF0"/>
          </p15:clr>
        </p15:guide>
        <p15:guide id="3" orient="horz" pos="288" userDrawn="1">
          <p15:clr>
            <a:srgbClr val="5ACBF0"/>
          </p15:clr>
        </p15:guide>
        <p15:guide id="5" orient="horz" pos="904"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Only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9759577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85FB798-A4B1-4903-8730-64496A17E0C9}"/>
              </a:ext>
            </a:extLst>
          </p:cNvPr>
          <p:cNvSpPr/>
          <p:nvPr/>
        </p:nvSpPr>
        <p:spPr>
          <a:xfrm>
            <a:off x="0" y="4566458"/>
            <a:ext cx="12198062" cy="2291542"/>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685A4212-2D69-455E-B3B0-0B7C5D9FA58A}"/>
              </a:ext>
            </a:extLst>
          </p:cNvPr>
          <p:cNvGrpSpPr/>
          <p:nvPr/>
        </p:nvGrpSpPr>
        <p:grpSpPr>
          <a:xfrm>
            <a:off x="6062" y="4047198"/>
            <a:ext cx="12192000" cy="524435"/>
            <a:chOff x="981636" y="3426137"/>
            <a:chExt cx="12192000" cy="524435"/>
          </a:xfrm>
        </p:grpSpPr>
        <p:sp>
          <p:nvSpPr>
            <p:cNvPr id="14" name="Rectangle 13">
              <a:extLst>
                <a:ext uri="{FF2B5EF4-FFF2-40B4-BE49-F238E27FC236}">
                  <a16:creationId xmlns:a16="http://schemas.microsoft.com/office/drawing/2014/main" id="{7AA8BB97-BF7B-4BD3-927F-B3BAE2E1DF83}"/>
                </a:ext>
              </a:extLst>
            </p:cNvPr>
            <p:cNvSpPr/>
            <p:nvPr/>
          </p:nvSpPr>
          <p:spPr>
            <a:xfrm>
              <a:off x="981636" y="3426137"/>
              <a:ext cx="12192000" cy="524435"/>
            </a:xfrm>
            <a:prstGeom prst="rect">
              <a:avLst/>
            </a:prstGeom>
            <a:solidFill>
              <a:srgbClr val="262626">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55C02FF9-F481-47F6-9268-E38CF500A33C}"/>
                </a:ext>
              </a:extLst>
            </p:cNvPr>
            <p:cNvCxnSpPr>
              <a:cxnSpLocks/>
            </p:cNvCxnSpPr>
            <p:nvPr/>
          </p:nvCxnSpPr>
          <p:spPr>
            <a:xfrm>
              <a:off x="981636" y="3950572"/>
              <a:ext cx="12192000" cy="0"/>
            </a:xfrm>
            <a:prstGeom prst="line">
              <a:avLst/>
            </a:prstGeom>
            <a:ln>
              <a:solidFill>
                <a:srgbClr val="8EDDE4"/>
              </a:solidFill>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733AF90B-0E69-4B8C-8E01-21CB92E77D28}"/>
              </a:ext>
            </a:extLst>
          </p:cNvPr>
          <p:cNvSpPr/>
          <p:nvPr userDrawn="1"/>
        </p:nvSpPr>
        <p:spPr>
          <a:xfrm>
            <a:off x="0" y="-25994"/>
            <a:ext cx="12192000" cy="4046830"/>
          </a:xfrm>
          <a:prstGeom prst="rect">
            <a:avLst/>
          </a:prstGeom>
          <a:solidFill>
            <a:srgbClr val="262626">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2A226751-6DB7-4F9A-ADFC-342B8082F757}"/>
              </a:ext>
            </a:extLst>
          </p:cNvPr>
          <p:cNvSpPr/>
          <p:nvPr userDrawn="1"/>
        </p:nvSpPr>
        <p:spPr>
          <a:xfrm>
            <a:off x="0" y="4566458"/>
            <a:ext cx="12192000" cy="2291542"/>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14A6EED-2CAA-454C-A98F-EE06057A203F}"/>
              </a:ext>
            </a:extLst>
          </p:cNvPr>
          <p:cNvSpPr>
            <a:spLocks noGrp="1"/>
          </p:cNvSpPr>
          <p:nvPr userDrawn="1">
            <p:ph type="title" hasCustomPrompt="1"/>
          </p:nvPr>
        </p:nvSpPr>
        <p:spPr>
          <a:xfrm>
            <a:off x="482685" y="2024473"/>
            <a:ext cx="11206865" cy="641985"/>
          </a:xfrm>
        </p:spPr>
        <p:txBody>
          <a:bodyPr anchor="b">
            <a:noAutofit/>
          </a:bodyPr>
          <a:lstStyle>
            <a:lvl1pPr>
              <a:defRPr sz="5400"/>
            </a:lvl1pPr>
          </a:lstStyle>
          <a:p>
            <a:r>
              <a:rPr lang="en-US"/>
              <a:t>TITLE OF PRESENTATION GOES HERE</a:t>
            </a:r>
          </a:p>
        </p:txBody>
      </p:sp>
      <p:sp>
        <p:nvSpPr>
          <p:cNvPr id="20" name="Text Placeholder 19">
            <a:extLst>
              <a:ext uri="{FF2B5EF4-FFF2-40B4-BE49-F238E27FC236}">
                <a16:creationId xmlns:a16="http://schemas.microsoft.com/office/drawing/2014/main" id="{FAB99AF1-516C-4A63-805F-ACE388936100}"/>
              </a:ext>
            </a:extLst>
          </p:cNvPr>
          <p:cNvSpPr>
            <a:spLocks noGrp="1"/>
          </p:cNvSpPr>
          <p:nvPr userDrawn="1">
            <p:ph type="body" sz="quarter" idx="10" hasCustomPrompt="1"/>
          </p:nvPr>
        </p:nvSpPr>
        <p:spPr>
          <a:xfrm>
            <a:off x="482686" y="2595001"/>
            <a:ext cx="10515600" cy="528657"/>
          </a:xfrm>
        </p:spPr>
        <p:txBody>
          <a:bodyPr/>
          <a:lstStyle>
            <a:lvl1pPr marL="0" indent="0">
              <a:buNone/>
              <a:defRPr>
                <a:latin typeface="+mj-lt"/>
              </a:defRPr>
            </a:lvl1pPr>
          </a:lstStyle>
          <a:p>
            <a:pPr lvl="0"/>
            <a:r>
              <a:rPr lang="en-US"/>
              <a:t>PRESENTATION DESCRIPTION GOES HERE</a:t>
            </a:r>
          </a:p>
        </p:txBody>
      </p:sp>
      <p:sp>
        <p:nvSpPr>
          <p:cNvPr id="22" name="Text Placeholder 21">
            <a:extLst>
              <a:ext uri="{FF2B5EF4-FFF2-40B4-BE49-F238E27FC236}">
                <a16:creationId xmlns:a16="http://schemas.microsoft.com/office/drawing/2014/main" id="{24D1667C-9BCC-48F5-8086-8DA575897943}"/>
              </a:ext>
            </a:extLst>
          </p:cNvPr>
          <p:cNvSpPr>
            <a:spLocks noGrp="1"/>
          </p:cNvSpPr>
          <p:nvPr userDrawn="1">
            <p:ph type="body" sz="quarter" idx="11" hasCustomPrompt="1"/>
          </p:nvPr>
        </p:nvSpPr>
        <p:spPr>
          <a:xfrm>
            <a:off x="482686" y="4913313"/>
            <a:ext cx="10515600" cy="374783"/>
          </a:xfrm>
        </p:spPr>
        <p:txBody>
          <a:bodyPr>
            <a:normAutofit/>
          </a:bodyPr>
          <a:lstStyle>
            <a:lvl1pPr marL="0" indent="0">
              <a:buNone/>
              <a:defRPr sz="2000"/>
            </a:lvl1pPr>
          </a:lstStyle>
          <a:p>
            <a:pPr lvl="0"/>
            <a:r>
              <a:rPr lang="en-US"/>
              <a:t>Presenter Name/s</a:t>
            </a:r>
          </a:p>
        </p:txBody>
      </p:sp>
      <p:sp>
        <p:nvSpPr>
          <p:cNvPr id="23" name="Text Placeholder 21">
            <a:extLst>
              <a:ext uri="{FF2B5EF4-FFF2-40B4-BE49-F238E27FC236}">
                <a16:creationId xmlns:a16="http://schemas.microsoft.com/office/drawing/2014/main" id="{B93C3ED9-1CA2-4EA9-8FDF-F1797BA6EB4D}"/>
              </a:ext>
            </a:extLst>
          </p:cNvPr>
          <p:cNvSpPr>
            <a:spLocks noGrp="1"/>
          </p:cNvSpPr>
          <p:nvPr userDrawn="1">
            <p:ph type="body" sz="quarter" idx="12" hasCustomPrompt="1"/>
          </p:nvPr>
        </p:nvSpPr>
        <p:spPr>
          <a:xfrm>
            <a:off x="482686" y="5288096"/>
            <a:ext cx="10515600" cy="374783"/>
          </a:xfrm>
        </p:spPr>
        <p:txBody>
          <a:bodyPr>
            <a:normAutofit/>
          </a:bodyPr>
          <a:lstStyle>
            <a:lvl1pPr marL="0" indent="0">
              <a:buNone/>
              <a:defRPr sz="2000"/>
            </a:lvl1pPr>
          </a:lstStyle>
          <a:p>
            <a:pPr lvl="0"/>
            <a:r>
              <a:rPr lang="en-US"/>
              <a:t>Presenter Title</a:t>
            </a:r>
          </a:p>
        </p:txBody>
      </p:sp>
      <p:pic>
        <p:nvPicPr>
          <p:cNvPr id="26" name="Picture 25" descr="A picture containing drawing&#10;&#10;Description automatically generated">
            <a:extLst>
              <a:ext uri="{FF2B5EF4-FFF2-40B4-BE49-F238E27FC236}">
                <a16:creationId xmlns:a16="http://schemas.microsoft.com/office/drawing/2014/main" id="{BC126835-EC12-41FC-B7A6-E8137FBCFA3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2644" y="5662879"/>
            <a:ext cx="2272477" cy="835916"/>
          </a:xfrm>
          <a:prstGeom prst="rect">
            <a:avLst/>
          </a:prstGeom>
        </p:spPr>
      </p:pic>
    </p:spTree>
    <p:extLst>
      <p:ext uri="{BB962C8B-B14F-4D97-AF65-F5344CB8AC3E}">
        <p14:creationId xmlns:p14="http://schemas.microsoft.com/office/powerpoint/2010/main" val="17477331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FC1B8-FDBE-4D40-9F4A-4015DA10D6E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3256A11-E136-4156-935F-9CB050CE6FC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18833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5370E-27C5-4BD0-8867-C724155E42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99FB6F-DEAA-45D2-A9F4-0120E362722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2477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18490D-2548-4A5D-9943-798134C9A91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223D703-D6E6-4D13-9105-E3E81E7E537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780939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67B1E6-4A72-427D-8DF4-28400A6C0CC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2BE1BA-F1BE-42C7-8610-01BE50B85B1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2CF369F-7036-493C-8460-5F606326ACC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601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EA33EF-B61F-471F-9ED6-5E74A1A9D1E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616596-2C95-4755-9B59-74A37498515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98F27F2-A550-45DC-8E11-5F31C58DFF2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CD9501B-EDA0-4EE9-A726-A27826D38D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16BAF73-E472-4244-A600-38C786CFC41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44763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ACD7E-882F-4CC6-A452-03614686F4A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73716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12819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936">
          <p15:clr>
            <a:srgbClr val="FBAE40"/>
          </p15:clr>
        </p15:guide>
        <p15:guide id="4" pos="5088">
          <p15:clr>
            <a:srgbClr val="FBAE40"/>
          </p15:clr>
        </p15:guide>
        <p15:guide id="5" orient="horz">
          <p15:clr>
            <a:srgbClr val="FBAE40"/>
          </p15:clr>
        </p15:guide>
        <p15:guide id="6" orient="horz" pos="4320">
          <p15:clr>
            <a:srgbClr val="FBAE40"/>
          </p15:clr>
        </p15:guide>
        <p15:guide id="7" orient="horz" pos="1080">
          <p15:clr>
            <a:srgbClr val="FBAE40"/>
          </p15:clr>
        </p15:guide>
        <p15:guide id="8" orient="horz" pos="2160">
          <p15:clr>
            <a:srgbClr val="FBAE40"/>
          </p15:clr>
        </p15:guide>
        <p15:guide id="9" orient="horz" pos="32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E1B5B-05EC-4DB0-910C-71F5A9B8D7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563286F-D23B-44F9-A585-D588752AD34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2D0A02-F816-474D-9CB6-1199B4D827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573586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2D532779-AAD1-30AC-ED4A-22D5D23C3C06}"/>
              </a:ext>
            </a:extLst>
          </p:cNvPr>
          <p:cNvPicPr>
            <a:picLocks noChangeAspect="1"/>
          </p:cNvPicPr>
          <p:nvPr userDrawn="1"/>
        </p:nvPicPr>
        <p:blipFill>
          <a:blip r:embed="rId2"/>
          <a:srcRect/>
          <a:stretch/>
        </p:blipFill>
        <p:spPr>
          <a:xfrm>
            <a:off x="586389" y="6083901"/>
            <a:ext cx="591057" cy="591057"/>
          </a:xfrm>
          <a:prstGeom prst="rect">
            <a:avLst/>
          </a:prstGeom>
        </p:spPr>
      </p:pic>
      <p:sp>
        <p:nvSpPr>
          <p:cNvPr id="8" name="TextBox 7">
            <a:extLst>
              <a:ext uri="{FF2B5EF4-FFF2-40B4-BE49-F238E27FC236}">
                <a16:creationId xmlns:a16="http://schemas.microsoft.com/office/drawing/2014/main" id="{13A47610-A639-CCC6-C423-5C8717618680}"/>
              </a:ext>
            </a:extLst>
          </p:cNvPr>
          <p:cNvSpPr txBox="1"/>
          <p:nvPr userDrawn="1"/>
        </p:nvSpPr>
        <p:spPr>
          <a:xfrm>
            <a:off x="11119832" y="6379429"/>
            <a:ext cx="970156" cy="184666"/>
          </a:xfrm>
          <a:prstGeom prst="rect">
            <a:avLst/>
          </a:prstGeom>
          <a:noFill/>
        </p:spPr>
        <p:txBody>
          <a:bodyPr wrap="square" lIns="0" tIns="0" rIns="0" bIns="0" rtlCol="0">
            <a:spAutoFit/>
          </a:bodyPr>
          <a:lstStyle/>
          <a:p>
            <a:pPr algn="l"/>
            <a:r>
              <a:rPr lang="en-HR" sz="1200" b="1" dirty="0">
                <a:gradFill>
                  <a:gsLst>
                    <a:gs pos="2917">
                      <a:schemeClr val="tx1"/>
                    </a:gs>
                    <a:gs pos="30000">
                      <a:schemeClr val="tx1"/>
                    </a:gs>
                  </a:gsLst>
                  <a:lin ang="5400000" scaled="0"/>
                </a:gradFill>
              </a:rPr>
              <a:t>#ntk22</a:t>
            </a:r>
          </a:p>
        </p:txBody>
      </p:sp>
    </p:spTree>
    <p:extLst>
      <p:ext uri="{BB962C8B-B14F-4D97-AF65-F5344CB8AC3E}">
        <p14:creationId xmlns:p14="http://schemas.microsoft.com/office/powerpoint/2010/main" val="2192018982"/>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2" userDrawn="1">
          <p15:clr>
            <a:srgbClr val="5ACBF0"/>
          </p15:clr>
        </p15:guide>
        <p15:guide id="3" orient="horz" pos="904"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D83F8-966D-463A-A280-8A67A45E0E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0502EF9-96C4-48C7-9B3F-8EFD39390D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CA79CC1-87F4-4164-810B-F4DE09E8C5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1939008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6FCF9-60B7-4A1C-A48B-ECA9FEC8999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AC8EA98-6CC0-4C05-A09C-1E65FB2FE44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37654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0A86494-9974-432F-90A0-1D0551E5A44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20FA74B-25FD-4D5C-9E50-35409E0C3D7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63946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23598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262271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9374964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28016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754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1427783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269595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B598DF7D-DEA5-4311-FC9A-F5D48F2F2B52}"/>
              </a:ext>
            </a:extLst>
          </p:cNvPr>
          <p:cNvPicPr>
            <a:picLocks noChangeAspect="1"/>
          </p:cNvPicPr>
          <p:nvPr userDrawn="1"/>
        </p:nvPicPr>
        <p:blipFill>
          <a:blip r:embed="rId2"/>
          <a:srcRect/>
          <a:stretch/>
        </p:blipFill>
        <p:spPr>
          <a:xfrm>
            <a:off x="586389" y="6083901"/>
            <a:ext cx="591057" cy="591057"/>
          </a:xfrm>
          <a:prstGeom prst="rect">
            <a:avLst/>
          </a:prstGeom>
        </p:spPr>
      </p:pic>
      <p:sp>
        <p:nvSpPr>
          <p:cNvPr id="8" name="TextBox 7">
            <a:extLst>
              <a:ext uri="{FF2B5EF4-FFF2-40B4-BE49-F238E27FC236}">
                <a16:creationId xmlns:a16="http://schemas.microsoft.com/office/drawing/2014/main" id="{F692AD05-DF0D-8FA0-7202-5586555FBA85}"/>
              </a:ext>
            </a:extLst>
          </p:cNvPr>
          <p:cNvSpPr txBox="1"/>
          <p:nvPr userDrawn="1"/>
        </p:nvSpPr>
        <p:spPr>
          <a:xfrm>
            <a:off x="11119832" y="6379429"/>
            <a:ext cx="970156" cy="184666"/>
          </a:xfrm>
          <a:prstGeom prst="rect">
            <a:avLst/>
          </a:prstGeom>
          <a:noFill/>
        </p:spPr>
        <p:txBody>
          <a:bodyPr wrap="square" lIns="0" tIns="0" rIns="0" bIns="0" rtlCol="0">
            <a:spAutoFit/>
          </a:bodyPr>
          <a:lstStyle/>
          <a:p>
            <a:pPr algn="l"/>
            <a:r>
              <a:rPr lang="en-HR" sz="1200" b="1" dirty="0">
                <a:gradFill>
                  <a:gsLst>
                    <a:gs pos="2917">
                      <a:schemeClr val="tx1"/>
                    </a:gs>
                    <a:gs pos="30000">
                      <a:schemeClr val="tx1"/>
                    </a:gs>
                  </a:gsLst>
                  <a:lin ang="5400000" scaled="0"/>
                </a:gradFill>
              </a:rPr>
              <a:t>#ntk22</a:t>
            </a:r>
          </a:p>
        </p:txBody>
      </p:sp>
    </p:spTree>
    <p:extLst>
      <p:ext uri="{BB962C8B-B14F-4D97-AF65-F5344CB8AC3E}">
        <p14:creationId xmlns:p14="http://schemas.microsoft.com/office/powerpoint/2010/main" val="4179946700"/>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1276" userDrawn="1">
          <p15:clr>
            <a:srgbClr val="5ACBF0"/>
          </p15:clr>
        </p15:guide>
        <p15:guide id="3" orient="horz" pos="904"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71131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0746487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1552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72025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4345183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87073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922245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934955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182034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931557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FC78B115-6E89-A130-6F7E-75FBFEF4C99C}"/>
              </a:ext>
            </a:extLst>
          </p:cNvPr>
          <p:cNvPicPr>
            <a:picLocks noChangeAspect="1"/>
          </p:cNvPicPr>
          <p:nvPr userDrawn="1"/>
        </p:nvPicPr>
        <p:blipFill>
          <a:blip r:embed="rId2"/>
          <a:srcRect/>
          <a:stretch/>
        </p:blipFill>
        <p:spPr>
          <a:xfrm>
            <a:off x="586389" y="6083901"/>
            <a:ext cx="591057" cy="591057"/>
          </a:xfrm>
          <a:prstGeom prst="rect">
            <a:avLst/>
          </a:prstGeom>
        </p:spPr>
      </p:pic>
      <p:sp>
        <p:nvSpPr>
          <p:cNvPr id="5" name="TextBox 4">
            <a:extLst>
              <a:ext uri="{FF2B5EF4-FFF2-40B4-BE49-F238E27FC236}">
                <a16:creationId xmlns:a16="http://schemas.microsoft.com/office/drawing/2014/main" id="{4FCD8B7D-7C9D-82A9-4CBD-E6A247F65D11}"/>
              </a:ext>
            </a:extLst>
          </p:cNvPr>
          <p:cNvSpPr txBox="1"/>
          <p:nvPr userDrawn="1"/>
        </p:nvSpPr>
        <p:spPr>
          <a:xfrm>
            <a:off x="11119832" y="6379429"/>
            <a:ext cx="970156" cy="184666"/>
          </a:xfrm>
          <a:prstGeom prst="rect">
            <a:avLst/>
          </a:prstGeom>
          <a:noFill/>
        </p:spPr>
        <p:txBody>
          <a:bodyPr wrap="square" lIns="0" tIns="0" rIns="0" bIns="0" rtlCol="0">
            <a:spAutoFit/>
          </a:bodyPr>
          <a:lstStyle/>
          <a:p>
            <a:pPr algn="l"/>
            <a:r>
              <a:rPr lang="en-HR" sz="1200" b="1" dirty="0">
                <a:gradFill>
                  <a:gsLst>
                    <a:gs pos="2917">
                      <a:schemeClr val="tx1"/>
                    </a:gs>
                    <a:gs pos="30000">
                      <a:schemeClr val="tx1"/>
                    </a:gs>
                  </a:gsLst>
                  <a:lin ang="5400000" scaled="0"/>
                </a:gradFill>
              </a:rPr>
              <a:t>#ntk22</a:t>
            </a:r>
          </a:p>
        </p:txBody>
      </p:sp>
    </p:spTree>
    <p:extLst>
      <p:ext uri="{BB962C8B-B14F-4D97-AF65-F5344CB8AC3E}">
        <p14:creationId xmlns:p14="http://schemas.microsoft.com/office/powerpoint/2010/main" val="2189335521"/>
      </p:ext>
    </p:extLst>
  </p:cSld>
  <p:clrMapOvr>
    <a:masterClrMapping/>
  </p:clrMapOvr>
  <p:transition>
    <p:fade/>
  </p:transition>
  <p:extLst>
    <p:ext uri="{DCECCB84-F9BA-43D5-87BE-67443E8EF086}">
      <p15:sldGuideLst xmlns:p15="http://schemas.microsoft.com/office/powerpoint/2012/main">
        <p15:guide id="3" orient="horz" pos="900" userDrawn="1">
          <p15:clr>
            <a:srgbClr val="5ACBF0"/>
          </p15:clr>
        </p15:guide>
        <p15:guide id="4" orient="horz" pos="1276" userDrawn="1">
          <p15:clr>
            <a:srgbClr val="5ACBF0"/>
          </p15:clr>
        </p15:guide>
        <p15:guide id="5" orient="horz" pos="288" userDrawn="1">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562688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268501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611087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101002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7383842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570049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00174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9853169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08287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195104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theme" Target="../theme/theme10.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theme" Target="../theme/theme2.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theme" Target="../theme/theme3.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4.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theme" Target="../theme/theme5.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image" Target="../media/image22.emf"/><Relationship Id="rId8"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3" Type="http://schemas.openxmlformats.org/officeDocument/2006/relationships/slideLayout" Target="../slideLayouts/slideLayout123.xml"/><Relationship Id="rId21" Type="http://schemas.openxmlformats.org/officeDocument/2006/relationships/theme" Target="../theme/theme7.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21" Type="http://schemas.openxmlformats.org/officeDocument/2006/relationships/theme" Target="../theme/theme8.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image" Target="../media/image32.png"/></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 Type="http://schemas.openxmlformats.org/officeDocument/2006/relationships/slideLayout" Target="../slideLayouts/slideLayout163.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slideLayout" Target="../slideLayouts/slideLayout18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image" Target="../media/image22.emf"/><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theme" Target="../theme/theme9.xml"/><Relationship Id="rId8" Type="http://schemas.openxmlformats.org/officeDocument/2006/relationships/slideLayout" Target="../slideLayouts/slideLayout1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580" r:id="rId1"/>
    <p:sldLayoutId id="2147484609" r:id="rId2"/>
    <p:sldLayoutId id="2147484577" r:id="rId3"/>
    <p:sldLayoutId id="2147484610" r:id="rId4"/>
    <p:sldLayoutId id="2147484240" r:id="rId5"/>
    <p:sldLayoutId id="2147484241" r:id="rId6"/>
    <p:sldLayoutId id="2147484474" r:id="rId7"/>
    <p:sldLayoutId id="2147484245" r:id="rId8"/>
    <p:sldLayoutId id="2147484247" r:id="rId9"/>
    <p:sldLayoutId id="2147484639" r:id="rId10"/>
    <p:sldLayoutId id="2147484603" r:id="rId11"/>
    <p:sldLayoutId id="2147484573" r:id="rId12"/>
    <p:sldLayoutId id="2147484638" r:id="rId13"/>
    <p:sldLayoutId id="2147484673" r:id="rId14"/>
    <p:sldLayoutId id="2147484249" r:id="rId15"/>
    <p:sldLayoutId id="2147484683" r:id="rId16"/>
    <p:sldLayoutId id="2147484684" r:id="rId17"/>
    <p:sldLayoutId id="2147484256" r:id="rId18"/>
    <p:sldLayoutId id="2147484682" r:id="rId19"/>
    <p:sldLayoutId id="2147484263" r:id="rId20"/>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ACB1DAB-B195-8440-3E21-A4E310055D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E"/>
          </a:p>
        </p:txBody>
      </p:sp>
      <p:sp>
        <p:nvSpPr>
          <p:cNvPr id="3" name="Text Placeholder 2">
            <a:extLst>
              <a:ext uri="{FF2B5EF4-FFF2-40B4-BE49-F238E27FC236}">
                <a16:creationId xmlns:a16="http://schemas.microsoft.com/office/drawing/2014/main" id="{8E439117-A753-6E2A-4283-D65E91E91F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E747741D-B362-8062-6B68-209CF8A6FA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36E50C-8EAB-47D3-A385-20D7B69429FD}" type="datetimeFigureOut">
              <a:rPr lang="en-AE" smtClean="0"/>
              <a:t>26/10/2022</a:t>
            </a:fld>
            <a:endParaRPr lang="en-AE"/>
          </a:p>
        </p:txBody>
      </p:sp>
      <p:sp>
        <p:nvSpPr>
          <p:cNvPr id="5" name="Footer Placeholder 4">
            <a:extLst>
              <a:ext uri="{FF2B5EF4-FFF2-40B4-BE49-F238E27FC236}">
                <a16:creationId xmlns:a16="http://schemas.microsoft.com/office/drawing/2014/main" id="{074F5E6E-1C8F-9E36-EE57-58C905B64D8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E"/>
          </a:p>
        </p:txBody>
      </p:sp>
      <p:sp>
        <p:nvSpPr>
          <p:cNvPr id="6" name="Slide Number Placeholder 5">
            <a:extLst>
              <a:ext uri="{FF2B5EF4-FFF2-40B4-BE49-F238E27FC236}">
                <a16:creationId xmlns:a16="http://schemas.microsoft.com/office/drawing/2014/main" id="{1ED81646-179B-DA8C-F034-90FF80F515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144A4C-3819-4BE7-95C8-23BC91644D05}" type="slidenum">
              <a:rPr lang="en-AE" smtClean="0"/>
              <a:t>‹#›</a:t>
            </a:fld>
            <a:endParaRPr lang="en-AE"/>
          </a:p>
        </p:txBody>
      </p:sp>
    </p:spTree>
    <p:extLst>
      <p:ext uri="{BB962C8B-B14F-4D97-AF65-F5344CB8AC3E}">
        <p14:creationId xmlns:p14="http://schemas.microsoft.com/office/powerpoint/2010/main" val="2374873261"/>
      </p:ext>
    </p:extLst>
  </p:cSld>
  <p:clrMap bg1="lt1" tx1="dk1" bg2="lt2" tx2="dk2" accent1="accent1" accent2="accent2" accent3="accent3" accent4="accent4" accent5="accent5" accent6="accent6" hlink="hlink" folHlink="folHlink"/>
  <p:sldLayoutIdLst>
    <p:sldLayoutId id="2147484888" r:id="rId1"/>
    <p:sldLayoutId id="2147484889" r:id="rId2"/>
    <p:sldLayoutId id="2147484890" r:id="rId3"/>
    <p:sldLayoutId id="2147484891" r:id="rId4"/>
    <p:sldLayoutId id="2147484892" r:id="rId5"/>
    <p:sldLayoutId id="2147484893" r:id="rId6"/>
    <p:sldLayoutId id="2147484894" r:id="rId7"/>
    <p:sldLayoutId id="2147484895" r:id="rId8"/>
    <p:sldLayoutId id="2147484896" r:id="rId9"/>
    <p:sldLayoutId id="2147484897" r:id="rId10"/>
    <p:sldLayoutId id="2147484898" r:id="rId11"/>
    <p:sldLayoutId id="2147484899" r:id="rId12"/>
    <p:sldLayoutId id="2147484900" r:id="rId13"/>
    <p:sldLayoutId id="2147484901" r:id="rId14"/>
    <p:sldLayoutId id="2147484903" r:id="rId15"/>
    <p:sldLayoutId id="2147484904" r:id="rId16"/>
    <p:sldLayoutId id="214748490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9725FE8-FC37-4E8B-BB30-D6D33F396E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DFFEEA8-6868-4BF6-A57C-1ED939B49F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A6627C-8B8A-4C9C-BE99-AD8FAE6AB44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C7B3C9-5481-4AD9-B3AF-5D6F5B5CEDE1}" type="datetimeFigureOut">
              <a:rPr lang="en-US" smtClean="0"/>
              <a:t>10/26/2022</a:t>
            </a:fld>
            <a:endParaRPr lang="en-US"/>
          </a:p>
        </p:txBody>
      </p:sp>
      <p:sp>
        <p:nvSpPr>
          <p:cNvPr id="5" name="Footer Placeholder 4">
            <a:extLst>
              <a:ext uri="{FF2B5EF4-FFF2-40B4-BE49-F238E27FC236}">
                <a16:creationId xmlns:a16="http://schemas.microsoft.com/office/drawing/2014/main" id="{8B345B57-A04A-468A-8ED7-701D965C36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9B585B2-BD47-4513-9A4B-DB411358385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D3EA2B-B302-4851-B362-90A7E205E45F}" type="slidenum">
              <a:rPr lang="en-US" smtClean="0"/>
              <a:t>‹#›</a:t>
            </a:fld>
            <a:endParaRPr lang="en-US"/>
          </a:p>
        </p:txBody>
      </p:sp>
    </p:spTree>
    <p:extLst>
      <p:ext uri="{BB962C8B-B14F-4D97-AF65-F5344CB8AC3E}">
        <p14:creationId xmlns:p14="http://schemas.microsoft.com/office/powerpoint/2010/main" val="2579481265"/>
      </p:ext>
    </p:extLst>
  </p:cSld>
  <p:clrMap bg1="lt1" tx1="dk1" bg2="lt2" tx2="dk2" accent1="accent1" accent2="accent2" accent3="accent3" accent4="accent4" accent5="accent5" accent6="accent6" hlink="hlink" folHlink="folHlink"/>
  <p:sldLayoutIdLst>
    <p:sldLayoutId id="2147484686" r:id="rId1"/>
    <p:sldLayoutId id="2147484687" r:id="rId2"/>
    <p:sldLayoutId id="2147484688" r:id="rId3"/>
    <p:sldLayoutId id="2147484689" r:id="rId4"/>
    <p:sldLayoutId id="2147484690" r:id="rId5"/>
    <p:sldLayoutId id="2147484691" r:id="rId6"/>
    <p:sldLayoutId id="2147484692" r:id="rId7"/>
    <p:sldLayoutId id="2147484693" r:id="rId8"/>
    <p:sldLayoutId id="2147484694" r:id="rId9"/>
    <p:sldLayoutId id="2147484695" r:id="rId10"/>
    <p:sldLayoutId id="2147484696" r:id="rId11"/>
    <p:sldLayoutId id="2147484697" r:id="rId12"/>
    <p:sldLayoutId id="2147484698" r:id="rId13"/>
    <p:sldLayoutId id="2147484699" r:id="rId14"/>
    <p:sldLayoutId id="2147484700" r:id="rId15"/>
    <p:sldLayoutId id="2147484701" r:id="rId16"/>
    <p:sldLayoutId id="2147484702" r:id="rId17"/>
    <p:sldLayoutId id="2147484703" r:id="rId18"/>
    <p:sldLayoutId id="2147484704" r:id="rId19"/>
    <p:sldLayoutId id="2147484705" r:id="rId20"/>
    <p:sldLayoutId id="2147484706" r:id="rId21"/>
    <p:sldLayoutId id="2147484708" r:id="rId22"/>
    <p:sldLayoutId id="2147484709" r:id="rId23"/>
    <p:sldLayoutId id="2147484710"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26/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3931967090"/>
      </p:ext>
    </p:extLst>
  </p:cSld>
  <p:clrMap bg1="lt1" tx1="dk1" bg2="lt2" tx2="dk2" accent1="accent1" accent2="accent2" accent3="accent3" accent4="accent4" accent5="accent5" accent6="accent6" hlink="hlink" folHlink="folHlink"/>
  <p:sldLayoutIdLst>
    <p:sldLayoutId id="2147484712" r:id="rId1"/>
    <p:sldLayoutId id="2147484713" r:id="rId2"/>
    <p:sldLayoutId id="2147484714" r:id="rId3"/>
    <p:sldLayoutId id="2147484715" r:id="rId4"/>
    <p:sldLayoutId id="2147484716" r:id="rId5"/>
    <p:sldLayoutId id="2147484717" r:id="rId6"/>
    <p:sldLayoutId id="2147484718" r:id="rId7"/>
    <p:sldLayoutId id="2147484719" r:id="rId8"/>
    <p:sldLayoutId id="2147484720" r:id="rId9"/>
    <p:sldLayoutId id="2147484721" r:id="rId10"/>
    <p:sldLayoutId id="2147484722" r:id="rId11"/>
    <p:sldLayoutId id="2147484723" r:id="rId12"/>
    <p:sldLayoutId id="2147484724" r:id="rId13"/>
    <p:sldLayoutId id="2147484725" r:id="rId14"/>
    <p:sldLayoutId id="2147484726" r:id="rId15"/>
    <p:sldLayoutId id="214748472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28F340E-7A9B-4DC4-91DC-CBE38003E8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FBFC21-8F0A-47F4-9063-81A1E6F49C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3702889"/>
      </p:ext>
    </p:extLst>
  </p:cSld>
  <p:clrMap bg1="lt1" tx1="dk1" bg2="lt2" tx2="dk2" accent1="accent1" accent2="accent2" accent3="accent3" accent4="accent4" accent5="accent5" accent6="accent6" hlink="hlink" folHlink="folHlink"/>
  <p:sldLayoutIdLst>
    <p:sldLayoutId id="2147484729" r:id="rId1"/>
    <p:sldLayoutId id="2147484730" r:id="rId2"/>
    <p:sldLayoutId id="2147484731" r:id="rId3"/>
    <p:sldLayoutId id="2147484732" r:id="rId4"/>
    <p:sldLayoutId id="2147484733" r:id="rId5"/>
    <p:sldLayoutId id="2147484734" r:id="rId6"/>
    <p:sldLayoutId id="2147484735" r:id="rId7"/>
    <p:sldLayoutId id="2147484736" r:id="rId8"/>
    <p:sldLayoutId id="2147484737" r:id="rId9"/>
    <p:sldLayoutId id="2147484738" r:id="rId10"/>
    <p:sldLayoutId id="2147484739" r:id="rId11"/>
    <p:sldLayoutId id="2147484740" r:id="rId12"/>
    <p:sldLayoutId id="2147484741" r:id="rId13"/>
    <p:sldLayoutId id="2147484886" r:id="rId14"/>
  </p:sldLayoutIdLst>
  <p:hf sldNum="0" hdr="0" dt="0"/>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5"/>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98937600"/>
      </p:ext>
    </p:extLst>
  </p:cSld>
  <p:clrMap bg1="lt1" tx1="dk1" bg2="lt2" tx2="dk2" accent1="accent1" accent2="accent2" accent3="accent3" accent4="accent4" accent5="accent5" accent6="accent6" hlink="hlink" folHlink="folHlink"/>
  <p:sldLayoutIdLst>
    <p:sldLayoutId id="2147484743" r:id="rId1"/>
    <p:sldLayoutId id="2147484744" r:id="rId2"/>
    <p:sldLayoutId id="2147484745" r:id="rId3"/>
    <p:sldLayoutId id="2147484746" r:id="rId4"/>
    <p:sldLayoutId id="2147484747" r:id="rId5"/>
    <p:sldLayoutId id="2147484748" r:id="rId6"/>
    <p:sldLayoutId id="2147484749" r:id="rId7"/>
    <p:sldLayoutId id="2147484750" r:id="rId8"/>
    <p:sldLayoutId id="2147484751" r:id="rId9"/>
    <p:sldLayoutId id="2147484752" r:id="rId10"/>
    <p:sldLayoutId id="2147484753" r:id="rId11"/>
    <p:sldLayoutId id="2147484754" r:id="rId12"/>
    <p:sldLayoutId id="2147484755" r:id="rId13"/>
    <p:sldLayoutId id="2147484756" r:id="rId14"/>
    <p:sldLayoutId id="2147484757" r:id="rId15"/>
    <p:sldLayoutId id="2147484758" r:id="rId16"/>
    <p:sldLayoutId id="2147484759" r:id="rId17"/>
    <p:sldLayoutId id="2147484760" r:id="rId18"/>
    <p:sldLayoutId id="2147484761" r:id="rId19"/>
    <p:sldLayoutId id="2147484762" r:id="rId20"/>
    <p:sldLayoutId id="2147484763" r:id="rId21"/>
    <p:sldLayoutId id="2147484764" r:id="rId22"/>
    <p:sldLayoutId id="2147484765" r:id="rId23"/>
    <p:sldLayoutId id="2147484766" r:id="rId24"/>
    <p:sldLayoutId id="2147484767" r:id="rId25"/>
    <p:sldLayoutId id="2147484768" r:id="rId26"/>
    <p:sldLayoutId id="2147484769" r:id="rId27"/>
    <p:sldLayoutId id="2147484770" r:id="rId28"/>
    <p:sldLayoutId id="2147484771" r:id="rId29"/>
    <p:sldLayoutId id="2147484772" r:id="rId30"/>
    <p:sldLayoutId id="2147484773" r:id="rId31"/>
    <p:sldLayoutId id="2147484774" r:id="rId32"/>
    <p:sldLayoutId id="2147484775" r:id="rId3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9A4D1D-AA27-434F-857A-6CD85676BF87}" type="datetimeFigureOut">
              <a:rPr lang="en-US" smtClean="0"/>
              <a:t>10/26/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F99370-00E9-479B-84B4-4B94A6BFFD54}" type="slidenum">
              <a:rPr lang="en-US" smtClean="0"/>
              <a:t>‹#›</a:t>
            </a:fld>
            <a:endParaRPr lang="en-US"/>
          </a:p>
        </p:txBody>
      </p:sp>
    </p:spTree>
    <p:extLst>
      <p:ext uri="{BB962C8B-B14F-4D97-AF65-F5344CB8AC3E}">
        <p14:creationId xmlns:p14="http://schemas.microsoft.com/office/powerpoint/2010/main" val="2164720143"/>
      </p:ext>
    </p:extLst>
  </p:cSld>
  <p:clrMap bg1="lt1" tx1="dk1" bg2="lt2" tx2="dk2" accent1="accent1" accent2="accent2" accent3="accent3" accent4="accent4" accent5="accent5" accent6="accent6" hlink="hlink" folHlink="folHlink"/>
  <p:sldLayoutIdLst>
    <p:sldLayoutId id="2147484777" r:id="rId1"/>
    <p:sldLayoutId id="2147484778" r:id="rId2"/>
    <p:sldLayoutId id="2147484779" r:id="rId3"/>
    <p:sldLayoutId id="2147484780" r:id="rId4"/>
    <p:sldLayoutId id="2147484781" r:id="rId5"/>
    <p:sldLayoutId id="2147484782" r:id="rId6"/>
    <p:sldLayoutId id="2147484783" r:id="rId7"/>
    <p:sldLayoutId id="2147484784" r:id="rId8"/>
    <p:sldLayoutId id="2147484785" r:id="rId9"/>
    <p:sldLayoutId id="2147484786" r:id="rId10"/>
    <p:sldLayoutId id="2147484787" r:id="rId11"/>
    <p:sldLayoutId id="2147484788" r:id="rId12"/>
    <p:sldLayoutId id="214748478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9A4D1D-AA27-434F-857A-6CD85676BF87}" type="datetimeFigureOut">
              <a:rPr lang="en-US" smtClean="0">
                <a:solidFill>
                  <a:prstClr val="black">
                    <a:tint val="75000"/>
                  </a:prstClr>
                </a:solidFill>
              </a:rPr>
              <a:pPr/>
              <a:t>10/26/2022</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F99370-00E9-479B-84B4-4B94A6BFFD5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8106716"/>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 id="2147484804" r:id="rId14"/>
    <p:sldLayoutId id="2147484805" r:id="rId15"/>
    <p:sldLayoutId id="2147484806" r:id="rId16"/>
    <p:sldLayoutId id="2147484807" r:id="rId17"/>
    <p:sldLayoutId id="2147484808" r:id="rId18"/>
    <p:sldLayoutId id="2147484809" r:id="rId19"/>
    <p:sldLayoutId id="2147484810"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399A4D1D-AA27-434F-857A-6CD85676BF87}" type="datetimeFigureOut">
              <a:rPr lang="en-US" smtClean="0"/>
              <a:pPr/>
              <a:t>10/26/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A7F99370-00E9-479B-84B4-4B94A6BFFD54}" type="slidenum">
              <a:rPr lang="en-US" smtClean="0"/>
              <a:pPr/>
              <a:t>‹#›</a:t>
            </a:fld>
            <a:endParaRPr lang="en-US"/>
          </a:p>
        </p:txBody>
      </p:sp>
      <p:pic>
        <p:nvPicPr>
          <p:cNvPr id="7" name="Picture 6"/>
          <p:cNvPicPr>
            <a:picLocks noChangeAspect="1"/>
          </p:cNvPicPr>
          <p:nvPr userDrawn="1"/>
        </p:nvPicPr>
        <p:blipFill>
          <a:blip r:embed="rId2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140757828"/>
      </p:ext>
    </p:extLst>
  </p:cSld>
  <p:clrMap bg1="lt1" tx1="dk1" bg2="lt2" tx2="dk2" accent1="accent1" accent2="accent2" accent3="accent3" accent4="accent4" accent5="accent5" accent6="accent6" hlink="hlink" folHlink="folHlink"/>
  <p:sldLayoutIdLst>
    <p:sldLayoutId id="2147484812" r:id="rId1"/>
    <p:sldLayoutId id="2147484813" r:id="rId2"/>
    <p:sldLayoutId id="2147484814" r:id="rId3"/>
    <p:sldLayoutId id="2147484815" r:id="rId4"/>
    <p:sldLayoutId id="2147484816" r:id="rId5"/>
    <p:sldLayoutId id="2147484817" r:id="rId6"/>
    <p:sldLayoutId id="2147484818" r:id="rId7"/>
    <p:sldLayoutId id="2147484819" r:id="rId8"/>
    <p:sldLayoutId id="2147484820" r:id="rId9"/>
    <p:sldLayoutId id="2147484821" r:id="rId10"/>
    <p:sldLayoutId id="2147484822" r:id="rId11"/>
    <p:sldLayoutId id="2147484823" r:id="rId12"/>
    <p:sldLayoutId id="2147484824" r:id="rId13"/>
    <p:sldLayoutId id="2147484825" r:id="rId14"/>
    <p:sldLayoutId id="2147484826" r:id="rId15"/>
    <p:sldLayoutId id="2147484827" r:id="rId16"/>
    <p:sldLayoutId id="2147484828" r:id="rId17"/>
    <p:sldLayoutId id="2147484829" r:id="rId18"/>
    <p:sldLayoutId id="2147484830" r:id="rId19"/>
    <p:sldLayoutId id="2147484831" r:id="rId20"/>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6"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58929206"/>
      </p:ext>
    </p:extLst>
  </p:cSld>
  <p:clrMap bg1="lt1" tx1="dk1" bg2="lt2" tx2="dk2" accent1="accent1" accent2="accent2" accent3="accent3" accent4="accent4" accent5="accent5" accent6="accent6" hlink="hlink" folHlink="folHlink"/>
  <p:sldLayoutIdLst>
    <p:sldLayoutId id="2147484849" r:id="rId1"/>
    <p:sldLayoutId id="2147484850" r:id="rId2"/>
    <p:sldLayoutId id="2147484851" r:id="rId3"/>
    <p:sldLayoutId id="2147484852" r:id="rId4"/>
    <p:sldLayoutId id="2147484853" r:id="rId5"/>
    <p:sldLayoutId id="2147484854" r:id="rId6"/>
    <p:sldLayoutId id="2147484855" r:id="rId7"/>
    <p:sldLayoutId id="2147484856" r:id="rId8"/>
    <p:sldLayoutId id="2147484857" r:id="rId9"/>
    <p:sldLayoutId id="2147484858" r:id="rId10"/>
    <p:sldLayoutId id="2147484859" r:id="rId11"/>
    <p:sldLayoutId id="2147484860" r:id="rId12"/>
    <p:sldLayoutId id="2147484861" r:id="rId13"/>
    <p:sldLayoutId id="2147484862" r:id="rId14"/>
    <p:sldLayoutId id="2147484863" r:id="rId15"/>
    <p:sldLayoutId id="2147484864" r:id="rId16"/>
    <p:sldLayoutId id="2147484865" r:id="rId17"/>
    <p:sldLayoutId id="2147484866" r:id="rId18"/>
    <p:sldLayoutId id="2147484867" r:id="rId19"/>
    <p:sldLayoutId id="2147484868" r:id="rId20"/>
    <p:sldLayoutId id="2147484869" r:id="rId21"/>
    <p:sldLayoutId id="2147484870" r:id="rId22"/>
    <p:sldLayoutId id="2147484871" r:id="rId23"/>
    <p:sldLayoutId id="2147484872" r:id="rId24"/>
    <p:sldLayoutId id="2147484873" r:id="rId25"/>
    <p:sldLayoutId id="2147484874" r:id="rId26"/>
    <p:sldLayoutId id="2147484875" r:id="rId27"/>
    <p:sldLayoutId id="2147484876" r:id="rId28"/>
    <p:sldLayoutId id="2147484877" r:id="rId29"/>
    <p:sldLayoutId id="2147484878" r:id="rId30"/>
    <p:sldLayoutId id="2147484879" r:id="rId31"/>
    <p:sldLayoutId id="2147484880" r:id="rId32"/>
    <p:sldLayoutId id="2147484881" r:id="rId33"/>
    <p:sldLayoutId id="2147484882" r:id="rId34"/>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jpeg"/></Relationships>
</file>

<file path=ppt/slides/_rels/slide11.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0.xml"/><Relationship Id="rId1" Type="http://schemas.openxmlformats.org/officeDocument/2006/relationships/slideLayout" Target="../slideLayouts/slideLayout68.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chart" Target="../charts/chart3.xml"/><Relationship Id="rId10" Type="http://schemas.openxmlformats.org/officeDocument/2006/relationships/chart" Target="../charts/chart8.xml"/><Relationship Id="rId4" Type="http://schemas.openxmlformats.org/officeDocument/2006/relationships/chart" Target="../charts/chart2.xml"/><Relationship Id="rId9" Type="http://schemas.openxmlformats.org/officeDocument/2006/relationships/chart" Target="../charts/chart7.xml"/></Relationships>
</file>

<file path=ppt/slides/_rels/slide1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1.xml"/><Relationship Id="rId1" Type="http://schemas.openxmlformats.org/officeDocument/2006/relationships/slideLayout" Target="../slideLayouts/slideLayout151.xml"/></Relationships>
</file>

<file path=ppt/slides/_rels/slide1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themeOverride" Target="../theme/themeOverride1.xml"/><Relationship Id="rId6" Type="http://schemas.openxmlformats.org/officeDocument/2006/relationships/image" Target="../media/image59.png"/><Relationship Id="rId5" Type="http://schemas.openxmlformats.org/officeDocument/2006/relationships/notesSlide" Target="../notesSlides/notesSlide12.xml"/><Relationship Id="rId4" Type="http://schemas.openxmlformats.org/officeDocument/2006/relationships/slideLayout" Target="../slideLayouts/slideLayout12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1.xml"/><Relationship Id="rId1" Type="http://schemas.openxmlformats.org/officeDocument/2006/relationships/tags" Target="../tags/tag3.xml"/><Relationship Id="rId4" Type="http://schemas.openxmlformats.org/officeDocument/2006/relationships/chart" Target="../charts/char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74.xml"/><Relationship Id="rId6" Type="http://schemas.microsoft.com/office/2007/relationships/hdphoto" Target="../media/hdphoto1.wdp"/><Relationship Id="rId5" Type="http://schemas.openxmlformats.org/officeDocument/2006/relationships/image" Target="../media/image62.png"/><Relationship Id="rId10" Type="http://schemas.openxmlformats.org/officeDocument/2006/relationships/image" Target="../media/image66.svg"/><Relationship Id="rId4" Type="http://schemas.openxmlformats.org/officeDocument/2006/relationships/image" Target="../media/image61.png"/><Relationship Id="rId9" Type="http://schemas.openxmlformats.org/officeDocument/2006/relationships/image" Target="../media/image65.png"/></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209.xml"/></Relationships>
</file>

<file path=ppt/slides/_rels/slide19.xml.rels><?xml version="1.0" encoding="UTF-8" standalone="yes"?>
<Relationships xmlns="http://schemas.openxmlformats.org/package/2006/relationships"><Relationship Id="rId8" Type="http://schemas.openxmlformats.org/officeDocument/2006/relationships/image" Target="../media/image74.sv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svg"/><Relationship Id="rId2" Type="http://schemas.openxmlformats.org/officeDocument/2006/relationships/image" Target="../media/image68.png"/><Relationship Id="rId1" Type="http://schemas.openxmlformats.org/officeDocument/2006/relationships/slideLayout" Target="../slideLayouts/slideLayout68.xml"/><Relationship Id="rId6" Type="http://schemas.openxmlformats.org/officeDocument/2006/relationships/image" Target="../media/image72.sv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svg"/><Relationship Id="rId4" Type="http://schemas.openxmlformats.org/officeDocument/2006/relationships/image" Target="../media/image70.png"/><Relationship Id="rId9" Type="http://schemas.openxmlformats.org/officeDocument/2006/relationships/image" Target="../media/image75.png"/></Relationships>
</file>

<file path=ppt/slides/_rels/slide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08.xml"/></Relationships>
</file>

<file path=ppt/slides/_rels/slide2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80.svg"/><Relationship Id="rId7" Type="http://schemas.openxmlformats.org/officeDocument/2006/relationships/image" Target="../media/image84.png"/><Relationship Id="rId12" Type="http://schemas.openxmlformats.org/officeDocument/2006/relationships/image" Target="../media/image88.svg"/><Relationship Id="rId2" Type="http://schemas.openxmlformats.org/officeDocument/2006/relationships/image" Target="../media/image79.png"/><Relationship Id="rId1" Type="http://schemas.openxmlformats.org/officeDocument/2006/relationships/slideLayout" Target="../slideLayouts/slideLayout68.xml"/><Relationship Id="rId6" Type="http://schemas.openxmlformats.org/officeDocument/2006/relationships/image" Target="../media/image83.png"/><Relationship Id="rId11" Type="http://schemas.openxmlformats.org/officeDocument/2006/relationships/image" Target="../media/image87.png"/><Relationship Id="rId5" Type="http://schemas.openxmlformats.org/officeDocument/2006/relationships/image" Target="../media/image82.svg"/><Relationship Id="rId10" Type="http://schemas.openxmlformats.org/officeDocument/2006/relationships/image" Target="../media/image86.svg"/><Relationship Id="rId4" Type="http://schemas.openxmlformats.org/officeDocument/2006/relationships/image" Target="../media/image81.png"/><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18" Type="http://schemas.openxmlformats.org/officeDocument/2006/relationships/image" Target="../media/image104.png"/><Relationship Id="rId26" Type="http://schemas.openxmlformats.org/officeDocument/2006/relationships/image" Target="../media/image112.png"/><Relationship Id="rId3" Type="http://schemas.microsoft.com/office/2007/relationships/hdphoto" Target="../media/hdphoto3.wdp"/><Relationship Id="rId21" Type="http://schemas.openxmlformats.org/officeDocument/2006/relationships/image" Target="../media/image107.png"/><Relationship Id="rId7" Type="http://schemas.openxmlformats.org/officeDocument/2006/relationships/image" Target="../media/image93.png"/><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1.png"/><Relationship Id="rId2" Type="http://schemas.openxmlformats.org/officeDocument/2006/relationships/image" Target="../media/image89.png"/><Relationship Id="rId16" Type="http://schemas.openxmlformats.org/officeDocument/2006/relationships/image" Target="../media/image102.png"/><Relationship Id="rId20" Type="http://schemas.openxmlformats.org/officeDocument/2006/relationships/image" Target="../media/image106.png"/><Relationship Id="rId29" Type="http://schemas.openxmlformats.org/officeDocument/2006/relationships/image" Target="../media/image115.png"/><Relationship Id="rId1" Type="http://schemas.openxmlformats.org/officeDocument/2006/relationships/slideLayout" Target="../slideLayouts/slideLayout68.xml"/><Relationship Id="rId6" Type="http://schemas.openxmlformats.org/officeDocument/2006/relationships/image" Target="../media/image92.png"/><Relationship Id="rId11" Type="http://schemas.openxmlformats.org/officeDocument/2006/relationships/image" Target="../media/image97.png"/><Relationship Id="rId24" Type="http://schemas.openxmlformats.org/officeDocument/2006/relationships/image" Target="../media/image110.png"/><Relationship Id="rId5" Type="http://schemas.openxmlformats.org/officeDocument/2006/relationships/image" Target="../media/image91.png"/><Relationship Id="rId15" Type="http://schemas.openxmlformats.org/officeDocument/2006/relationships/image" Target="../media/image101.png"/><Relationship Id="rId23" Type="http://schemas.openxmlformats.org/officeDocument/2006/relationships/image" Target="../media/image109.png"/><Relationship Id="rId28" Type="http://schemas.openxmlformats.org/officeDocument/2006/relationships/image" Target="../media/image114.png"/><Relationship Id="rId10" Type="http://schemas.openxmlformats.org/officeDocument/2006/relationships/image" Target="../media/image96.png"/><Relationship Id="rId19" Type="http://schemas.openxmlformats.org/officeDocument/2006/relationships/image" Target="../media/image105.png"/><Relationship Id="rId31" Type="http://schemas.microsoft.com/office/2007/relationships/hdphoto" Target="../media/hdphoto4.wdp"/><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image" Target="../media/image113.png"/><Relationship Id="rId30" Type="http://schemas.openxmlformats.org/officeDocument/2006/relationships/image" Target="../media/image116.png"/></Relationships>
</file>

<file path=ppt/slides/_rels/slide22.xml.rels><?xml version="1.0" encoding="UTF-8" standalone="yes"?>
<Relationships xmlns="http://schemas.openxmlformats.org/package/2006/relationships"><Relationship Id="rId3" Type="http://schemas.openxmlformats.org/officeDocument/2006/relationships/image" Target="../media/image117.png"/><Relationship Id="rId7" Type="http://schemas.openxmlformats.org/officeDocument/2006/relationships/image" Target="../media/image121.png"/><Relationship Id="rId2" Type="http://schemas.openxmlformats.org/officeDocument/2006/relationships/notesSlide" Target="../notesSlides/notesSlide17.xml"/><Relationship Id="rId1" Type="http://schemas.openxmlformats.org/officeDocument/2006/relationships/slideLayout" Target="../slideLayouts/slideLayout171.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2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8.xml"/><Relationship Id="rId1" Type="http://schemas.openxmlformats.org/officeDocument/2006/relationships/slideLayout" Target="../slideLayouts/slideLayout171.xml"/></Relationships>
</file>

<file path=ppt/slides/_rels/slide24.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24.png"/><Relationship Id="rId7" Type="http://schemas.openxmlformats.org/officeDocument/2006/relationships/image" Target="../media/image128.png"/><Relationship Id="rId2" Type="http://schemas.openxmlformats.org/officeDocument/2006/relationships/image" Target="../media/image123.png"/><Relationship Id="rId1" Type="http://schemas.openxmlformats.org/officeDocument/2006/relationships/slideLayout" Target="../slideLayouts/slideLayout114.xml"/><Relationship Id="rId6" Type="http://schemas.openxmlformats.org/officeDocument/2006/relationships/image" Target="../media/image127.png"/><Relationship Id="rId5" Type="http://schemas.openxmlformats.org/officeDocument/2006/relationships/image" Target="../media/image126.png"/><Relationship Id="rId10" Type="http://schemas.openxmlformats.org/officeDocument/2006/relationships/image" Target="../media/image131.png"/><Relationship Id="rId4" Type="http://schemas.openxmlformats.org/officeDocument/2006/relationships/image" Target="../media/image125.png"/><Relationship Id="rId9" Type="http://schemas.openxmlformats.org/officeDocument/2006/relationships/image" Target="../media/image130.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5.xml"/><Relationship Id="rId1" Type="http://schemas.openxmlformats.org/officeDocument/2006/relationships/slideLayout" Target="../slideLayouts/slideLayout151.xml"/></Relationships>
</file>

<file path=ppt/slides/_rels/slide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68.xml"/><Relationship Id="rId5" Type="http://schemas.openxmlformats.org/officeDocument/2006/relationships/image" Target="../media/image50.jpeg"/><Relationship Id="rId4" Type="http://schemas.openxmlformats.org/officeDocument/2006/relationships/image" Target="../media/image49.jpeg"/></Relationships>
</file>

<file path=ppt/slides/_rels/slide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8.xml"/><Relationship Id="rId1" Type="http://schemas.openxmlformats.org/officeDocument/2006/relationships/slideLayout" Target="../slideLayouts/slideLayout68.xml"/><Relationship Id="rId4" Type="http://schemas.openxmlformats.org/officeDocument/2006/relationships/image" Target="../media/image5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4AD249-6AA7-EA85-CF4B-DF9536C1E352}"/>
              </a:ext>
            </a:extLst>
          </p:cNvPr>
          <p:cNvSpPr>
            <a:spLocks noGrp="1"/>
          </p:cNvSpPr>
          <p:nvPr>
            <p:ph type="title"/>
          </p:nvPr>
        </p:nvSpPr>
        <p:spPr>
          <a:xfrm>
            <a:off x="468995" y="1997729"/>
            <a:ext cx="4167887" cy="3139321"/>
          </a:xfrm>
        </p:spPr>
        <p:txBody>
          <a:bodyPr/>
          <a:lstStyle/>
          <a:p>
            <a:r>
              <a:rPr lang="hr-HR" dirty="0"/>
              <a:t>Trendovi i mogućnosti uz digitalnu transformaciju u edukaciji</a:t>
            </a:r>
            <a:endParaRPr lang="en-HR" dirty="0"/>
          </a:p>
        </p:txBody>
      </p:sp>
      <p:sp>
        <p:nvSpPr>
          <p:cNvPr id="7" name="Text Placeholder 6">
            <a:extLst>
              <a:ext uri="{FF2B5EF4-FFF2-40B4-BE49-F238E27FC236}">
                <a16:creationId xmlns:a16="http://schemas.microsoft.com/office/drawing/2014/main" id="{EDFBDDBD-5C64-9EAE-90C8-6F39B22C3273}"/>
              </a:ext>
            </a:extLst>
          </p:cNvPr>
          <p:cNvSpPr>
            <a:spLocks noGrp="1"/>
          </p:cNvSpPr>
          <p:nvPr>
            <p:ph type="body" sz="quarter" idx="12"/>
          </p:nvPr>
        </p:nvSpPr>
        <p:spPr>
          <a:xfrm>
            <a:off x="591568" y="5930348"/>
            <a:ext cx="4164583" cy="304699"/>
          </a:xfrm>
        </p:spPr>
        <p:txBody>
          <a:bodyPr/>
          <a:lstStyle/>
          <a:p>
            <a:r>
              <a:rPr lang="en-US" dirty="0"/>
              <a:t>Oliver Zofič, Acting CEE Education lead &amp; MW specialist</a:t>
            </a:r>
            <a:endParaRPr lang="en-HR" dirty="0"/>
          </a:p>
        </p:txBody>
      </p:sp>
    </p:spTree>
    <p:extLst>
      <p:ext uri="{BB962C8B-B14F-4D97-AF65-F5344CB8AC3E}">
        <p14:creationId xmlns:p14="http://schemas.microsoft.com/office/powerpoint/2010/main" val="1795078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in clothing&#10;&#10;Description automatically generated with medium confidence">
            <a:extLst>
              <a:ext uri="{FF2B5EF4-FFF2-40B4-BE49-F238E27FC236}">
                <a16:creationId xmlns:a16="http://schemas.microsoft.com/office/drawing/2014/main" id="{CD649013-159B-4E06-BA54-23C49757992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88952" cy="3892195"/>
          </a:xfrm>
          <a:prstGeom prst="rect">
            <a:avLst/>
          </a:prstGeom>
        </p:spPr>
      </p:pic>
      <p:pic>
        <p:nvPicPr>
          <p:cNvPr id="4" name="RECOVER PICTURE" descr="A person playing a video game&#10;&#10;Description automatically generated">
            <a:extLst>
              <a:ext uri="{FF2B5EF4-FFF2-40B4-BE49-F238E27FC236}">
                <a16:creationId xmlns:a16="http://schemas.microsoft.com/office/drawing/2014/main" id="{F657EAE6-0396-4395-8C28-75FD3F36AAC1}"/>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1" y="0"/>
            <a:ext cx="12188951" cy="3886200"/>
          </a:xfrm>
          <a:prstGeom prst="rect">
            <a:avLst/>
          </a:prstGeom>
        </p:spPr>
      </p:pic>
      <p:pic>
        <p:nvPicPr>
          <p:cNvPr id="3" name="REIMAGINE">
            <a:extLst>
              <a:ext uri="{FF2B5EF4-FFF2-40B4-BE49-F238E27FC236}">
                <a16:creationId xmlns:a16="http://schemas.microsoft.com/office/drawing/2014/main" id="{B977CB46-7DF5-492A-8D5F-C7155147D6AC}"/>
              </a:ext>
            </a:extLst>
          </p:cNvPr>
          <p:cNvPicPr>
            <a:picLocks/>
          </p:cNvPicPr>
          <p:nvPr/>
        </p:nvPicPr>
        <p:blipFill rotWithShape="1">
          <a:blip r:embed="rId5">
            <a:extLst>
              <a:ext uri="{28A0092B-C50C-407E-A947-70E740481C1C}">
                <a14:useLocalDpi xmlns:a14="http://schemas.microsoft.com/office/drawing/2010/main" val="0"/>
              </a:ext>
            </a:extLst>
          </a:blip>
          <a:srcRect/>
          <a:stretch/>
        </p:blipFill>
        <p:spPr>
          <a:xfrm>
            <a:off x="0" y="17248"/>
            <a:ext cx="12188952" cy="3869992"/>
          </a:xfrm>
          <a:prstGeom prst="rect">
            <a:avLst/>
          </a:prstGeom>
        </p:spPr>
      </p:pic>
      <p:sp>
        <p:nvSpPr>
          <p:cNvPr id="31" name="Rectangle 30">
            <a:extLst>
              <a:ext uri="{FF2B5EF4-FFF2-40B4-BE49-F238E27FC236}">
                <a16:creationId xmlns:a16="http://schemas.microsoft.com/office/drawing/2014/main" id="{1957BCF7-0E01-4607-A0EC-34EB3B330849}"/>
              </a:ext>
            </a:extLst>
          </p:cNvPr>
          <p:cNvSpPr/>
          <p:nvPr/>
        </p:nvSpPr>
        <p:spPr>
          <a:xfrm>
            <a:off x="0" y="1"/>
            <a:ext cx="12192000" cy="6858001"/>
          </a:xfrm>
          <a:prstGeom prst="rect">
            <a:avLst/>
          </a:prstGeom>
          <a:solidFill>
            <a:srgbClr val="262626">
              <a:alpha val="6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D3387757-B7DC-449F-A869-C76802618939}"/>
              </a:ext>
            </a:extLst>
          </p:cNvPr>
          <p:cNvSpPr/>
          <p:nvPr/>
        </p:nvSpPr>
        <p:spPr>
          <a:xfrm>
            <a:off x="0" y="3640668"/>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Isosceles Triangle 5">
            <a:extLst>
              <a:ext uri="{FF2B5EF4-FFF2-40B4-BE49-F238E27FC236}">
                <a16:creationId xmlns:a16="http://schemas.microsoft.com/office/drawing/2014/main" id="{779D79D4-87D7-4D9B-8D7A-6E32224CB248}"/>
              </a:ext>
            </a:extLst>
          </p:cNvPr>
          <p:cNvSpPr/>
          <p:nvPr/>
        </p:nvSpPr>
        <p:spPr>
          <a:xfrm>
            <a:off x="3993307" y="4285282"/>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BD917FDB-BDFC-4A66-8119-1445C3A8DE5D}"/>
              </a:ext>
            </a:extLst>
          </p:cNvPr>
          <p:cNvSpPr/>
          <p:nvPr/>
        </p:nvSpPr>
        <p:spPr>
          <a:xfrm>
            <a:off x="4062984" y="3640668"/>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1509CB4A-6826-447B-AB0A-A8001F6A6C7F}"/>
              </a:ext>
            </a:extLst>
          </p:cNvPr>
          <p:cNvSpPr/>
          <p:nvPr/>
        </p:nvSpPr>
        <p:spPr>
          <a:xfrm>
            <a:off x="8125967" y="3640668"/>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Isosceles Triangle 18">
            <a:extLst>
              <a:ext uri="{FF2B5EF4-FFF2-40B4-BE49-F238E27FC236}">
                <a16:creationId xmlns:a16="http://schemas.microsoft.com/office/drawing/2014/main" id="{6ADE40BC-670C-446B-A980-995D95C9A020}"/>
              </a:ext>
            </a:extLst>
          </p:cNvPr>
          <p:cNvSpPr/>
          <p:nvPr/>
        </p:nvSpPr>
        <p:spPr>
          <a:xfrm>
            <a:off x="8056290" y="4285282"/>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Isosceles Triangle 19">
            <a:extLst>
              <a:ext uri="{FF2B5EF4-FFF2-40B4-BE49-F238E27FC236}">
                <a16:creationId xmlns:a16="http://schemas.microsoft.com/office/drawing/2014/main" id="{7F857FB7-4030-4434-AAD3-D3F81BEBA7C6}"/>
              </a:ext>
            </a:extLst>
          </p:cNvPr>
          <p:cNvSpPr/>
          <p:nvPr/>
        </p:nvSpPr>
        <p:spPr>
          <a:xfrm>
            <a:off x="12119273" y="4285282"/>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3" name="Group 22">
            <a:extLst>
              <a:ext uri="{FF2B5EF4-FFF2-40B4-BE49-F238E27FC236}">
                <a16:creationId xmlns:a16="http://schemas.microsoft.com/office/drawing/2014/main" id="{3C2CD78E-0D2E-4CFF-BB05-4BE9BC23405D}"/>
              </a:ext>
            </a:extLst>
          </p:cNvPr>
          <p:cNvGrpSpPr/>
          <p:nvPr/>
        </p:nvGrpSpPr>
        <p:grpSpPr>
          <a:xfrm>
            <a:off x="32964" y="3892196"/>
            <a:ext cx="3960343" cy="195612"/>
            <a:chOff x="32963" y="463196"/>
            <a:chExt cx="3960343" cy="195612"/>
          </a:xfrm>
        </p:grpSpPr>
        <p:sp>
          <p:nvSpPr>
            <p:cNvPr id="21" name="Isosceles Triangle 20">
              <a:extLst>
                <a:ext uri="{FF2B5EF4-FFF2-40B4-BE49-F238E27FC236}">
                  <a16:creationId xmlns:a16="http://schemas.microsoft.com/office/drawing/2014/main" id="{EF412553-C5FC-4840-AB0E-9E123FD5E47A}"/>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Isosceles Triangle 21">
              <a:extLst>
                <a:ext uri="{FF2B5EF4-FFF2-40B4-BE49-F238E27FC236}">
                  <a16:creationId xmlns:a16="http://schemas.microsoft.com/office/drawing/2014/main" id="{0ADC183C-8141-464F-B169-C67382872D57}"/>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92430A68-3C30-40A0-B41C-A315AC9300CE}"/>
              </a:ext>
            </a:extLst>
          </p:cNvPr>
          <p:cNvGrpSpPr/>
          <p:nvPr/>
        </p:nvGrpSpPr>
        <p:grpSpPr>
          <a:xfrm>
            <a:off x="4115830" y="3892196"/>
            <a:ext cx="3960343" cy="195612"/>
            <a:chOff x="32963" y="463196"/>
            <a:chExt cx="3960343" cy="195612"/>
          </a:xfrm>
        </p:grpSpPr>
        <p:sp>
          <p:nvSpPr>
            <p:cNvPr id="25" name="Isosceles Triangle 24">
              <a:extLst>
                <a:ext uri="{FF2B5EF4-FFF2-40B4-BE49-F238E27FC236}">
                  <a16:creationId xmlns:a16="http://schemas.microsoft.com/office/drawing/2014/main" id="{D033CB06-76BF-4474-94FF-0931D9DD6EC9}"/>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Isosceles Triangle 25">
              <a:extLst>
                <a:ext uri="{FF2B5EF4-FFF2-40B4-BE49-F238E27FC236}">
                  <a16:creationId xmlns:a16="http://schemas.microsoft.com/office/drawing/2014/main" id="{0CA53F7D-AC96-4AA4-BA5D-F51B83BBFDE6}"/>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328DB9CA-809F-4A9C-88F6-80C8DE611B7D}"/>
              </a:ext>
            </a:extLst>
          </p:cNvPr>
          <p:cNvGrpSpPr/>
          <p:nvPr/>
        </p:nvGrpSpPr>
        <p:grpSpPr>
          <a:xfrm>
            <a:off x="8177288" y="3892196"/>
            <a:ext cx="3960343" cy="195612"/>
            <a:chOff x="32963" y="463196"/>
            <a:chExt cx="3960343" cy="195612"/>
          </a:xfrm>
        </p:grpSpPr>
        <p:sp>
          <p:nvSpPr>
            <p:cNvPr id="28" name="Isosceles Triangle 27">
              <a:extLst>
                <a:ext uri="{FF2B5EF4-FFF2-40B4-BE49-F238E27FC236}">
                  <a16:creationId xmlns:a16="http://schemas.microsoft.com/office/drawing/2014/main" id="{59E3D266-5411-4FE6-A72C-36B4B06C904C}"/>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Isosceles Triangle 28">
              <a:extLst>
                <a:ext uri="{FF2B5EF4-FFF2-40B4-BE49-F238E27FC236}">
                  <a16:creationId xmlns:a16="http://schemas.microsoft.com/office/drawing/2014/main" id="{477117DA-1D1F-4BF3-9008-8461DC2F2DDB}"/>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TextBox 38" hidden="1">
            <a:extLst>
              <a:ext uri="{FF2B5EF4-FFF2-40B4-BE49-F238E27FC236}">
                <a16:creationId xmlns:a16="http://schemas.microsoft.com/office/drawing/2014/main" id="{9CF45A8D-5CB5-4CCA-8D40-B883DD5DEBB1}"/>
              </a:ext>
            </a:extLst>
          </p:cNvPr>
          <p:cNvSpPr txBox="1"/>
          <p:nvPr/>
        </p:nvSpPr>
        <p:spPr>
          <a:xfrm>
            <a:off x="0" y="5021681"/>
            <a:ext cx="4057650"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767171"/>
                </a:solidFill>
                <a:effectLst/>
                <a:uLnTx/>
                <a:uFillTx/>
                <a:latin typeface="Segoe UI Light" panose="020B0502040204020203" pitchFamily="34" charset="0"/>
                <a:ea typeface="+mn-ea"/>
                <a:cs typeface="Segoe UI Light" panose="020B0502040204020203" pitchFamily="34" charset="0"/>
              </a:rPr>
              <a:t>RESPOND</a:t>
            </a:r>
          </a:p>
        </p:txBody>
      </p:sp>
      <p:sp>
        <p:nvSpPr>
          <p:cNvPr id="36" name="Freeform: Shape 35">
            <a:extLst>
              <a:ext uri="{FF2B5EF4-FFF2-40B4-BE49-F238E27FC236}">
                <a16:creationId xmlns:a16="http://schemas.microsoft.com/office/drawing/2014/main" id="{A52B8C24-FBEF-4362-AD2C-DED02C11D7C3}"/>
              </a:ext>
            </a:extLst>
          </p:cNvPr>
          <p:cNvSpPr/>
          <p:nvPr/>
        </p:nvSpPr>
        <p:spPr>
          <a:xfrm>
            <a:off x="0" y="3640668"/>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Isosceles Triangle 36">
            <a:extLst>
              <a:ext uri="{FF2B5EF4-FFF2-40B4-BE49-F238E27FC236}">
                <a16:creationId xmlns:a16="http://schemas.microsoft.com/office/drawing/2014/main" id="{1784D459-F9FC-4D44-9F3E-3A64D7ACFD9D}"/>
              </a:ext>
            </a:extLst>
          </p:cNvPr>
          <p:cNvSpPr/>
          <p:nvPr/>
        </p:nvSpPr>
        <p:spPr>
          <a:xfrm>
            <a:off x="3993307" y="4285282"/>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27277784-14C9-47A6-82B5-A7C149D84515}"/>
              </a:ext>
            </a:extLst>
          </p:cNvPr>
          <p:cNvGrpSpPr/>
          <p:nvPr/>
        </p:nvGrpSpPr>
        <p:grpSpPr>
          <a:xfrm>
            <a:off x="32964" y="3892196"/>
            <a:ext cx="3960343" cy="195612"/>
            <a:chOff x="32963" y="463196"/>
            <a:chExt cx="3960343" cy="195612"/>
          </a:xfrm>
        </p:grpSpPr>
        <p:sp>
          <p:nvSpPr>
            <p:cNvPr id="42" name="Isosceles Triangle 41">
              <a:extLst>
                <a:ext uri="{FF2B5EF4-FFF2-40B4-BE49-F238E27FC236}">
                  <a16:creationId xmlns:a16="http://schemas.microsoft.com/office/drawing/2014/main" id="{9CEBD325-8D26-4F62-8437-FBB424F01382}"/>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Isosceles Triangle 42">
              <a:extLst>
                <a:ext uri="{FF2B5EF4-FFF2-40B4-BE49-F238E27FC236}">
                  <a16:creationId xmlns:a16="http://schemas.microsoft.com/office/drawing/2014/main" id="{62D6A620-38EC-4B8F-868E-F1CE775B5546}"/>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4" name="Freeform: Shape 63">
            <a:extLst>
              <a:ext uri="{FF2B5EF4-FFF2-40B4-BE49-F238E27FC236}">
                <a16:creationId xmlns:a16="http://schemas.microsoft.com/office/drawing/2014/main" id="{A6E5223F-44A0-4F62-892E-5274CAB0395B}"/>
              </a:ext>
            </a:extLst>
          </p:cNvPr>
          <p:cNvSpPr/>
          <p:nvPr/>
        </p:nvSpPr>
        <p:spPr>
          <a:xfrm>
            <a:off x="4064508" y="3640668"/>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90D0B46F-217E-4F48-B7AA-F374DD076FFA}"/>
              </a:ext>
            </a:extLst>
          </p:cNvPr>
          <p:cNvSpPr txBox="1"/>
          <p:nvPr/>
        </p:nvSpPr>
        <p:spPr>
          <a:xfrm>
            <a:off x="0" y="5021681"/>
            <a:ext cx="4057650"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SPOND</a:t>
            </a:r>
          </a:p>
        </p:txBody>
      </p:sp>
      <p:sp>
        <p:nvSpPr>
          <p:cNvPr id="59" name="TextBox 58">
            <a:extLst>
              <a:ext uri="{FF2B5EF4-FFF2-40B4-BE49-F238E27FC236}">
                <a16:creationId xmlns:a16="http://schemas.microsoft.com/office/drawing/2014/main" id="{0BB5EAAA-24E9-4753-90F7-A9E6460421C6}"/>
              </a:ext>
            </a:extLst>
          </p:cNvPr>
          <p:cNvSpPr txBox="1"/>
          <p:nvPr/>
        </p:nvSpPr>
        <p:spPr>
          <a:xfrm>
            <a:off x="8153404" y="5021681"/>
            <a:ext cx="4057650"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Light" panose="020B0502040204020203" pitchFamily="34" charset="0"/>
                <a:ea typeface="+mn-ea"/>
                <a:cs typeface="Segoe UI Light" panose="020B0502040204020203" pitchFamily="34" charset="0"/>
              </a:rPr>
              <a:t>REIMAGINE</a:t>
            </a:r>
          </a:p>
        </p:txBody>
      </p:sp>
      <p:sp>
        <p:nvSpPr>
          <p:cNvPr id="60" name="TextBox 59">
            <a:extLst>
              <a:ext uri="{FF2B5EF4-FFF2-40B4-BE49-F238E27FC236}">
                <a16:creationId xmlns:a16="http://schemas.microsoft.com/office/drawing/2014/main" id="{A221F21C-0CAB-4DD5-BF7C-748F6300ECF4}"/>
              </a:ext>
            </a:extLst>
          </p:cNvPr>
          <p:cNvSpPr txBox="1"/>
          <p:nvPr/>
        </p:nvSpPr>
        <p:spPr>
          <a:xfrm>
            <a:off x="8168342" y="4821626"/>
            <a:ext cx="397823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Digital resiliency. Redesign of academics and operations. Future-ready  </a:t>
            </a:r>
          </a:p>
        </p:txBody>
      </p:sp>
      <p:sp>
        <p:nvSpPr>
          <p:cNvPr id="63" name="TextBox 62">
            <a:extLst>
              <a:ext uri="{FF2B5EF4-FFF2-40B4-BE49-F238E27FC236}">
                <a16:creationId xmlns:a16="http://schemas.microsoft.com/office/drawing/2014/main" id="{9CB6518E-74B9-43CE-A07A-6722CDD51890}"/>
              </a:ext>
            </a:extLst>
          </p:cNvPr>
          <p:cNvSpPr txBox="1"/>
          <p:nvPr/>
        </p:nvSpPr>
        <p:spPr>
          <a:xfrm>
            <a:off x="4076748" y="4091392"/>
            <a:ext cx="4057650" cy="584775"/>
          </a:xfrm>
          <a:prstGeom prst="rect">
            <a:avLst/>
          </a:prstGeom>
          <a:noFill/>
        </p:spPr>
        <p:txBody>
          <a:bodyPr wrap="square" rtlCol="0">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3200" i="0" u="none" strike="noStrike" cap="none" spc="0" normalizeH="0" baseline="0">
                <a:ln>
                  <a:noFill/>
                </a:ln>
                <a:solidFill>
                  <a:schemeClr val="bg2">
                    <a:lumMod val="50000"/>
                  </a:schemeClr>
                </a:solidFill>
                <a:effectLst/>
                <a:uLnTx/>
                <a:uFillTx/>
                <a:latin typeface="Segoe UI Light" panose="020B0502040204020203" pitchFamily="34" charset="0"/>
                <a:cs typeface="Segoe UI Light"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COVER</a:t>
            </a:r>
          </a:p>
        </p:txBody>
      </p:sp>
      <p:grpSp>
        <p:nvGrpSpPr>
          <p:cNvPr id="66" name="HIDE AT START">
            <a:extLst>
              <a:ext uri="{FF2B5EF4-FFF2-40B4-BE49-F238E27FC236}">
                <a16:creationId xmlns:a16="http://schemas.microsoft.com/office/drawing/2014/main" id="{420B29B7-7BC2-4F85-A8B6-D223BDD738B5}"/>
              </a:ext>
            </a:extLst>
          </p:cNvPr>
          <p:cNvGrpSpPr/>
          <p:nvPr/>
        </p:nvGrpSpPr>
        <p:grpSpPr>
          <a:xfrm>
            <a:off x="-1" y="0"/>
            <a:ext cx="12211101" cy="6858001"/>
            <a:chOff x="-1" y="0"/>
            <a:chExt cx="12211101" cy="6858001"/>
          </a:xfrm>
        </p:grpSpPr>
        <p:pic>
          <p:nvPicPr>
            <p:cNvPr id="67" name="Picture 66" descr="A group of people in clothing&#10;&#10;Description automatically generated with medium confidence">
              <a:extLst>
                <a:ext uri="{FF2B5EF4-FFF2-40B4-BE49-F238E27FC236}">
                  <a16:creationId xmlns:a16="http://schemas.microsoft.com/office/drawing/2014/main" id="{AA6F07B4-177D-48D6-9A85-49B0B1FC544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88952" cy="3892195"/>
            </a:xfrm>
            <a:prstGeom prst="rect">
              <a:avLst/>
            </a:prstGeom>
          </p:spPr>
        </p:pic>
        <p:pic>
          <p:nvPicPr>
            <p:cNvPr id="68" name="RECOVER PICTURE" descr="A person playing a video game&#10;&#10;Description automatically generated">
              <a:extLst>
                <a:ext uri="{FF2B5EF4-FFF2-40B4-BE49-F238E27FC236}">
                  <a16:creationId xmlns:a16="http://schemas.microsoft.com/office/drawing/2014/main" id="{D02E2C1D-8DC5-435C-8BC6-0C6364F0DC7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 y="0"/>
              <a:ext cx="12188951" cy="3888610"/>
            </a:xfrm>
            <a:prstGeom prst="rect">
              <a:avLst/>
            </a:prstGeom>
          </p:spPr>
        </p:pic>
        <p:pic>
          <p:nvPicPr>
            <p:cNvPr id="69" name="REIMAGINE">
              <a:extLst>
                <a:ext uri="{FF2B5EF4-FFF2-40B4-BE49-F238E27FC236}">
                  <a16:creationId xmlns:a16="http://schemas.microsoft.com/office/drawing/2014/main" id="{94FD8B9D-8DC0-4ECC-AB3B-403D47454ABA}"/>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0" y="5790"/>
              <a:ext cx="12188952" cy="3869992"/>
            </a:xfrm>
            <a:prstGeom prst="rect">
              <a:avLst/>
            </a:prstGeom>
          </p:spPr>
        </p:pic>
        <p:sp>
          <p:nvSpPr>
            <p:cNvPr id="70" name="Rectangle 69">
              <a:extLst>
                <a:ext uri="{FF2B5EF4-FFF2-40B4-BE49-F238E27FC236}">
                  <a16:creationId xmlns:a16="http://schemas.microsoft.com/office/drawing/2014/main" id="{1747E2B9-6CCF-4E34-87E6-A762EB5F677B}"/>
                </a:ext>
              </a:extLst>
            </p:cNvPr>
            <p:cNvSpPr/>
            <p:nvPr/>
          </p:nvSpPr>
          <p:spPr>
            <a:xfrm>
              <a:off x="0" y="0"/>
              <a:ext cx="12192000" cy="6858001"/>
            </a:xfrm>
            <a:prstGeom prst="rect">
              <a:avLst/>
            </a:prstGeom>
            <a:solidFill>
              <a:srgbClr val="262626">
                <a:alpha val="6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FFFFFF"/>
                </a:solidFill>
                <a:effectLst/>
                <a:uLnTx/>
                <a:uFillTx/>
                <a:latin typeface="Segoe UI"/>
                <a:ea typeface="+mn-ea"/>
                <a:cs typeface="+mn-cs"/>
              </a:endParaRPr>
            </a:p>
          </p:txBody>
        </p:sp>
        <p:sp>
          <p:nvSpPr>
            <p:cNvPr id="71" name="Freeform: Shape 70">
              <a:extLst>
                <a:ext uri="{FF2B5EF4-FFF2-40B4-BE49-F238E27FC236}">
                  <a16:creationId xmlns:a16="http://schemas.microsoft.com/office/drawing/2014/main" id="{ADF9A78A-CF76-485B-AFE6-48D4E5039196}"/>
                </a:ext>
              </a:extLst>
            </p:cNvPr>
            <p:cNvSpPr/>
            <p:nvPr/>
          </p:nvSpPr>
          <p:spPr>
            <a:xfrm>
              <a:off x="0"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Isosceles Triangle 71">
              <a:extLst>
                <a:ext uri="{FF2B5EF4-FFF2-40B4-BE49-F238E27FC236}">
                  <a16:creationId xmlns:a16="http://schemas.microsoft.com/office/drawing/2014/main" id="{0B7A0FAE-5888-4564-A071-585278B112B2}"/>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F24D178E-2512-4D35-8E64-5ED2953817DB}"/>
                </a:ext>
              </a:extLst>
            </p:cNvPr>
            <p:cNvSpPr/>
            <p:nvPr/>
          </p:nvSpPr>
          <p:spPr>
            <a:xfrm>
              <a:off x="4062984"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16022A55-EC62-4561-98FF-73F275780BC0}"/>
                </a:ext>
              </a:extLst>
            </p:cNvPr>
            <p:cNvSpPr/>
            <p:nvPr/>
          </p:nvSpPr>
          <p:spPr>
            <a:xfrm>
              <a:off x="8125967"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Isosceles Triangle 74">
              <a:extLst>
                <a:ext uri="{FF2B5EF4-FFF2-40B4-BE49-F238E27FC236}">
                  <a16:creationId xmlns:a16="http://schemas.microsoft.com/office/drawing/2014/main" id="{765F0599-513E-4838-8E4E-D725859F678D}"/>
                </a:ext>
              </a:extLst>
            </p:cNvPr>
            <p:cNvSpPr/>
            <p:nvPr/>
          </p:nvSpPr>
          <p:spPr>
            <a:xfrm>
              <a:off x="8056289"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Isosceles Triangle 75">
              <a:extLst>
                <a:ext uri="{FF2B5EF4-FFF2-40B4-BE49-F238E27FC236}">
                  <a16:creationId xmlns:a16="http://schemas.microsoft.com/office/drawing/2014/main" id="{3EBAD56E-1FFE-4E5F-AAA4-9A6C7A5079B2}"/>
                </a:ext>
              </a:extLst>
            </p:cNvPr>
            <p:cNvSpPr/>
            <p:nvPr/>
          </p:nvSpPr>
          <p:spPr>
            <a:xfrm>
              <a:off x="12119272"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7" name="Group 76">
              <a:extLst>
                <a:ext uri="{FF2B5EF4-FFF2-40B4-BE49-F238E27FC236}">
                  <a16:creationId xmlns:a16="http://schemas.microsoft.com/office/drawing/2014/main" id="{CC2AF18F-D92B-493C-BC93-D24150778FF1}"/>
                </a:ext>
              </a:extLst>
            </p:cNvPr>
            <p:cNvGrpSpPr/>
            <p:nvPr/>
          </p:nvGrpSpPr>
          <p:grpSpPr>
            <a:xfrm>
              <a:off x="32963" y="3892196"/>
              <a:ext cx="3960343" cy="195612"/>
              <a:chOff x="32963" y="463196"/>
              <a:chExt cx="3960343" cy="195612"/>
            </a:xfrm>
          </p:grpSpPr>
          <p:sp>
            <p:nvSpPr>
              <p:cNvPr id="93" name="Isosceles Triangle 92">
                <a:extLst>
                  <a:ext uri="{FF2B5EF4-FFF2-40B4-BE49-F238E27FC236}">
                    <a16:creationId xmlns:a16="http://schemas.microsoft.com/office/drawing/2014/main" id="{40411FBB-310F-4F70-9BCE-748EAD19DF4C}"/>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4" name="Isosceles Triangle 93">
                <a:extLst>
                  <a:ext uri="{FF2B5EF4-FFF2-40B4-BE49-F238E27FC236}">
                    <a16:creationId xmlns:a16="http://schemas.microsoft.com/office/drawing/2014/main" id="{4A024D5B-DA31-4CF3-88C7-5E6A4A49ED2B}"/>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8" name="Group 77">
              <a:extLst>
                <a:ext uri="{FF2B5EF4-FFF2-40B4-BE49-F238E27FC236}">
                  <a16:creationId xmlns:a16="http://schemas.microsoft.com/office/drawing/2014/main" id="{A9FAEF3A-7B9D-447E-85E2-468A404B1E4B}"/>
                </a:ext>
              </a:extLst>
            </p:cNvPr>
            <p:cNvGrpSpPr/>
            <p:nvPr/>
          </p:nvGrpSpPr>
          <p:grpSpPr>
            <a:xfrm>
              <a:off x="4115829" y="3892196"/>
              <a:ext cx="3960343" cy="195612"/>
              <a:chOff x="32963" y="463196"/>
              <a:chExt cx="3960343" cy="195612"/>
            </a:xfrm>
          </p:grpSpPr>
          <p:sp>
            <p:nvSpPr>
              <p:cNvPr id="91" name="Isosceles Triangle 90">
                <a:extLst>
                  <a:ext uri="{FF2B5EF4-FFF2-40B4-BE49-F238E27FC236}">
                    <a16:creationId xmlns:a16="http://schemas.microsoft.com/office/drawing/2014/main" id="{99F67FA7-376C-49A5-8248-850D5A8DCD13}"/>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2" name="Isosceles Triangle 91">
                <a:extLst>
                  <a:ext uri="{FF2B5EF4-FFF2-40B4-BE49-F238E27FC236}">
                    <a16:creationId xmlns:a16="http://schemas.microsoft.com/office/drawing/2014/main" id="{72A1306D-83D0-45F9-97BE-6AAEB94D1061}"/>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79" name="Group 78">
              <a:extLst>
                <a:ext uri="{FF2B5EF4-FFF2-40B4-BE49-F238E27FC236}">
                  <a16:creationId xmlns:a16="http://schemas.microsoft.com/office/drawing/2014/main" id="{9D57CBE8-A892-49D5-9753-B003589D4A98}"/>
                </a:ext>
              </a:extLst>
            </p:cNvPr>
            <p:cNvGrpSpPr/>
            <p:nvPr/>
          </p:nvGrpSpPr>
          <p:grpSpPr>
            <a:xfrm>
              <a:off x="8177287" y="3892196"/>
              <a:ext cx="3960343" cy="195612"/>
              <a:chOff x="32963" y="463196"/>
              <a:chExt cx="3960343" cy="195612"/>
            </a:xfrm>
          </p:grpSpPr>
          <p:sp>
            <p:nvSpPr>
              <p:cNvPr id="89" name="Isosceles Triangle 88">
                <a:extLst>
                  <a:ext uri="{FF2B5EF4-FFF2-40B4-BE49-F238E27FC236}">
                    <a16:creationId xmlns:a16="http://schemas.microsoft.com/office/drawing/2014/main" id="{36F5792F-9095-44B2-9601-CC2DAF8E4C60}"/>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0" name="Isosceles Triangle 89">
                <a:extLst>
                  <a:ext uri="{FF2B5EF4-FFF2-40B4-BE49-F238E27FC236}">
                    <a16:creationId xmlns:a16="http://schemas.microsoft.com/office/drawing/2014/main" id="{7C3D1D39-1909-4855-8223-E84610D7FAC0}"/>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0" name="Freeform: Shape 79">
              <a:extLst>
                <a:ext uri="{FF2B5EF4-FFF2-40B4-BE49-F238E27FC236}">
                  <a16:creationId xmlns:a16="http://schemas.microsoft.com/office/drawing/2014/main" id="{9595129A-1FAA-437F-B035-C6812FF62C63}"/>
                </a:ext>
              </a:extLst>
            </p:cNvPr>
            <p:cNvSpPr/>
            <p:nvPr/>
          </p:nvSpPr>
          <p:spPr>
            <a:xfrm>
              <a:off x="0"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Isosceles Triangle 80">
              <a:extLst>
                <a:ext uri="{FF2B5EF4-FFF2-40B4-BE49-F238E27FC236}">
                  <a16:creationId xmlns:a16="http://schemas.microsoft.com/office/drawing/2014/main" id="{1353A1BA-CFAB-4575-92A1-0CA86D8D6107}"/>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82" name="Group 81">
              <a:extLst>
                <a:ext uri="{FF2B5EF4-FFF2-40B4-BE49-F238E27FC236}">
                  <a16:creationId xmlns:a16="http://schemas.microsoft.com/office/drawing/2014/main" id="{9546EFE9-96CB-4946-87F4-946E6D01C2DB}"/>
                </a:ext>
              </a:extLst>
            </p:cNvPr>
            <p:cNvGrpSpPr/>
            <p:nvPr/>
          </p:nvGrpSpPr>
          <p:grpSpPr>
            <a:xfrm>
              <a:off x="32963" y="3892196"/>
              <a:ext cx="3960343" cy="195612"/>
              <a:chOff x="32963" y="463196"/>
              <a:chExt cx="3960343" cy="195612"/>
            </a:xfrm>
          </p:grpSpPr>
          <p:sp>
            <p:nvSpPr>
              <p:cNvPr id="87" name="Isosceles Triangle 86">
                <a:extLst>
                  <a:ext uri="{FF2B5EF4-FFF2-40B4-BE49-F238E27FC236}">
                    <a16:creationId xmlns:a16="http://schemas.microsoft.com/office/drawing/2014/main" id="{081DAC02-89C2-400B-B8D7-98E4E086BA69}"/>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88" name="Isosceles Triangle 87">
                <a:extLst>
                  <a:ext uri="{FF2B5EF4-FFF2-40B4-BE49-F238E27FC236}">
                    <a16:creationId xmlns:a16="http://schemas.microsoft.com/office/drawing/2014/main" id="{8F790666-A785-4CBA-8901-ACEA79E7D120}"/>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3" name="TextBox 82">
              <a:extLst>
                <a:ext uri="{FF2B5EF4-FFF2-40B4-BE49-F238E27FC236}">
                  <a16:creationId xmlns:a16="http://schemas.microsoft.com/office/drawing/2014/main" id="{B4F8E481-4DAD-433C-8A76-D9D6C37F15C5}"/>
                </a:ext>
              </a:extLst>
            </p:cNvPr>
            <p:cNvSpPr txBox="1"/>
            <p:nvPr/>
          </p:nvSpPr>
          <p:spPr>
            <a:xfrm>
              <a:off x="0" y="5021681"/>
              <a:ext cx="4057650"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SPOND</a:t>
              </a:r>
            </a:p>
          </p:txBody>
        </p:sp>
        <p:sp>
          <p:nvSpPr>
            <p:cNvPr id="84" name="TextBox 83">
              <a:extLst>
                <a:ext uri="{FF2B5EF4-FFF2-40B4-BE49-F238E27FC236}">
                  <a16:creationId xmlns:a16="http://schemas.microsoft.com/office/drawing/2014/main" id="{876C673A-5FF9-450A-B6B6-E0012601D98D}"/>
                </a:ext>
              </a:extLst>
            </p:cNvPr>
            <p:cNvSpPr txBox="1"/>
            <p:nvPr/>
          </p:nvSpPr>
          <p:spPr>
            <a:xfrm>
              <a:off x="8168342" y="4821625"/>
              <a:ext cx="397823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Digital resiliency. Redesign of academics and operations. Future-ready  </a:t>
              </a:r>
            </a:p>
          </p:txBody>
        </p:sp>
        <p:sp>
          <p:nvSpPr>
            <p:cNvPr id="85" name="TextBox 84">
              <a:extLst>
                <a:ext uri="{FF2B5EF4-FFF2-40B4-BE49-F238E27FC236}">
                  <a16:creationId xmlns:a16="http://schemas.microsoft.com/office/drawing/2014/main" id="{A16D43A8-74D5-40C1-8B25-6CBBA600A5F0}"/>
                </a:ext>
              </a:extLst>
            </p:cNvPr>
            <p:cNvSpPr txBox="1"/>
            <p:nvPr/>
          </p:nvSpPr>
          <p:spPr>
            <a:xfrm>
              <a:off x="4076733" y="5021680"/>
              <a:ext cx="4057650" cy="584775"/>
            </a:xfrm>
            <a:prstGeom prst="rect">
              <a:avLst/>
            </a:prstGeom>
            <a:noFill/>
          </p:spPr>
          <p:txBody>
            <a:bodyPr wrap="square" rtlCol="0">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3200" i="0" u="none" strike="noStrike" cap="none" spc="0" normalizeH="0" baseline="0">
                  <a:ln>
                    <a:noFill/>
                  </a:ln>
                  <a:solidFill>
                    <a:schemeClr val="bg2">
                      <a:lumMod val="50000"/>
                    </a:schemeClr>
                  </a:solidFill>
                  <a:effectLst/>
                  <a:uLnTx/>
                  <a:uFillTx/>
                  <a:latin typeface="Segoe UI Light" panose="020B0502040204020203" pitchFamily="34" charset="0"/>
                  <a:cs typeface="Segoe UI Light"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COVER</a:t>
              </a:r>
            </a:p>
          </p:txBody>
        </p:sp>
        <p:sp>
          <p:nvSpPr>
            <p:cNvPr id="86" name="TextBox 85">
              <a:extLst>
                <a:ext uri="{FF2B5EF4-FFF2-40B4-BE49-F238E27FC236}">
                  <a16:creationId xmlns:a16="http://schemas.microsoft.com/office/drawing/2014/main" id="{9595112D-B676-442B-9344-3931F7415686}"/>
                </a:ext>
              </a:extLst>
            </p:cNvPr>
            <p:cNvSpPr txBox="1"/>
            <p:nvPr/>
          </p:nvSpPr>
          <p:spPr>
            <a:xfrm>
              <a:off x="8153450" y="4091392"/>
              <a:ext cx="4057650"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Light" panose="020B0502040204020203" pitchFamily="34" charset="0"/>
                  <a:ea typeface="+mn-ea"/>
                  <a:cs typeface="Segoe UI Light" panose="020B0502040204020203" pitchFamily="34" charset="0"/>
                </a:rPr>
                <a:t>REIMAGINE</a:t>
              </a:r>
            </a:p>
          </p:txBody>
        </p:sp>
      </p:grpSp>
    </p:spTree>
    <p:extLst>
      <p:ext uri="{BB962C8B-B14F-4D97-AF65-F5344CB8AC3E}">
        <p14:creationId xmlns:p14="http://schemas.microsoft.com/office/powerpoint/2010/main" val="1428068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6"/>
                                        </p:tgtEl>
                                        <p:attrNameLst>
                                          <p:attrName>style.visibility</p:attrName>
                                        </p:attrNameLst>
                                      </p:cBhvr>
                                      <p:to>
                                        <p:strVal val="hidden"/>
                                      </p:to>
                                    </p:set>
                                  </p:childTnLst>
                                </p:cTn>
                              </p:par>
                              <p:par>
                                <p:cTn id="9" presetID="10"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par>
                                <p:cTn id="12" presetID="42" presetClass="path" presetSubtype="0" accel="50000" decel="50000" fill="hold" grpId="0" nodeType="withEffect">
                                  <p:stCondLst>
                                    <p:cond delay="0"/>
                                  </p:stCondLst>
                                  <p:childTnLst>
                                    <p:animMotion origin="layout" path="M -1.25E-6 -3.7037E-7 L -1.25E-6 0.13565 " pathEditMode="relative" rAng="0" ptsTypes="AA">
                                      <p:cBhvr>
                                        <p:cTn id="13" dur="2000" fill="hold"/>
                                        <p:tgtEl>
                                          <p:spTgt spid="63"/>
                                        </p:tgtEl>
                                        <p:attrNameLst>
                                          <p:attrName>ppt_x</p:attrName>
                                          <p:attrName>ppt_y</p:attrName>
                                        </p:attrNameLst>
                                      </p:cBhvr>
                                      <p:rCtr x="0" y="6759"/>
                                    </p:animMotion>
                                  </p:childTnLst>
                                </p:cTn>
                              </p:par>
                              <p:par>
                                <p:cTn id="14" presetID="22" presetClass="entr" presetSubtype="4"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wipe(down)">
                                      <p:cBhvr>
                                        <p:cTn id="16" dur="1000"/>
                                        <p:tgtEl>
                                          <p:spTgt spid="16"/>
                                        </p:tgtEl>
                                      </p:cBhvr>
                                    </p:animEffect>
                                  </p:childTnLst>
                                </p:cTn>
                              </p:par>
                              <p:par>
                                <p:cTn id="17" presetID="22" presetClass="exit" presetSubtype="1" fill="hold" grpId="0" nodeType="withEffect">
                                  <p:stCondLst>
                                    <p:cond delay="0"/>
                                  </p:stCondLst>
                                  <p:childTnLst>
                                    <p:animEffect transition="out" filter="wipe(up)">
                                      <p:cBhvr>
                                        <p:cTn id="18" dur="1000"/>
                                        <p:tgtEl>
                                          <p:spTgt spid="64"/>
                                        </p:tgtEl>
                                      </p:cBhvr>
                                    </p:animEffect>
                                    <p:set>
                                      <p:cBhvr>
                                        <p:cTn id="19" dur="1" fill="hold">
                                          <p:stCondLst>
                                            <p:cond delay="999"/>
                                          </p:stCondLst>
                                        </p:cTn>
                                        <p:tgtEl>
                                          <p:spTgt spid="64"/>
                                        </p:tgtEl>
                                        <p:attrNameLst>
                                          <p:attrName>style.visibility</p:attrName>
                                        </p:attrNameLst>
                                      </p:cBhvr>
                                      <p:to>
                                        <p:strVal val="hidden"/>
                                      </p:to>
                                    </p:set>
                                  </p:childTnLst>
                                </p:cTn>
                              </p:par>
                              <p:par>
                                <p:cTn id="20" presetID="64" presetClass="path" presetSubtype="0" accel="50000" decel="50000" fill="hold" grpId="0" nodeType="withEffect">
                                  <p:stCondLst>
                                    <p:cond delay="0"/>
                                  </p:stCondLst>
                                  <p:childTnLst>
                                    <p:animMotion origin="layout" path="M 3.75E-6 1.48148E-6 L 3.75E-6 -0.13565 " pathEditMode="relative" rAng="0" ptsTypes="AA">
                                      <p:cBhvr>
                                        <p:cTn id="21" dur="2000" fill="hold"/>
                                        <p:tgtEl>
                                          <p:spTgt spid="59"/>
                                        </p:tgtEl>
                                        <p:attrNameLst>
                                          <p:attrName>ppt_x</p:attrName>
                                          <p:attrName>ppt_y</p:attrName>
                                        </p:attrNameLst>
                                      </p:cBhvr>
                                      <p:rCtr x="0" y="-6782"/>
                                    </p:animMotion>
                                  </p:childTnLst>
                                </p:cTn>
                              </p:par>
                              <p:par>
                                <p:cTn id="22" presetID="10" presetClass="entr" presetSubtype="0" fill="hold" grpId="0" nodeType="withEffect">
                                  <p:stCondLst>
                                    <p:cond delay="1400"/>
                                  </p:stCondLst>
                                  <p:childTnLst>
                                    <p:set>
                                      <p:cBhvr>
                                        <p:cTn id="23" dur="1" fill="hold">
                                          <p:stCondLst>
                                            <p:cond delay="0"/>
                                          </p:stCondLst>
                                        </p:cTn>
                                        <p:tgtEl>
                                          <p:spTgt spid="60"/>
                                        </p:tgtEl>
                                        <p:attrNameLst>
                                          <p:attrName>style.visibility</p:attrName>
                                        </p:attrNameLst>
                                      </p:cBhvr>
                                      <p:to>
                                        <p:strVal val="visible"/>
                                      </p:to>
                                    </p:set>
                                    <p:animEffect transition="in" filter="fade">
                                      <p:cBhvr>
                                        <p:cTn id="24" dur="7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64" grpId="0" animBg="1"/>
      <p:bldP spid="59" grpId="0"/>
      <p:bldP spid="60" grpId="0"/>
      <p:bldP spid="6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OUTER RING BRIGHT">
            <a:extLst>
              <a:ext uri="{FF2B5EF4-FFF2-40B4-BE49-F238E27FC236}">
                <a16:creationId xmlns:a16="http://schemas.microsoft.com/office/drawing/2014/main" id="{47D634E7-153F-4825-8849-61C4B6988EFC}"/>
              </a:ext>
            </a:extLst>
          </p:cNvPr>
          <p:cNvGrpSpPr/>
          <p:nvPr/>
        </p:nvGrpSpPr>
        <p:grpSpPr>
          <a:xfrm>
            <a:off x="3474157" y="4704"/>
            <a:ext cx="10272888" cy="6848593"/>
            <a:chOff x="3474157" y="4704"/>
            <a:chExt cx="10272888" cy="6848593"/>
          </a:xfrm>
        </p:grpSpPr>
        <p:graphicFrame>
          <p:nvGraphicFramePr>
            <p:cNvPr id="20" name="GIANT PIE">
              <a:extLst>
                <a:ext uri="{FF2B5EF4-FFF2-40B4-BE49-F238E27FC236}">
                  <a16:creationId xmlns:a16="http://schemas.microsoft.com/office/drawing/2014/main" id="{E5C66874-5447-46F4-BEDF-A9519BBB392A}"/>
                </a:ext>
              </a:extLst>
            </p:cNvPr>
            <p:cNvGraphicFramePr/>
            <p:nvPr/>
          </p:nvGraphicFramePr>
          <p:xfrm>
            <a:off x="3474157" y="4704"/>
            <a:ext cx="10272888" cy="6848593"/>
          </p:xfrm>
          <a:graphic>
            <a:graphicData uri="http://schemas.openxmlformats.org/drawingml/2006/chart">
              <c:chart xmlns:c="http://schemas.openxmlformats.org/drawingml/2006/chart" xmlns:r="http://schemas.openxmlformats.org/officeDocument/2006/relationships" r:id="rId3"/>
            </a:graphicData>
          </a:graphic>
        </p:graphicFrame>
        <p:grpSp>
          <p:nvGrpSpPr>
            <p:cNvPr id="153" name="OUTER RING WORDS">
              <a:extLst>
                <a:ext uri="{FF2B5EF4-FFF2-40B4-BE49-F238E27FC236}">
                  <a16:creationId xmlns:a16="http://schemas.microsoft.com/office/drawing/2014/main" id="{27641286-A533-4A4E-BAC4-EEC34F545196}"/>
                </a:ext>
              </a:extLst>
            </p:cNvPr>
            <p:cNvGrpSpPr/>
            <p:nvPr/>
          </p:nvGrpSpPr>
          <p:grpSpPr>
            <a:xfrm>
              <a:off x="5501641" y="320040"/>
              <a:ext cx="6217920" cy="6217920"/>
              <a:chOff x="5501641" y="320040"/>
              <a:chExt cx="6217920" cy="6217920"/>
            </a:xfrm>
          </p:grpSpPr>
          <p:sp>
            <p:nvSpPr>
              <p:cNvPr id="9" name="TextBox 8">
                <a:extLst>
                  <a:ext uri="{FF2B5EF4-FFF2-40B4-BE49-F238E27FC236}">
                    <a16:creationId xmlns:a16="http://schemas.microsoft.com/office/drawing/2014/main" id="{A21AC40F-CCB3-48E7-8E24-95FCD55982F0}"/>
                  </a:ext>
                </a:extLst>
              </p:cNvPr>
              <p:cNvSpPr txBox="1"/>
              <p:nvPr/>
            </p:nvSpPr>
            <p:spPr>
              <a:xfrm rot="31388">
                <a:off x="5501641" y="320040"/>
                <a:ext cx="6217920" cy="62179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MPUTATIONAL THINKING</a:t>
                </a:r>
              </a:p>
            </p:txBody>
          </p:sp>
          <p:sp>
            <p:nvSpPr>
              <p:cNvPr id="22" name="TextBox 21">
                <a:extLst>
                  <a:ext uri="{FF2B5EF4-FFF2-40B4-BE49-F238E27FC236}">
                    <a16:creationId xmlns:a16="http://schemas.microsoft.com/office/drawing/2014/main" id="{ECC8B03D-FA44-4C85-87B5-46A978E8D67B}"/>
                  </a:ext>
                </a:extLst>
              </p:cNvPr>
              <p:cNvSpPr txBox="1"/>
              <p:nvPr/>
            </p:nvSpPr>
            <p:spPr>
              <a:xfrm rot="3240000">
                <a:off x="5501641" y="320040"/>
                <a:ext cx="6217920" cy="62179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RIOSITY</a:t>
                </a:r>
              </a:p>
            </p:txBody>
          </p:sp>
          <p:sp>
            <p:nvSpPr>
              <p:cNvPr id="24" name="TextBox 23">
                <a:extLst>
                  <a:ext uri="{FF2B5EF4-FFF2-40B4-BE49-F238E27FC236}">
                    <a16:creationId xmlns:a16="http://schemas.microsoft.com/office/drawing/2014/main" id="{9A685736-6C09-4117-9CF1-F0F7F7328812}"/>
                  </a:ext>
                </a:extLst>
              </p:cNvPr>
              <p:cNvSpPr txBox="1"/>
              <p:nvPr/>
            </p:nvSpPr>
            <p:spPr>
              <a:xfrm rot="16200000">
                <a:off x="5593082" y="411481"/>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DING</a:t>
                </a:r>
              </a:p>
            </p:txBody>
          </p:sp>
          <p:sp>
            <p:nvSpPr>
              <p:cNvPr id="25" name="TextBox 24">
                <a:extLst>
                  <a:ext uri="{FF2B5EF4-FFF2-40B4-BE49-F238E27FC236}">
                    <a16:creationId xmlns:a16="http://schemas.microsoft.com/office/drawing/2014/main" id="{8FA2C46C-2227-4A01-A432-703923EBFCB5}"/>
                  </a:ext>
                </a:extLst>
              </p:cNvPr>
              <p:cNvSpPr txBox="1"/>
              <p:nvPr/>
            </p:nvSpPr>
            <p:spPr>
              <a:xfrm rot="18394963">
                <a:off x="5593081" y="411481"/>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LTURE</a:t>
                </a:r>
              </a:p>
            </p:txBody>
          </p:sp>
          <p:sp>
            <p:nvSpPr>
              <p:cNvPr id="34" name="TextBox 33">
                <a:extLst>
                  <a:ext uri="{FF2B5EF4-FFF2-40B4-BE49-F238E27FC236}">
                    <a16:creationId xmlns:a16="http://schemas.microsoft.com/office/drawing/2014/main" id="{173F5B31-7E9E-4165-BB30-6CB954B88C04}"/>
                  </a:ext>
                </a:extLst>
              </p:cNvPr>
              <p:cNvSpPr txBox="1"/>
              <p:nvPr/>
            </p:nvSpPr>
            <p:spPr>
              <a:xfrm>
                <a:off x="5593081" y="411480"/>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ARING</a:t>
                </a:r>
              </a:p>
            </p:txBody>
          </p:sp>
          <p:sp>
            <p:nvSpPr>
              <p:cNvPr id="36" name="TextBox 35">
                <a:extLst>
                  <a:ext uri="{FF2B5EF4-FFF2-40B4-BE49-F238E27FC236}">
                    <a16:creationId xmlns:a16="http://schemas.microsoft.com/office/drawing/2014/main" id="{7C508E7E-2CB7-4253-AC22-402C2533C845}"/>
                  </a:ext>
                </a:extLst>
              </p:cNvPr>
              <p:cNvSpPr txBox="1"/>
              <p:nvPr/>
            </p:nvSpPr>
            <p:spPr>
              <a:xfrm rot="3737782">
                <a:off x="5593081" y="411480"/>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RATION</a:t>
                </a:r>
              </a:p>
            </p:txBody>
          </p:sp>
          <p:sp>
            <p:nvSpPr>
              <p:cNvPr id="38" name="TextBox 37">
                <a:extLst>
                  <a:ext uri="{FF2B5EF4-FFF2-40B4-BE49-F238E27FC236}">
                    <a16:creationId xmlns:a16="http://schemas.microsoft.com/office/drawing/2014/main" id="{14354EE4-BD5F-4FE9-B04B-ECEF4A255D8A}"/>
                  </a:ext>
                </a:extLst>
              </p:cNvPr>
              <p:cNvSpPr txBox="1"/>
              <p:nvPr/>
            </p:nvSpPr>
            <p:spPr>
              <a:xfrm rot="17601782">
                <a:off x="5501641" y="320040"/>
                <a:ext cx="6217920" cy="62179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AREER LEARNING</a:t>
                </a:r>
              </a:p>
            </p:txBody>
          </p:sp>
        </p:grpSp>
      </p:grpSp>
      <p:grpSp>
        <p:nvGrpSpPr>
          <p:cNvPr id="155" name="MIDDLE RING BRIGHT">
            <a:extLst>
              <a:ext uri="{FF2B5EF4-FFF2-40B4-BE49-F238E27FC236}">
                <a16:creationId xmlns:a16="http://schemas.microsoft.com/office/drawing/2014/main" id="{B0F23B88-63B7-42E3-94AB-7BD22A369B26}"/>
              </a:ext>
            </a:extLst>
          </p:cNvPr>
          <p:cNvGrpSpPr/>
          <p:nvPr/>
        </p:nvGrpSpPr>
        <p:grpSpPr>
          <a:xfrm>
            <a:off x="5638801" y="457200"/>
            <a:ext cx="5943600" cy="5943600"/>
            <a:chOff x="5638801" y="457200"/>
            <a:chExt cx="5943600" cy="5943600"/>
          </a:xfrm>
        </p:grpSpPr>
        <p:graphicFrame>
          <p:nvGraphicFramePr>
            <p:cNvPr id="43" name="BIG PIE">
              <a:extLst>
                <a:ext uri="{FF2B5EF4-FFF2-40B4-BE49-F238E27FC236}">
                  <a16:creationId xmlns:a16="http://schemas.microsoft.com/office/drawing/2014/main" id="{AF0D6BF9-10EF-49A4-8056-5DD7638E366E}"/>
                </a:ext>
              </a:extLst>
            </p:cNvPr>
            <p:cNvGraphicFramePr/>
            <p:nvPr/>
          </p:nvGraphicFramePr>
          <p:xfrm>
            <a:off x="5638801" y="457200"/>
            <a:ext cx="5943600" cy="5943600"/>
          </p:xfrm>
          <a:graphic>
            <a:graphicData uri="http://schemas.openxmlformats.org/drawingml/2006/chart">
              <c:chart xmlns:c="http://schemas.openxmlformats.org/drawingml/2006/chart" xmlns:r="http://schemas.openxmlformats.org/officeDocument/2006/relationships" r:id="rId4"/>
            </a:graphicData>
          </a:graphic>
        </p:graphicFrame>
        <p:grpSp>
          <p:nvGrpSpPr>
            <p:cNvPr id="2" name="Group 1">
              <a:extLst>
                <a:ext uri="{FF2B5EF4-FFF2-40B4-BE49-F238E27FC236}">
                  <a16:creationId xmlns:a16="http://schemas.microsoft.com/office/drawing/2014/main" id="{D9FFB9BD-AA63-4296-AF9C-CFAF66911640}"/>
                </a:ext>
              </a:extLst>
            </p:cNvPr>
            <p:cNvGrpSpPr/>
            <p:nvPr/>
          </p:nvGrpSpPr>
          <p:grpSpPr>
            <a:xfrm rot="19831388">
              <a:off x="6187441" y="1005840"/>
              <a:ext cx="4846320" cy="4846320"/>
              <a:chOff x="3672840" y="1005840"/>
              <a:chExt cx="4846320" cy="4846320"/>
            </a:xfrm>
          </p:grpSpPr>
          <p:sp>
            <p:nvSpPr>
              <p:cNvPr id="47" name="TextBox 46">
                <a:extLst>
                  <a:ext uri="{FF2B5EF4-FFF2-40B4-BE49-F238E27FC236}">
                    <a16:creationId xmlns:a16="http://schemas.microsoft.com/office/drawing/2014/main" id="{4CC31C1E-9682-4770-A38A-4305A4D040B6}"/>
                  </a:ext>
                </a:extLst>
              </p:cNvPr>
              <p:cNvSpPr txBox="1"/>
              <p:nvPr/>
            </p:nvSpPr>
            <p:spPr>
              <a:xfrm rot="19800000">
                <a:off x="3672840" y="1005840"/>
                <a:ext cx="4846320" cy="484632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HARACTER</a:t>
                </a:r>
              </a:p>
            </p:txBody>
          </p:sp>
          <p:sp>
            <p:nvSpPr>
              <p:cNvPr id="49" name="TextBox 48">
                <a:extLst>
                  <a:ext uri="{FF2B5EF4-FFF2-40B4-BE49-F238E27FC236}">
                    <a16:creationId xmlns:a16="http://schemas.microsoft.com/office/drawing/2014/main" id="{18DE271B-3CE7-4DA8-BD85-C450B26E9BC6}"/>
                  </a:ext>
                </a:extLst>
              </p:cNvPr>
              <p:cNvSpPr txBox="1"/>
              <p:nvPr/>
            </p:nvSpPr>
            <p:spPr>
              <a:xfrm rot="1800000">
                <a:off x="3672840" y="1005840"/>
                <a:ext cx="4846320" cy="484632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MMUNICATION</a:t>
                </a:r>
              </a:p>
            </p:txBody>
          </p:sp>
          <p:sp>
            <p:nvSpPr>
              <p:cNvPr id="51" name="TextBox 50">
                <a:extLst>
                  <a:ext uri="{FF2B5EF4-FFF2-40B4-BE49-F238E27FC236}">
                    <a16:creationId xmlns:a16="http://schemas.microsoft.com/office/drawing/2014/main" id="{74EE7C66-5E86-4AC9-AB36-EAEF73766459}"/>
                  </a:ext>
                </a:extLst>
              </p:cNvPr>
              <p:cNvSpPr txBox="1"/>
              <p:nvPr/>
            </p:nvSpPr>
            <p:spPr>
              <a:xfrm rot="5400000">
                <a:off x="3672840" y="1005840"/>
                <a:ext cx="4846320" cy="484632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REATIVITY</a:t>
                </a:r>
              </a:p>
            </p:txBody>
          </p:sp>
          <p:sp>
            <p:nvSpPr>
              <p:cNvPr id="53" name="TextBox 52">
                <a:extLst>
                  <a:ext uri="{FF2B5EF4-FFF2-40B4-BE49-F238E27FC236}">
                    <a16:creationId xmlns:a16="http://schemas.microsoft.com/office/drawing/2014/main" id="{0F885739-0E57-4724-87BD-6AD97F8EF359}"/>
                  </a:ext>
                </a:extLst>
              </p:cNvPr>
              <p:cNvSpPr txBox="1"/>
              <p:nvPr/>
            </p:nvSpPr>
            <p:spPr>
              <a:xfrm rot="19800000">
                <a:off x="3672840" y="1005840"/>
                <a:ext cx="4846320" cy="48463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ITIZENSHIP</a:t>
                </a:r>
              </a:p>
            </p:txBody>
          </p:sp>
          <p:sp>
            <p:nvSpPr>
              <p:cNvPr id="55" name="TextBox 54">
                <a:extLst>
                  <a:ext uri="{FF2B5EF4-FFF2-40B4-BE49-F238E27FC236}">
                    <a16:creationId xmlns:a16="http://schemas.microsoft.com/office/drawing/2014/main" id="{0E377EB9-93DC-4686-867E-BDFEAD25A38F}"/>
                  </a:ext>
                </a:extLst>
              </p:cNvPr>
              <p:cNvSpPr txBox="1"/>
              <p:nvPr/>
            </p:nvSpPr>
            <p:spPr>
              <a:xfrm rot="1800000">
                <a:off x="3672840" y="1005840"/>
                <a:ext cx="4846320" cy="48463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LLABORATION</a:t>
                </a:r>
              </a:p>
            </p:txBody>
          </p:sp>
          <p:sp>
            <p:nvSpPr>
              <p:cNvPr id="57" name="TextBox 56">
                <a:extLst>
                  <a:ext uri="{FF2B5EF4-FFF2-40B4-BE49-F238E27FC236}">
                    <a16:creationId xmlns:a16="http://schemas.microsoft.com/office/drawing/2014/main" id="{B48D73B5-043A-4459-939B-4EFB32B5CE17}"/>
                  </a:ext>
                </a:extLst>
              </p:cNvPr>
              <p:cNvSpPr txBox="1"/>
              <p:nvPr/>
            </p:nvSpPr>
            <p:spPr>
              <a:xfrm rot="5400000">
                <a:off x="3672840" y="1005840"/>
                <a:ext cx="4846320" cy="48463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RITICAL THINKING</a:t>
                </a:r>
              </a:p>
            </p:txBody>
          </p:sp>
        </p:grpSp>
      </p:grpSp>
      <p:grpSp>
        <p:nvGrpSpPr>
          <p:cNvPr id="156" name="INNNER RING BRIGHT">
            <a:extLst>
              <a:ext uri="{FF2B5EF4-FFF2-40B4-BE49-F238E27FC236}">
                <a16:creationId xmlns:a16="http://schemas.microsoft.com/office/drawing/2014/main" id="{CB19EA89-ACBD-4C4B-8432-116A7213FBB7}"/>
              </a:ext>
            </a:extLst>
          </p:cNvPr>
          <p:cNvGrpSpPr/>
          <p:nvPr/>
        </p:nvGrpSpPr>
        <p:grpSpPr>
          <a:xfrm>
            <a:off x="6370321" y="1188720"/>
            <a:ext cx="4480560" cy="4480560"/>
            <a:chOff x="6370321" y="1188720"/>
            <a:chExt cx="4480560" cy="4480560"/>
          </a:xfrm>
        </p:grpSpPr>
        <p:graphicFrame>
          <p:nvGraphicFramePr>
            <p:cNvPr id="45" name="Chart 44">
              <a:extLst>
                <a:ext uri="{FF2B5EF4-FFF2-40B4-BE49-F238E27FC236}">
                  <a16:creationId xmlns:a16="http://schemas.microsoft.com/office/drawing/2014/main" id="{62A77DDD-3A38-4150-8B2B-2ACC5D83218F}"/>
                </a:ext>
              </a:extLst>
            </p:cNvPr>
            <p:cNvGraphicFramePr/>
            <p:nvPr/>
          </p:nvGraphicFramePr>
          <p:xfrm>
            <a:off x="6370321" y="1188720"/>
            <a:ext cx="4480560" cy="4480560"/>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a:extLst>
                <a:ext uri="{FF2B5EF4-FFF2-40B4-BE49-F238E27FC236}">
                  <a16:creationId xmlns:a16="http://schemas.microsoft.com/office/drawing/2014/main" id="{7314C8FA-0419-4089-B477-C10B23FC3D00}"/>
                </a:ext>
              </a:extLst>
            </p:cNvPr>
            <p:cNvSpPr txBox="1"/>
            <p:nvPr/>
          </p:nvSpPr>
          <p:spPr>
            <a:xfrm>
              <a:off x="6827521" y="1645920"/>
              <a:ext cx="3566160" cy="3566160"/>
            </a:xfrm>
            <a:prstGeom prst="rect">
              <a:avLst/>
            </a:prstGeom>
            <a:noFill/>
          </p:spPr>
          <p:txBody>
            <a:bodyPr wrap="square" rtlCol="0" anchor="ctr">
              <a:prstTxWarp prst="textArchUp">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mn-cs"/>
                </a:rPr>
                <a:t>RISK TAKING</a:t>
              </a:r>
            </a:p>
          </p:txBody>
        </p:sp>
        <p:sp>
          <p:nvSpPr>
            <p:cNvPr id="5" name="TextBox 4">
              <a:extLst>
                <a:ext uri="{FF2B5EF4-FFF2-40B4-BE49-F238E27FC236}">
                  <a16:creationId xmlns:a16="http://schemas.microsoft.com/office/drawing/2014/main" id="{A8379EED-1596-4657-BB8F-5408E080ABC2}"/>
                </a:ext>
              </a:extLst>
            </p:cNvPr>
            <p:cNvSpPr txBox="1"/>
            <p:nvPr/>
          </p:nvSpPr>
          <p:spPr>
            <a:xfrm rot="6558117">
              <a:off x="6827521" y="1645920"/>
              <a:ext cx="3566160" cy="3566160"/>
            </a:xfrm>
            <a:prstGeom prst="rect">
              <a:avLst/>
            </a:prstGeom>
            <a:noFill/>
          </p:spPr>
          <p:txBody>
            <a:bodyPr wrap="square" rtlCol="0" anchor="ctr">
              <a:prstTxWarp prst="textArchUp">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mn-cs"/>
                </a:rPr>
                <a:t>REFLECTIVENESS</a:t>
              </a:r>
            </a:p>
          </p:txBody>
        </p:sp>
        <p:sp>
          <p:nvSpPr>
            <p:cNvPr id="6" name="TextBox 5">
              <a:extLst>
                <a:ext uri="{FF2B5EF4-FFF2-40B4-BE49-F238E27FC236}">
                  <a16:creationId xmlns:a16="http://schemas.microsoft.com/office/drawing/2014/main" id="{34BC4592-C9DD-4FA8-8578-D0997804361A}"/>
                </a:ext>
              </a:extLst>
            </p:cNvPr>
            <p:cNvSpPr txBox="1"/>
            <p:nvPr/>
          </p:nvSpPr>
          <p:spPr>
            <a:xfrm rot="18618565">
              <a:off x="6827521" y="1747520"/>
              <a:ext cx="3566160" cy="3566160"/>
            </a:xfrm>
            <a:prstGeom prst="rect">
              <a:avLst/>
            </a:prstGeom>
            <a:noFill/>
          </p:spPr>
          <p:txBody>
            <a:bodyPr wrap="square" rtlCol="0" anchor="ctr">
              <a:prstTxWarp prst="textArchDow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mn-cs"/>
                </a:rPr>
                <a:t>RELATIONSHIPS</a:t>
              </a:r>
            </a:p>
          </p:txBody>
        </p:sp>
      </p:grpSp>
      <p:grpSp>
        <p:nvGrpSpPr>
          <p:cNvPr id="157" name="BLUE CENTER">
            <a:extLst>
              <a:ext uri="{FF2B5EF4-FFF2-40B4-BE49-F238E27FC236}">
                <a16:creationId xmlns:a16="http://schemas.microsoft.com/office/drawing/2014/main" id="{73224B9B-03AC-47F2-AA59-3AB70344F89D}"/>
              </a:ext>
            </a:extLst>
          </p:cNvPr>
          <p:cNvGrpSpPr/>
          <p:nvPr/>
        </p:nvGrpSpPr>
        <p:grpSpPr>
          <a:xfrm>
            <a:off x="7098220" y="1920240"/>
            <a:ext cx="3017520" cy="3017520"/>
            <a:chOff x="7098220" y="1920240"/>
            <a:chExt cx="3017520" cy="3017520"/>
          </a:xfrm>
        </p:grpSpPr>
        <p:grpSp>
          <p:nvGrpSpPr>
            <p:cNvPr id="144" name="Group 143">
              <a:extLst>
                <a:ext uri="{FF2B5EF4-FFF2-40B4-BE49-F238E27FC236}">
                  <a16:creationId xmlns:a16="http://schemas.microsoft.com/office/drawing/2014/main" id="{2B58D657-9545-4C09-B81A-538079E839CA}"/>
                </a:ext>
              </a:extLst>
            </p:cNvPr>
            <p:cNvGrpSpPr/>
            <p:nvPr/>
          </p:nvGrpSpPr>
          <p:grpSpPr>
            <a:xfrm>
              <a:off x="7098220" y="1920240"/>
              <a:ext cx="3017520" cy="3017520"/>
              <a:chOff x="1811134" y="0"/>
              <a:chExt cx="3017520" cy="3017520"/>
            </a:xfrm>
          </p:grpSpPr>
          <p:sp>
            <p:nvSpPr>
              <p:cNvPr id="145" name="Freeform: Shape 144">
                <a:extLst>
                  <a:ext uri="{FF2B5EF4-FFF2-40B4-BE49-F238E27FC236}">
                    <a16:creationId xmlns:a16="http://schemas.microsoft.com/office/drawing/2014/main" id="{009C5D86-5986-4964-BA0E-89D9D6D8C751}"/>
                  </a:ext>
                </a:extLst>
              </p:cNvPr>
              <p:cNvSpPr/>
              <p:nvPr/>
            </p:nvSpPr>
            <p:spPr>
              <a:xfrm>
                <a:off x="1898825" y="0"/>
                <a:ext cx="2842138" cy="1005840"/>
              </a:xfrm>
              <a:custGeom>
                <a:avLst/>
                <a:gdLst>
                  <a:gd name="connsiteX0" fmla="*/ 1421069 w 2842138"/>
                  <a:gd name="connsiteY0" fmla="*/ 0 h 1005840"/>
                  <a:gd name="connsiteX1" fmla="*/ 2811263 w 2842138"/>
                  <a:gd name="connsiteY1" fmla="*/ 921483 h 1005840"/>
                  <a:gd name="connsiteX2" fmla="*/ 2842138 w 2842138"/>
                  <a:gd name="connsiteY2" fmla="*/ 1005840 h 1005840"/>
                  <a:gd name="connsiteX3" fmla="*/ 0 w 2842138"/>
                  <a:gd name="connsiteY3" fmla="*/ 1005840 h 1005840"/>
                  <a:gd name="connsiteX4" fmla="*/ 30875 w 2842138"/>
                  <a:gd name="connsiteY4" fmla="*/ 921483 h 1005840"/>
                  <a:gd name="connsiteX5" fmla="*/ 1421069 w 2842138"/>
                  <a:gd name="connsiteY5"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2138" h="1005840">
                    <a:moveTo>
                      <a:pt x="1421069" y="0"/>
                    </a:moveTo>
                    <a:cubicBezTo>
                      <a:pt x="2046018" y="0"/>
                      <a:pt x="2582221" y="379966"/>
                      <a:pt x="2811263" y="921483"/>
                    </a:cubicBezTo>
                    <a:lnTo>
                      <a:pt x="2842138" y="1005840"/>
                    </a:lnTo>
                    <a:lnTo>
                      <a:pt x="0" y="1005840"/>
                    </a:lnTo>
                    <a:lnTo>
                      <a:pt x="30875" y="921483"/>
                    </a:lnTo>
                    <a:cubicBezTo>
                      <a:pt x="259917" y="379966"/>
                      <a:pt x="796120" y="0"/>
                      <a:pt x="1421069" y="0"/>
                    </a:cubicBezTo>
                    <a:close/>
                  </a:path>
                </a:pathLst>
              </a:custGeom>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6" name="Freeform: Shape 145">
                <a:extLst>
                  <a:ext uri="{FF2B5EF4-FFF2-40B4-BE49-F238E27FC236}">
                    <a16:creationId xmlns:a16="http://schemas.microsoft.com/office/drawing/2014/main" id="{93E511B4-1363-4AD2-A33F-644004F1982B}"/>
                  </a:ext>
                </a:extLst>
              </p:cNvPr>
              <p:cNvSpPr/>
              <p:nvPr/>
            </p:nvSpPr>
            <p:spPr>
              <a:xfrm>
                <a:off x="1811134" y="960120"/>
                <a:ext cx="3017520" cy="1097280"/>
              </a:xfrm>
              <a:custGeom>
                <a:avLst/>
                <a:gdLst>
                  <a:gd name="connsiteX0" fmla="*/ 104425 w 3017520"/>
                  <a:gd name="connsiteY0" fmla="*/ 0 h 1097280"/>
                  <a:gd name="connsiteX1" fmla="*/ 2913096 w 3017520"/>
                  <a:gd name="connsiteY1" fmla="*/ 0 h 1097280"/>
                  <a:gd name="connsiteX2" fmla="*/ 2949689 w 3017520"/>
                  <a:gd name="connsiteY2" fmla="*/ 99981 h 1097280"/>
                  <a:gd name="connsiteX3" fmla="*/ 3017520 w 3017520"/>
                  <a:gd name="connsiteY3" fmla="*/ 548640 h 1097280"/>
                  <a:gd name="connsiteX4" fmla="*/ 2949689 w 3017520"/>
                  <a:gd name="connsiteY4" fmla="*/ 997299 h 1097280"/>
                  <a:gd name="connsiteX5" fmla="*/ 2913096 w 3017520"/>
                  <a:gd name="connsiteY5" fmla="*/ 1097280 h 1097280"/>
                  <a:gd name="connsiteX6" fmla="*/ 104425 w 3017520"/>
                  <a:gd name="connsiteY6" fmla="*/ 1097280 h 1097280"/>
                  <a:gd name="connsiteX7" fmla="*/ 67831 w 3017520"/>
                  <a:gd name="connsiteY7" fmla="*/ 997299 h 1097280"/>
                  <a:gd name="connsiteX8" fmla="*/ 0 w 3017520"/>
                  <a:gd name="connsiteY8" fmla="*/ 548640 h 1097280"/>
                  <a:gd name="connsiteX9" fmla="*/ 67831 w 3017520"/>
                  <a:gd name="connsiteY9" fmla="*/ 99981 h 1097280"/>
                  <a:gd name="connsiteX10" fmla="*/ 104425 w 3017520"/>
                  <a:gd name="connsiteY10" fmla="*/ 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7520" h="1097280">
                    <a:moveTo>
                      <a:pt x="104425" y="0"/>
                    </a:moveTo>
                    <a:lnTo>
                      <a:pt x="2913096" y="0"/>
                    </a:lnTo>
                    <a:lnTo>
                      <a:pt x="2949689" y="99981"/>
                    </a:lnTo>
                    <a:cubicBezTo>
                      <a:pt x="2993772" y="241712"/>
                      <a:pt x="3017520" y="392403"/>
                      <a:pt x="3017520" y="548640"/>
                    </a:cubicBezTo>
                    <a:cubicBezTo>
                      <a:pt x="3017520" y="704877"/>
                      <a:pt x="2993772" y="855568"/>
                      <a:pt x="2949689" y="997299"/>
                    </a:cubicBezTo>
                    <a:lnTo>
                      <a:pt x="2913096" y="1097280"/>
                    </a:lnTo>
                    <a:lnTo>
                      <a:pt x="104425" y="1097280"/>
                    </a:lnTo>
                    <a:lnTo>
                      <a:pt x="67831" y="997299"/>
                    </a:lnTo>
                    <a:cubicBezTo>
                      <a:pt x="23748" y="855568"/>
                      <a:pt x="0" y="704877"/>
                      <a:pt x="0" y="548640"/>
                    </a:cubicBezTo>
                    <a:cubicBezTo>
                      <a:pt x="0" y="392403"/>
                      <a:pt x="23748" y="241712"/>
                      <a:pt x="67831" y="99981"/>
                    </a:cubicBezTo>
                    <a:lnTo>
                      <a:pt x="104425" y="0"/>
                    </a:lnTo>
                    <a:close/>
                  </a:path>
                </a:pathLst>
              </a:custGeom>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7" name="Freeform: Shape 146">
                <a:extLst>
                  <a:ext uri="{FF2B5EF4-FFF2-40B4-BE49-F238E27FC236}">
                    <a16:creationId xmlns:a16="http://schemas.microsoft.com/office/drawing/2014/main" id="{9C17FA88-6EF0-4B09-94C3-0F8299B7CCDE}"/>
                  </a:ext>
                </a:extLst>
              </p:cNvPr>
              <p:cNvSpPr/>
              <p:nvPr/>
            </p:nvSpPr>
            <p:spPr>
              <a:xfrm>
                <a:off x="1915559" y="2057400"/>
                <a:ext cx="2808671" cy="960120"/>
              </a:xfrm>
              <a:custGeom>
                <a:avLst/>
                <a:gdLst>
                  <a:gd name="connsiteX0" fmla="*/ 0 w 2808671"/>
                  <a:gd name="connsiteY0" fmla="*/ 0 h 960120"/>
                  <a:gd name="connsiteX1" fmla="*/ 2808671 w 2808671"/>
                  <a:gd name="connsiteY1" fmla="*/ 0 h 960120"/>
                  <a:gd name="connsiteX2" fmla="*/ 2794529 w 2808671"/>
                  <a:gd name="connsiteY2" fmla="*/ 38637 h 960120"/>
                  <a:gd name="connsiteX3" fmla="*/ 1404335 w 2808671"/>
                  <a:gd name="connsiteY3" fmla="*/ 960120 h 960120"/>
                  <a:gd name="connsiteX4" fmla="*/ 14141 w 2808671"/>
                  <a:gd name="connsiteY4" fmla="*/ 38637 h 960120"/>
                  <a:gd name="connsiteX5" fmla="*/ 0 w 2808671"/>
                  <a:gd name="connsiteY5" fmla="*/ 0 h 96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671" h="960120">
                    <a:moveTo>
                      <a:pt x="0" y="0"/>
                    </a:moveTo>
                    <a:lnTo>
                      <a:pt x="2808671" y="0"/>
                    </a:lnTo>
                    <a:lnTo>
                      <a:pt x="2794529" y="38637"/>
                    </a:lnTo>
                    <a:cubicBezTo>
                      <a:pt x="2565487" y="580154"/>
                      <a:pt x="2029284" y="960120"/>
                      <a:pt x="1404335" y="960120"/>
                    </a:cubicBezTo>
                    <a:cubicBezTo>
                      <a:pt x="779386" y="960120"/>
                      <a:pt x="243183" y="580154"/>
                      <a:pt x="14141" y="38637"/>
                    </a:cubicBezTo>
                    <a:lnTo>
                      <a:pt x="0" y="0"/>
                    </a:lnTo>
                    <a:close/>
                  </a:path>
                </a:pathLst>
              </a:custGeom>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48" name="TextBox 147">
              <a:extLst>
                <a:ext uri="{FF2B5EF4-FFF2-40B4-BE49-F238E27FC236}">
                  <a16:creationId xmlns:a16="http://schemas.microsoft.com/office/drawing/2014/main" id="{9B145FD3-0835-4A12-82E3-3D2B2C0C8A5F}"/>
                </a:ext>
              </a:extLst>
            </p:cNvPr>
            <p:cNvSpPr txBox="1"/>
            <p:nvPr/>
          </p:nvSpPr>
          <p:spPr>
            <a:xfrm>
              <a:off x="7387271" y="3249485"/>
              <a:ext cx="24583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ADE FOR EVERYONE</a:t>
              </a:r>
            </a:p>
          </p:txBody>
        </p:sp>
        <p:sp>
          <p:nvSpPr>
            <p:cNvPr id="150" name="TextBox 149">
              <a:extLst>
                <a:ext uri="{FF2B5EF4-FFF2-40B4-BE49-F238E27FC236}">
                  <a16:creationId xmlns:a16="http://schemas.microsoft.com/office/drawing/2014/main" id="{AC38ED56-AF6D-44DD-83A1-B2097041FE38}"/>
                </a:ext>
              </a:extLst>
            </p:cNvPr>
            <p:cNvSpPr txBox="1"/>
            <p:nvPr/>
          </p:nvSpPr>
          <p:spPr>
            <a:xfrm>
              <a:off x="7727846" y="2317744"/>
              <a:ext cx="17772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EANINGFUL</a:t>
              </a:r>
            </a:p>
          </p:txBody>
        </p:sp>
        <p:sp>
          <p:nvSpPr>
            <p:cNvPr id="152" name="TextBox 151">
              <a:extLst>
                <a:ext uri="{FF2B5EF4-FFF2-40B4-BE49-F238E27FC236}">
                  <a16:creationId xmlns:a16="http://schemas.microsoft.com/office/drawing/2014/main" id="{D28639A5-4570-4447-BAA5-9BA6C9D2A397}"/>
                </a:ext>
              </a:extLst>
            </p:cNvPr>
            <p:cNvSpPr txBox="1"/>
            <p:nvPr/>
          </p:nvSpPr>
          <p:spPr>
            <a:xfrm>
              <a:off x="7391673" y="4191551"/>
              <a:ext cx="24583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OTIVATING</a:t>
              </a:r>
            </a:p>
          </p:txBody>
        </p:sp>
      </p:grpSp>
      <p:cxnSp>
        <p:nvCxnSpPr>
          <p:cNvPr id="142" name="PAGE DIVIDER">
            <a:extLst>
              <a:ext uri="{FF2B5EF4-FFF2-40B4-BE49-F238E27FC236}">
                <a16:creationId xmlns:a16="http://schemas.microsoft.com/office/drawing/2014/main" id="{67E23D95-5159-48EB-98E2-B88208140B8A}"/>
              </a:ext>
            </a:extLst>
          </p:cNvPr>
          <p:cNvCxnSpPr/>
          <p:nvPr/>
        </p:nvCxnSpPr>
        <p:spPr>
          <a:xfrm>
            <a:off x="4840841" y="831467"/>
            <a:ext cx="0" cy="5398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87" name="OUTER RING DARK">
            <a:extLst>
              <a:ext uri="{FF2B5EF4-FFF2-40B4-BE49-F238E27FC236}">
                <a16:creationId xmlns:a16="http://schemas.microsoft.com/office/drawing/2014/main" id="{F2AFD598-6122-419C-B8B8-C49DC298D4DE}"/>
              </a:ext>
            </a:extLst>
          </p:cNvPr>
          <p:cNvGrpSpPr/>
          <p:nvPr/>
        </p:nvGrpSpPr>
        <p:grpSpPr>
          <a:xfrm>
            <a:off x="3463269" y="10145"/>
            <a:ext cx="10272888" cy="6848593"/>
            <a:chOff x="3474157" y="4704"/>
            <a:chExt cx="10272888" cy="6848593"/>
          </a:xfrm>
        </p:grpSpPr>
        <p:graphicFrame>
          <p:nvGraphicFramePr>
            <p:cNvPr id="188" name="GIANT PIE">
              <a:extLst>
                <a:ext uri="{FF2B5EF4-FFF2-40B4-BE49-F238E27FC236}">
                  <a16:creationId xmlns:a16="http://schemas.microsoft.com/office/drawing/2014/main" id="{684BDD69-FF01-4A3F-9991-E5A02B5BE920}"/>
                </a:ext>
              </a:extLst>
            </p:cNvPr>
            <p:cNvGraphicFramePr/>
            <p:nvPr/>
          </p:nvGraphicFramePr>
          <p:xfrm>
            <a:off x="3474157" y="4704"/>
            <a:ext cx="10272888" cy="6848593"/>
          </p:xfrm>
          <a:graphic>
            <a:graphicData uri="http://schemas.openxmlformats.org/drawingml/2006/chart">
              <c:chart xmlns:c="http://schemas.openxmlformats.org/drawingml/2006/chart" xmlns:r="http://schemas.openxmlformats.org/officeDocument/2006/relationships" r:id="rId6"/>
            </a:graphicData>
          </a:graphic>
        </p:graphicFrame>
        <p:grpSp>
          <p:nvGrpSpPr>
            <p:cNvPr id="189" name="OUTER RING WORDS">
              <a:extLst>
                <a:ext uri="{FF2B5EF4-FFF2-40B4-BE49-F238E27FC236}">
                  <a16:creationId xmlns:a16="http://schemas.microsoft.com/office/drawing/2014/main" id="{3DF1BACD-9A66-4570-A5B9-B708EA84B356}"/>
                </a:ext>
              </a:extLst>
            </p:cNvPr>
            <p:cNvGrpSpPr/>
            <p:nvPr/>
          </p:nvGrpSpPr>
          <p:grpSpPr>
            <a:xfrm>
              <a:off x="5501641" y="320040"/>
              <a:ext cx="6217920" cy="6217920"/>
              <a:chOff x="5501641" y="320040"/>
              <a:chExt cx="6217920" cy="6217920"/>
            </a:xfrm>
          </p:grpSpPr>
          <p:sp>
            <p:nvSpPr>
              <p:cNvPr id="190" name="TextBox 189">
                <a:extLst>
                  <a:ext uri="{FF2B5EF4-FFF2-40B4-BE49-F238E27FC236}">
                    <a16:creationId xmlns:a16="http://schemas.microsoft.com/office/drawing/2014/main" id="{49B51E82-F55E-4DE7-8E1D-45487F6782C4}"/>
                  </a:ext>
                </a:extLst>
              </p:cNvPr>
              <p:cNvSpPr txBox="1"/>
              <p:nvPr/>
            </p:nvSpPr>
            <p:spPr>
              <a:xfrm rot="31388">
                <a:off x="5501641" y="320040"/>
                <a:ext cx="6217920" cy="62179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OMPUTATIONAL THINKING</a:t>
                </a:r>
              </a:p>
            </p:txBody>
          </p:sp>
          <p:sp>
            <p:nvSpPr>
              <p:cNvPr id="191" name="TextBox 190">
                <a:extLst>
                  <a:ext uri="{FF2B5EF4-FFF2-40B4-BE49-F238E27FC236}">
                    <a16:creationId xmlns:a16="http://schemas.microsoft.com/office/drawing/2014/main" id="{B68DCDE1-B1A8-45C6-A510-67D32CF8D390}"/>
                  </a:ext>
                </a:extLst>
              </p:cNvPr>
              <p:cNvSpPr txBox="1"/>
              <p:nvPr/>
            </p:nvSpPr>
            <p:spPr>
              <a:xfrm rot="3240000">
                <a:off x="5501641" y="320040"/>
                <a:ext cx="6217920" cy="62179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URIOSITY</a:t>
                </a:r>
              </a:p>
            </p:txBody>
          </p:sp>
          <p:sp>
            <p:nvSpPr>
              <p:cNvPr id="192" name="TextBox 191">
                <a:extLst>
                  <a:ext uri="{FF2B5EF4-FFF2-40B4-BE49-F238E27FC236}">
                    <a16:creationId xmlns:a16="http://schemas.microsoft.com/office/drawing/2014/main" id="{55051221-A0AF-4369-850C-737D988FC8FB}"/>
                  </a:ext>
                </a:extLst>
              </p:cNvPr>
              <p:cNvSpPr txBox="1"/>
              <p:nvPr/>
            </p:nvSpPr>
            <p:spPr>
              <a:xfrm rot="16200000">
                <a:off x="5593082" y="411481"/>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ODING</a:t>
                </a:r>
              </a:p>
            </p:txBody>
          </p:sp>
          <p:sp>
            <p:nvSpPr>
              <p:cNvPr id="193" name="TextBox 192">
                <a:extLst>
                  <a:ext uri="{FF2B5EF4-FFF2-40B4-BE49-F238E27FC236}">
                    <a16:creationId xmlns:a16="http://schemas.microsoft.com/office/drawing/2014/main" id="{1445E09F-E6CA-47F6-A310-E3B4CAE886EB}"/>
                  </a:ext>
                </a:extLst>
              </p:cNvPr>
              <p:cNvSpPr txBox="1"/>
              <p:nvPr/>
            </p:nvSpPr>
            <p:spPr>
              <a:xfrm rot="18394963">
                <a:off x="5593081" y="411481"/>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ULTURE</a:t>
                </a:r>
              </a:p>
            </p:txBody>
          </p:sp>
          <p:sp>
            <p:nvSpPr>
              <p:cNvPr id="194" name="TextBox 193">
                <a:extLst>
                  <a:ext uri="{FF2B5EF4-FFF2-40B4-BE49-F238E27FC236}">
                    <a16:creationId xmlns:a16="http://schemas.microsoft.com/office/drawing/2014/main" id="{AF8349F0-2AD0-43E0-AEF6-AC7F7095B8D8}"/>
                  </a:ext>
                </a:extLst>
              </p:cNvPr>
              <p:cNvSpPr txBox="1"/>
              <p:nvPr/>
            </p:nvSpPr>
            <p:spPr>
              <a:xfrm>
                <a:off x="5593081" y="411480"/>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ARING</a:t>
                </a:r>
              </a:p>
            </p:txBody>
          </p:sp>
          <p:sp>
            <p:nvSpPr>
              <p:cNvPr id="195" name="TextBox 194">
                <a:extLst>
                  <a:ext uri="{FF2B5EF4-FFF2-40B4-BE49-F238E27FC236}">
                    <a16:creationId xmlns:a16="http://schemas.microsoft.com/office/drawing/2014/main" id="{C8D8F1A8-3311-4AF6-A22F-BC2E837DD365}"/>
                  </a:ext>
                </a:extLst>
              </p:cNvPr>
              <p:cNvSpPr txBox="1"/>
              <p:nvPr/>
            </p:nvSpPr>
            <p:spPr>
              <a:xfrm rot="3737782">
                <a:off x="5593081" y="411480"/>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URATION</a:t>
                </a:r>
              </a:p>
            </p:txBody>
          </p:sp>
          <p:sp>
            <p:nvSpPr>
              <p:cNvPr id="196" name="TextBox 195">
                <a:extLst>
                  <a:ext uri="{FF2B5EF4-FFF2-40B4-BE49-F238E27FC236}">
                    <a16:creationId xmlns:a16="http://schemas.microsoft.com/office/drawing/2014/main" id="{998E910D-A910-4AC3-AD4E-0EC09045EAEE}"/>
                  </a:ext>
                </a:extLst>
              </p:cNvPr>
              <p:cNvSpPr txBox="1"/>
              <p:nvPr/>
            </p:nvSpPr>
            <p:spPr>
              <a:xfrm rot="17601782">
                <a:off x="5501641" y="320040"/>
                <a:ext cx="6217920" cy="62179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AREER LEARNING</a:t>
                </a:r>
              </a:p>
            </p:txBody>
          </p:sp>
        </p:grpSp>
      </p:grpSp>
      <p:grpSp>
        <p:nvGrpSpPr>
          <p:cNvPr id="197" name="MIDDLE RING DARK">
            <a:extLst>
              <a:ext uri="{FF2B5EF4-FFF2-40B4-BE49-F238E27FC236}">
                <a16:creationId xmlns:a16="http://schemas.microsoft.com/office/drawing/2014/main" id="{D0D991F3-599A-4D0A-8EFB-B37719B7A8EC}"/>
              </a:ext>
            </a:extLst>
          </p:cNvPr>
          <p:cNvGrpSpPr/>
          <p:nvPr/>
        </p:nvGrpSpPr>
        <p:grpSpPr>
          <a:xfrm>
            <a:off x="5627913" y="462641"/>
            <a:ext cx="5943600" cy="5943600"/>
            <a:chOff x="5638801" y="457200"/>
            <a:chExt cx="5943600" cy="5943600"/>
          </a:xfrm>
        </p:grpSpPr>
        <p:graphicFrame>
          <p:nvGraphicFramePr>
            <p:cNvPr id="198" name="BIG PIE">
              <a:extLst>
                <a:ext uri="{FF2B5EF4-FFF2-40B4-BE49-F238E27FC236}">
                  <a16:creationId xmlns:a16="http://schemas.microsoft.com/office/drawing/2014/main" id="{085AE8D0-3673-4722-9F93-AA24F121E3FF}"/>
                </a:ext>
              </a:extLst>
            </p:cNvPr>
            <p:cNvGraphicFramePr/>
            <p:nvPr/>
          </p:nvGraphicFramePr>
          <p:xfrm>
            <a:off x="5638801" y="457200"/>
            <a:ext cx="5943600" cy="5943600"/>
          </p:xfrm>
          <a:graphic>
            <a:graphicData uri="http://schemas.openxmlformats.org/drawingml/2006/chart">
              <c:chart xmlns:c="http://schemas.openxmlformats.org/drawingml/2006/chart" xmlns:r="http://schemas.openxmlformats.org/officeDocument/2006/relationships" r:id="rId7"/>
            </a:graphicData>
          </a:graphic>
        </p:graphicFrame>
        <p:grpSp>
          <p:nvGrpSpPr>
            <p:cNvPr id="199" name="Group 198">
              <a:extLst>
                <a:ext uri="{FF2B5EF4-FFF2-40B4-BE49-F238E27FC236}">
                  <a16:creationId xmlns:a16="http://schemas.microsoft.com/office/drawing/2014/main" id="{89FE2A94-8733-4A4A-8687-8D2F74D6B3E6}"/>
                </a:ext>
              </a:extLst>
            </p:cNvPr>
            <p:cNvGrpSpPr/>
            <p:nvPr/>
          </p:nvGrpSpPr>
          <p:grpSpPr>
            <a:xfrm rot="19831388">
              <a:off x="6187441" y="1005840"/>
              <a:ext cx="4846320" cy="4846320"/>
              <a:chOff x="3672840" y="1005840"/>
              <a:chExt cx="4846320" cy="4846320"/>
            </a:xfrm>
          </p:grpSpPr>
          <p:sp>
            <p:nvSpPr>
              <p:cNvPr id="200" name="TextBox 199">
                <a:extLst>
                  <a:ext uri="{FF2B5EF4-FFF2-40B4-BE49-F238E27FC236}">
                    <a16:creationId xmlns:a16="http://schemas.microsoft.com/office/drawing/2014/main" id="{BC60E883-123E-45D8-8F8E-F3415215A2CB}"/>
                  </a:ext>
                </a:extLst>
              </p:cNvPr>
              <p:cNvSpPr txBox="1"/>
              <p:nvPr/>
            </p:nvSpPr>
            <p:spPr>
              <a:xfrm rot="19800000">
                <a:off x="3672840" y="1005840"/>
                <a:ext cx="4846320" cy="484632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HARACTER</a:t>
                </a:r>
              </a:p>
            </p:txBody>
          </p:sp>
          <p:sp>
            <p:nvSpPr>
              <p:cNvPr id="201" name="TextBox 200">
                <a:extLst>
                  <a:ext uri="{FF2B5EF4-FFF2-40B4-BE49-F238E27FC236}">
                    <a16:creationId xmlns:a16="http://schemas.microsoft.com/office/drawing/2014/main" id="{F96EABE1-018A-47F7-A0A3-B33167301FA0}"/>
                  </a:ext>
                </a:extLst>
              </p:cNvPr>
              <p:cNvSpPr txBox="1"/>
              <p:nvPr/>
            </p:nvSpPr>
            <p:spPr>
              <a:xfrm rot="1800000">
                <a:off x="3672840" y="1005840"/>
                <a:ext cx="4846320" cy="484632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OMMUNICATION</a:t>
                </a:r>
              </a:p>
            </p:txBody>
          </p:sp>
          <p:sp>
            <p:nvSpPr>
              <p:cNvPr id="202" name="TextBox 201">
                <a:extLst>
                  <a:ext uri="{FF2B5EF4-FFF2-40B4-BE49-F238E27FC236}">
                    <a16:creationId xmlns:a16="http://schemas.microsoft.com/office/drawing/2014/main" id="{AA5D9E48-2956-4732-B647-C74B0A8E5960}"/>
                  </a:ext>
                </a:extLst>
              </p:cNvPr>
              <p:cNvSpPr txBox="1"/>
              <p:nvPr/>
            </p:nvSpPr>
            <p:spPr>
              <a:xfrm rot="5400000">
                <a:off x="3672840" y="1005840"/>
                <a:ext cx="4846320" cy="484632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REATIVITY</a:t>
                </a:r>
              </a:p>
            </p:txBody>
          </p:sp>
          <p:sp>
            <p:nvSpPr>
              <p:cNvPr id="203" name="TextBox 202">
                <a:extLst>
                  <a:ext uri="{FF2B5EF4-FFF2-40B4-BE49-F238E27FC236}">
                    <a16:creationId xmlns:a16="http://schemas.microsoft.com/office/drawing/2014/main" id="{38BE891C-DEEF-4E54-969C-6B4F8E1CBA61}"/>
                  </a:ext>
                </a:extLst>
              </p:cNvPr>
              <p:cNvSpPr txBox="1"/>
              <p:nvPr/>
            </p:nvSpPr>
            <p:spPr>
              <a:xfrm rot="19800000">
                <a:off x="3672840" y="1005840"/>
                <a:ext cx="4846320" cy="48463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ITIZENSHIP</a:t>
                </a:r>
              </a:p>
            </p:txBody>
          </p:sp>
          <p:sp>
            <p:nvSpPr>
              <p:cNvPr id="204" name="TextBox 203">
                <a:extLst>
                  <a:ext uri="{FF2B5EF4-FFF2-40B4-BE49-F238E27FC236}">
                    <a16:creationId xmlns:a16="http://schemas.microsoft.com/office/drawing/2014/main" id="{3E35D8A0-4F05-4AF0-A7B5-20F6FA38DEF1}"/>
                  </a:ext>
                </a:extLst>
              </p:cNvPr>
              <p:cNvSpPr txBox="1"/>
              <p:nvPr/>
            </p:nvSpPr>
            <p:spPr>
              <a:xfrm rot="1800000">
                <a:off x="3672840" y="1005840"/>
                <a:ext cx="4846320" cy="48463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OLLABORATION</a:t>
                </a:r>
              </a:p>
            </p:txBody>
          </p:sp>
          <p:sp>
            <p:nvSpPr>
              <p:cNvPr id="205" name="TextBox 204">
                <a:extLst>
                  <a:ext uri="{FF2B5EF4-FFF2-40B4-BE49-F238E27FC236}">
                    <a16:creationId xmlns:a16="http://schemas.microsoft.com/office/drawing/2014/main" id="{C74E7B42-9725-4BB3-969E-002EC8B154D2}"/>
                  </a:ext>
                </a:extLst>
              </p:cNvPr>
              <p:cNvSpPr txBox="1"/>
              <p:nvPr/>
            </p:nvSpPr>
            <p:spPr>
              <a:xfrm rot="5400000">
                <a:off x="3672840" y="1005840"/>
                <a:ext cx="4846320" cy="48463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62626"/>
                    </a:solidFill>
                    <a:effectLst/>
                    <a:uLnTx/>
                    <a:uFillTx/>
                    <a:latin typeface="Segoe UI"/>
                    <a:ea typeface="+mn-ea"/>
                    <a:cs typeface="+mn-cs"/>
                  </a:rPr>
                  <a:t>CRITICAL THINKING</a:t>
                </a:r>
              </a:p>
            </p:txBody>
          </p:sp>
        </p:grpSp>
      </p:grpSp>
      <p:grpSp>
        <p:nvGrpSpPr>
          <p:cNvPr id="206" name="INNNER RING DARK">
            <a:extLst>
              <a:ext uri="{FF2B5EF4-FFF2-40B4-BE49-F238E27FC236}">
                <a16:creationId xmlns:a16="http://schemas.microsoft.com/office/drawing/2014/main" id="{1EE12EC2-9F3B-4F4E-AD66-B0B3931787A7}"/>
              </a:ext>
            </a:extLst>
          </p:cNvPr>
          <p:cNvGrpSpPr/>
          <p:nvPr/>
        </p:nvGrpSpPr>
        <p:grpSpPr>
          <a:xfrm>
            <a:off x="6359433" y="1194161"/>
            <a:ext cx="4480560" cy="4480560"/>
            <a:chOff x="6370321" y="1188720"/>
            <a:chExt cx="4480560" cy="4480560"/>
          </a:xfrm>
        </p:grpSpPr>
        <p:graphicFrame>
          <p:nvGraphicFramePr>
            <p:cNvPr id="207" name="Chart 206">
              <a:extLst>
                <a:ext uri="{FF2B5EF4-FFF2-40B4-BE49-F238E27FC236}">
                  <a16:creationId xmlns:a16="http://schemas.microsoft.com/office/drawing/2014/main" id="{4245C672-9D14-4D06-98A5-755D632813B5}"/>
                </a:ext>
              </a:extLst>
            </p:cNvPr>
            <p:cNvGraphicFramePr/>
            <p:nvPr/>
          </p:nvGraphicFramePr>
          <p:xfrm>
            <a:off x="6370321" y="1188720"/>
            <a:ext cx="4480560" cy="4480560"/>
          </p:xfrm>
          <a:graphic>
            <a:graphicData uri="http://schemas.openxmlformats.org/drawingml/2006/chart">
              <c:chart xmlns:c="http://schemas.openxmlformats.org/drawingml/2006/chart" xmlns:r="http://schemas.openxmlformats.org/officeDocument/2006/relationships" r:id="rId8"/>
            </a:graphicData>
          </a:graphic>
        </p:graphicFrame>
        <p:sp>
          <p:nvSpPr>
            <p:cNvPr id="208" name="TextBox 207">
              <a:extLst>
                <a:ext uri="{FF2B5EF4-FFF2-40B4-BE49-F238E27FC236}">
                  <a16:creationId xmlns:a16="http://schemas.microsoft.com/office/drawing/2014/main" id="{A0463571-CC9A-4A34-ACB7-93DF56730CE5}"/>
                </a:ext>
              </a:extLst>
            </p:cNvPr>
            <p:cNvSpPr txBox="1"/>
            <p:nvPr/>
          </p:nvSpPr>
          <p:spPr>
            <a:xfrm>
              <a:off x="6827521" y="1645920"/>
              <a:ext cx="3566160" cy="3566160"/>
            </a:xfrm>
            <a:prstGeom prst="rect">
              <a:avLst/>
            </a:prstGeom>
            <a:noFill/>
          </p:spPr>
          <p:txBody>
            <a:bodyPr wrap="square" rtlCol="0" anchor="ctr">
              <a:prstTxWarp prst="textArchUp">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262626"/>
                  </a:solidFill>
                  <a:effectLst/>
                  <a:uLnTx/>
                  <a:uFillTx/>
                  <a:latin typeface="Segoe UI"/>
                  <a:ea typeface="+mn-ea"/>
                  <a:cs typeface="+mn-cs"/>
                </a:rPr>
                <a:t>RISK TAKING</a:t>
              </a:r>
            </a:p>
          </p:txBody>
        </p:sp>
        <p:sp>
          <p:nvSpPr>
            <p:cNvPr id="209" name="TextBox 208">
              <a:extLst>
                <a:ext uri="{FF2B5EF4-FFF2-40B4-BE49-F238E27FC236}">
                  <a16:creationId xmlns:a16="http://schemas.microsoft.com/office/drawing/2014/main" id="{9E045336-292E-4A04-B1AC-36F6F123C661}"/>
                </a:ext>
              </a:extLst>
            </p:cNvPr>
            <p:cNvSpPr txBox="1"/>
            <p:nvPr/>
          </p:nvSpPr>
          <p:spPr>
            <a:xfrm rot="6558117">
              <a:off x="6827521" y="1645920"/>
              <a:ext cx="3566160" cy="3566160"/>
            </a:xfrm>
            <a:prstGeom prst="rect">
              <a:avLst/>
            </a:prstGeom>
            <a:noFill/>
          </p:spPr>
          <p:txBody>
            <a:bodyPr wrap="square" rtlCol="0" anchor="ctr">
              <a:prstTxWarp prst="textArchUp">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262626"/>
                  </a:solidFill>
                  <a:effectLst/>
                  <a:uLnTx/>
                  <a:uFillTx/>
                  <a:latin typeface="Segoe UI"/>
                  <a:ea typeface="+mn-ea"/>
                  <a:cs typeface="+mn-cs"/>
                </a:rPr>
                <a:t>REFLECTIVENESS</a:t>
              </a:r>
            </a:p>
          </p:txBody>
        </p:sp>
        <p:sp>
          <p:nvSpPr>
            <p:cNvPr id="210" name="TextBox 209">
              <a:extLst>
                <a:ext uri="{FF2B5EF4-FFF2-40B4-BE49-F238E27FC236}">
                  <a16:creationId xmlns:a16="http://schemas.microsoft.com/office/drawing/2014/main" id="{C5FDC934-D596-4153-8AF0-4FA4D734EFE7}"/>
                </a:ext>
              </a:extLst>
            </p:cNvPr>
            <p:cNvSpPr txBox="1"/>
            <p:nvPr/>
          </p:nvSpPr>
          <p:spPr>
            <a:xfrm rot="18468353">
              <a:off x="6827521" y="1747520"/>
              <a:ext cx="3566160" cy="3566160"/>
            </a:xfrm>
            <a:prstGeom prst="rect">
              <a:avLst/>
            </a:prstGeom>
            <a:noFill/>
          </p:spPr>
          <p:txBody>
            <a:bodyPr wrap="square" rtlCol="0" anchor="ctr">
              <a:prstTxWarp prst="textArchDow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262626"/>
                  </a:solidFill>
                  <a:effectLst/>
                  <a:uLnTx/>
                  <a:uFillTx/>
                  <a:latin typeface="Segoe UI"/>
                  <a:ea typeface="+mn-ea"/>
                  <a:cs typeface="+mn-cs"/>
                </a:rPr>
                <a:t>RELATIONSHIPS</a:t>
              </a:r>
            </a:p>
          </p:txBody>
        </p:sp>
      </p:grpSp>
      <p:grpSp>
        <p:nvGrpSpPr>
          <p:cNvPr id="212" name="HIDE AT START">
            <a:extLst>
              <a:ext uri="{FF2B5EF4-FFF2-40B4-BE49-F238E27FC236}">
                <a16:creationId xmlns:a16="http://schemas.microsoft.com/office/drawing/2014/main" id="{1DFE2D0E-5F69-44FF-8F3D-79A527FBCB55}"/>
              </a:ext>
            </a:extLst>
          </p:cNvPr>
          <p:cNvGrpSpPr/>
          <p:nvPr/>
        </p:nvGrpSpPr>
        <p:grpSpPr>
          <a:xfrm>
            <a:off x="2686930" y="0"/>
            <a:ext cx="11060115" cy="6858000"/>
            <a:chOff x="2686930" y="0"/>
            <a:chExt cx="11060115" cy="6858000"/>
          </a:xfrm>
        </p:grpSpPr>
        <p:sp>
          <p:nvSpPr>
            <p:cNvPr id="213" name="Rectangle 212">
              <a:extLst>
                <a:ext uri="{FF2B5EF4-FFF2-40B4-BE49-F238E27FC236}">
                  <a16:creationId xmlns:a16="http://schemas.microsoft.com/office/drawing/2014/main" id="{D33F736B-FF8C-409A-A35F-51A85E4A116F}"/>
                </a:ext>
              </a:extLst>
            </p:cNvPr>
            <p:cNvSpPr/>
            <p:nvPr/>
          </p:nvSpPr>
          <p:spPr>
            <a:xfrm>
              <a:off x="2686930" y="0"/>
              <a:ext cx="9505070"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14" name="OUTER RING BRIGHT">
              <a:extLst>
                <a:ext uri="{FF2B5EF4-FFF2-40B4-BE49-F238E27FC236}">
                  <a16:creationId xmlns:a16="http://schemas.microsoft.com/office/drawing/2014/main" id="{344E73A0-78EB-4D6E-BF17-AAD6EEFF51B0}"/>
                </a:ext>
              </a:extLst>
            </p:cNvPr>
            <p:cNvGrpSpPr/>
            <p:nvPr/>
          </p:nvGrpSpPr>
          <p:grpSpPr>
            <a:xfrm>
              <a:off x="3474157" y="4704"/>
              <a:ext cx="10272888" cy="6848593"/>
              <a:chOff x="3474157" y="4704"/>
              <a:chExt cx="10272888" cy="6848593"/>
            </a:xfrm>
          </p:grpSpPr>
          <p:graphicFrame>
            <p:nvGraphicFramePr>
              <p:cNvPr id="238" name="GIANT PIE">
                <a:extLst>
                  <a:ext uri="{FF2B5EF4-FFF2-40B4-BE49-F238E27FC236}">
                    <a16:creationId xmlns:a16="http://schemas.microsoft.com/office/drawing/2014/main" id="{13FCC513-7667-41CD-B070-2501E5FDA9D8}"/>
                  </a:ext>
                </a:extLst>
              </p:cNvPr>
              <p:cNvGraphicFramePr/>
              <p:nvPr/>
            </p:nvGraphicFramePr>
            <p:xfrm>
              <a:off x="3474157" y="4704"/>
              <a:ext cx="10272888" cy="6848593"/>
            </p:xfrm>
            <a:graphic>
              <a:graphicData uri="http://schemas.openxmlformats.org/drawingml/2006/chart">
                <c:chart xmlns:c="http://schemas.openxmlformats.org/drawingml/2006/chart" xmlns:r="http://schemas.openxmlformats.org/officeDocument/2006/relationships" r:id="rId9"/>
              </a:graphicData>
            </a:graphic>
          </p:graphicFrame>
          <p:grpSp>
            <p:nvGrpSpPr>
              <p:cNvPr id="239" name="OUTER RING WORDS">
                <a:extLst>
                  <a:ext uri="{FF2B5EF4-FFF2-40B4-BE49-F238E27FC236}">
                    <a16:creationId xmlns:a16="http://schemas.microsoft.com/office/drawing/2014/main" id="{C6883B75-807E-4FF3-AC97-BE5A15F70110}"/>
                  </a:ext>
                </a:extLst>
              </p:cNvPr>
              <p:cNvGrpSpPr/>
              <p:nvPr/>
            </p:nvGrpSpPr>
            <p:grpSpPr>
              <a:xfrm>
                <a:off x="5501641" y="320040"/>
                <a:ext cx="6217920" cy="6217920"/>
                <a:chOff x="5501641" y="320040"/>
                <a:chExt cx="6217920" cy="6217920"/>
              </a:xfrm>
            </p:grpSpPr>
            <p:sp>
              <p:nvSpPr>
                <p:cNvPr id="240" name="TextBox 239">
                  <a:extLst>
                    <a:ext uri="{FF2B5EF4-FFF2-40B4-BE49-F238E27FC236}">
                      <a16:creationId xmlns:a16="http://schemas.microsoft.com/office/drawing/2014/main" id="{901887EA-5E3D-4BAC-AF09-C23F79C03D35}"/>
                    </a:ext>
                  </a:extLst>
                </p:cNvPr>
                <p:cNvSpPr txBox="1"/>
                <p:nvPr/>
              </p:nvSpPr>
              <p:spPr>
                <a:xfrm rot="31388">
                  <a:off x="5501641" y="320040"/>
                  <a:ext cx="6217920" cy="62179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MPUTATIONAL THINKING</a:t>
                  </a:r>
                </a:p>
              </p:txBody>
            </p:sp>
            <p:sp>
              <p:nvSpPr>
                <p:cNvPr id="241" name="TextBox 240">
                  <a:extLst>
                    <a:ext uri="{FF2B5EF4-FFF2-40B4-BE49-F238E27FC236}">
                      <a16:creationId xmlns:a16="http://schemas.microsoft.com/office/drawing/2014/main" id="{5E18ECA7-F742-4673-9905-CB2575F2EC4F}"/>
                    </a:ext>
                  </a:extLst>
                </p:cNvPr>
                <p:cNvSpPr txBox="1"/>
                <p:nvPr/>
              </p:nvSpPr>
              <p:spPr>
                <a:xfrm rot="3240000">
                  <a:off x="5501641" y="320040"/>
                  <a:ext cx="6217920" cy="62179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RIOSITY</a:t>
                  </a:r>
                </a:p>
              </p:txBody>
            </p:sp>
            <p:sp>
              <p:nvSpPr>
                <p:cNvPr id="242" name="TextBox 241">
                  <a:extLst>
                    <a:ext uri="{FF2B5EF4-FFF2-40B4-BE49-F238E27FC236}">
                      <a16:creationId xmlns:a16="http://schemas.microsoft.com/office/drawing/2014/main" id="{7F5D7935-CAB1-42DF-B102-93EE14457FA9}"/>
                    </a:ext>
                  </a:extLst>
                </p:cNvPr>
                <p:cNvSpPr txBox="1"/>
                <p:nvPr/>
              </p:nvSpPr>
              <p:spPr>
                <a:xfrm rot="16200000">
                  <a:off x="5593082" y="411481"/>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DING</a:t>
                  </a:r>
                </a:p>
              </p:txBody>
            </p:sp>
            <p:sp>
              <p:nvSpPr>
                <p:cNvPr id="243" name="TextBox 242">
                  <a:extLst>
                    <a:ext uri="{FF2B5EF4-FFF2-40B4-BE49-F238E27FC236}">
                      <a16:creationId xmlns:a16="http://schemas.microsoft.com/office/drawing/2014/main" id="{E1468F1C-6113-47D3-A786-D365FA7D75AB}"/>
                    </a:ext>
                  </a:extLst>
                </p:cNvPr>
                <p:cNvSpPr txBox="1"/>
                <p:nvPr/>
              </p:nvSpPr>
              <p:spPr>
                <a:xfrm rot="18394963">
                  <a:off x="5593081" y="411481"/>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LTURE</a:t>
                  </a:r>
                </a:p>
              </p:txBody>
            </p:sp>
            <p:sp>
              <p:nvSpPr>
                <p:cNvPr id="244" name="TextBox 243">
                  <a:extLst>
                    <a:ext uri="{FF2B5EF4-FFF2-40B4-BE49-F238E27FC236}">
                      <a16:creationId xmlns:a16="http://schemas.microsoft.com/office/drawing/2014/main" id="{76C69A9A-E602-40CC-90CA-610757CE3DC2}"/>
                    </a:ext>
                  </a:extLst>
                </p:cNvPr>
                <p:cNvSpPr txBox="1"/>
                <p:nvPr/>
              </p:nvSpPr>
              <p:spPr>
                <a:xfrm>
                  <a:off x="5593081" y="411480"/>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ARING</a:t>
                  </a:r>
                </a:p>
              </p:txBody>
            </p:sp>
            <p:sp>
              <p:nvSpPr>
                <p:cNvPr id="245" name="TextBox 244">
                  <a:extLst>
                    <a:ext uri="{FF2B5EF4-FFF2-40B4-BE49-F238E27FC236}">
                      <a16:creationId xmlns:a16="http://schemas.microsoft.com/office/drawing/2014/main" id="{146EA0C5-F3E5-447F-8623-3251E6DE159A}"/>
                    </a:ext>
                  </a:extLst>
                </p:cNvPr>
                <p:cNvSpPr txBox="1"/>
                <p:nvPr/>
              </p:nvSpPr>
              <p:spPr>
                <a:xfrm rot="3737782">
                  <a:off x="5593081" y="411480"/>
                  <a:ext cx="6035040" cy="603504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URATION</a:t>
                  </a:r>
                </a:p>
              </p:txBody>
            </p:sp>
            <p:sp>
              <p:nvSpPr>
                <p:cNvPr id="246" name="TextBox 245">
                  <a:extLst>
                    <a:ext uri="{FF2B5EF4-FFF2-40B4-BE49-F238E27FC236}">
                      <a16:creationId xmlns:a16="http://schemas.microsoft.com/office/drawing/2014/main" id="{B3874FB8-DCF8-4F0F-94CF-97A25D6D3380}"/>
                    </a:ext>
                  </a:extLst>
                </p:cNvPr>
                <p:cNvSpPr txBox="1"/>
                <p:nvPr/>
              </p:nvSpPr>
              <p:spPr>
                <a:xfrm rot="17601782">
                  <a:off x="5501641" y="320040"/>
                  <a:ext cx="6217920" cy="62179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AREER LEARNING</a:t>
                  </a:r>
                </a:p>
              </p:txBody>
            </p:sp>
          </p:grpSp>
        </p:grpSp>
        <p:grpSp>
          <p:nvGrpSpPr>
            <p:cNvPr id="215" name="MIDDLE RING BRIGHT">
              <a:extLst>
                <a:ext uri="{FF2B5EF4-FFF2-40B4-BE49-F238E27FC236}">
                  <a16:creationId xmlns:a16="http://schemas.microsoft.com/office/drawing/2014/main" id="{E4E3E304-BD6C-4ACE-AB69-4F9B6629F0AF}"/>
                </a:ext>
              </a:extLst>
            </p:cNvPr>
            <p:cNvGrpSpPr/>
            <p:nvPr/>
          </p:nvGrpSpPr>
          <p:grpSpPr>
            <a:xfrm>
              <a:off x="5638801" y="457200"/>
              <a:ext cx="5943600" cy="5943600"/>
              <a:chOff x="5638801" y="457200"/>
              <a:chExt cx="5943600" cy="5943600"/>
            </a:xfrm>
          </p:grpSpPr>
          <p:graphicFrame>
            <p:nvGraphicFramePr>
              <p:cNvPr id="230" name="BIG PIE">
                <a:extLst>
                  <a:ext uri="{FF2B5EF4-FFF2-40B4-BE49-F238E27FC236}">
                    <a16:creationId xmlns:a16="http://schemas.microsoft.com/office/drawing/2014/main" id="{198C232F-1DFD-454A-95CD-F3E022EC5E09}"/>
                  </a:ext>
                </a:extLst>
              </p:cNvPr>
              <p:cNvGraphicFramePr/>
              <p:nvPr/>
            </p:nvGraphicFramePr>
            <p:xfrm>
              <a:off x="5638801" y="457200"/>
              <a:ext cx="5943600" cy="5943600"/>
            </p:xfrm>
            <a:graphic>
              <a:graphicData uri="http://schemas.openxmlformats.org/drawingml/2006/chart">
                <c:chart xmlns:c="http://schemas.openxmlformats.org/drawingml/2006/chart" xmlns:r="http://schemas.openxmlformats.org/officeDocument/2006/relationships" r:id="rId10"/>
              </a:graphicData>
            </a:graphic>
          </p:graphicFrame>
          <p:grpSp>
            <p:nvGrpSpPr>
              <p:cNvPr id="231" name="Group 230">
                <a:extLst>
                  <a:ext uri="{FF2B5EF4-FFF2-40B4-BE49-F238E27FC236}">
                    <a16:creationId xmlns:a16="http://schemas.microsoft.com/office/drawing/2014/main" id="{5ED6B6EB-1D88-4E2C-8D3F-FDC12E7612E5}"/>
                  </a:ext>
                </a:extLst>
              </p:cNvPr>
              <p:cNvGrpSpPr/>
              <p:nvPr/>
            </p:nvGrpSpPr>
            <p:grpSpPr>
              <a:xfrm rot="19831388">
                <a:off x="6187441" y="1005840"/>
                <a:ext cx="4846320" cy="4846320"/>
                <a:chOff x="3672840" y="1005840"/>
                <a:chExt cx="4846320" cy="4846320"/>
              </a:xfrm>
            </p:grpSpPr>
            <p:sp>
              <p:nvSpPr>
                <p:cNvPr id="232" name="TextBox 231">
                  <a:extLst>
                    <a:ext uri="{FF2B5EF4-FFF2-40B4-BE49-F238E27FC236}">
                      <a16:creationId xmlns:a16="http://schemas.microsoft.com/office/drawing/2014/main" id="{49894225-FE41-4BC8-80B0-851A47921372}"/>
                    </a:ext>
                  </a:extLst>
                </p:cNvPr>
                <p:cNvSpPr txBox="1"/>
                <p:nvPr/>
              </p:nvSpPr>
              <p:spPr>
                <a:xfrm rot="19800000">
                  <a:off x="3672840" y="1005840"/>
                  <a:ext cx="4846320" cy="484632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HARACTER</a:t>
                  </a:r>
                </a:p>
              </p:txBody>
            </p:sp>
            <p:sp>
              <p:nvSpPr>
                <p:cNvPr id="233" name="TextBox 232">
                  <a:extLst>
                    <a:ext uri="{FF2B5EF4-FFF2-40B4-BE49-F238E27FC236}">
                      <a16:creationId xmlns:a16="http://schemas.microsoft.com/office/drawing/2014/main" id="{7E5E724E-6A88-4ABA-8A33-833D1C59D774}"/>
                    </a:ext>
                  </a:extLst>
                </p:cNvPr>
                <p:cNvSpPr txBox="1"/>
                <p:nvPr/>
              </p:nvSpPr>
              <p:spPr>
                <a:xfrm rot="1800000">
                  <a:off x="3672840" y="1005840"/>
                  <a:ext cx="4846320" cy="484632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MMUNICATION</a:t>
                  </a:r>
                </a:p>
              </p:txBody>
            </p:sp>
            <p:sp>
              <p:nvSpPr>
                <p:cNvPr id="234" name="TextBox 233">
                  <a:extLst>
                    <a:ext uri="{FF2B5EF4-FFF2-40B4-BE49-F238E27FC236}">
                      <a16:creationId xmlns:a16="http://schemas.microsoft.com/office/drawing/2014/main" id="{43326C54-C02A-41A3-8214-237BBACD9E22}"/>
                    </a:ext>
                  </a:extLst>
                </p:cNvPr>
                <p:cNvSpPr txBox="1"/>
                <p:nvPr/>
              </p:nvSpPr>
              <p:spPr>
                <a:xfrm rot="5400000">
                  <a:off x="3672840" y="1005840"/>
                  <a:ext cx="4846320" cy="4846320"/>
                </a:xfrm>
                <a:prstGeom prst="rect">
                  <a:avLst/>
                </a:prstGeom>
                <a:noFill/>
              </p:spPr>
              <p:txBody>
                <a:bodyPr wrap="square" rtlCol="0" anchor="ctr">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REATIVITY</a:t>
                  </a:r>
                </a:p>
              </p:txBody>
            </p:sp>
            <p:sp>
              <p:nvSpPr>
                <p:cNvPr id="235" name="TextBox 234">
                  <a:extLst>
                    <a:ext uri="{FF2B5EF4-FFF2-40B4-BE49-F238E27FC236}">
                      <a16:creationId xmlns:a16="http://schemas.microsoft.com/office/drawing/2014/main" id="{6565A49F-8C71-49FE-A53F-74EF74659C96}"/>
                    </a:ext>
                  </a:extLst>
                </p:cNvPr>
                <p:cNvSpPr txBox="1"/>
                <p:nvPr/>
              </p:nvSpPr>
              <p:spPr>
                <a:xfrm rot="19800000">
                  <a:off x="3672840" y="1005840"/>
                  <a:ext cx="4846320" cy="48463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ITIZENSHIP</a:t>
                  </a:r>
                </a:p>
              </p:txBody>
            </p:sp>
            <p:sp>
              <p:nvSpPr>
                <p:cNvPr id="236" name="TextBox 235">
                  <a:extLst>
                    <a:ext uri="{FF2B5EF4-FFF2-40B4-BE49-F238E27FC236}">
                      <a16:creationId xmlns:a16="http://schemas.microsoft.com/office/drawing/2014/main" id="{4A6C6F52-D60B-4B86-A688-379849A939E6}"/>
                    </a:ext>
                  </a:extLst>
                </p:cNvPr>
                <p:cNvSpPr txBox="1"/>
                <p:nvPr/>
              </p:nvSpPr>
              <p:spPr>
                <a:xfrm rot="1800000">
                  <a:off x="3672840" y="1005840"/>
                  <a:ext cx="4846320" cy="48463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LLABORATION</a:t>
                  </a:r>
                </a:p>
              </p:txBody>
            </p:sp>
            <p:sp>
              <p:nvSpPr>
                <p:cNvPr id="237" name="TextBox 236">
                  <a:extLst>
                    <a:ext uri="{FF2B5EF4-FFF2-40B4-BE49-F238E27FC236}">
                      <a16:creationId xmlns:a16="http://schemas.microsoft.com/office/drawing/2014/main" id="{905B85D2-087F-45AB-833E-E1368E7CCC03}"/>
                    </a:ext>
                  </a:extLst>
                </p:cNvPr>
                <p:cNvSpPr txBox="1"/>
                <p:nvPr/>
              </p:nvSpPr>
              <p:spPr>
                <a:xfrm rot="5400000">
                  <a:off x="3672840" y="1005840"/>
                  <a:ext cx="4846320" cy="4846320"/>
                </a:xfrm>
                <a:prstGeom prst="rect">
                  <a:avLst/>
                </a:prstGeom>
                <a:noFill/>
              </p:spPr>
              <p:txBody>
                <a:bodyPr wrap="square" rtlCol="0" anchor="ctr">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RITICAL THINKING</a:t>
                  </a:r>
                </a:p>
              </p:txBody>
            </p:sp>
          </p:grpSp>
        </p:grpSp>
        <p:grpSp>
          <p:nvGrpSpPr>
            <p:cNvPr id="216" name="INNNER RING BRIGHT">
              <a:extLst>
                <a:ext uri="{FF2B5EF4-FFF2-40B4-BE49-F238E27FC236}">
                  <a16:creationId xmlns:a16="http://schemas.microsoft.com/office/drawing/2014/main" id="{79709F35-3584-4ED7-BAB2-06B789968D05}"/>
                </a:ext>
              </a:extLst>
            </p:cNvPr>
            <p:cNvGrpSpPr/>
            <p:nvPr/>
          </p:nvGrpSpPr>
          <p:grpSpPr>
            <a:xfrm>
              <a:off x="6370321" y="1188720"/>
              <a:ext cx="4480560" cy="4480560"/>
              <a:chOff x="6370321" y="1188720"/>
              <a:chExt cx="4480560" cy="4480560"/>
            </a:xfrm>
          </p:grpSpPr>
          <p:graphicFrame>
            <p:nvGraphicFramePr>
              <p:cNvPr id="226" name="Chart 225">
                <a:extLst>
                  <a:ext uri="{FF2B5EF4-FFF2-40B4-BE49-F238E27FC236}">
                    <a16:creationId xmlns:a16="http://schemas.microsoft.com/office/drawing/2014/main" id="{9BA58B66-12E8-4A32-AF20-36347A3ECB60}"/>
                  </a:ext>
                </a:extLst>
              </p:cNvPr>
              <p:cNvGraphicFramePr/>
              <p:nvPr/>
            </p:nvGraphicFramePr>
            <p:xfrm>
              <a:off x="6370321" y="1188720"/>
              <a:ext cx="4480560" cy="4480560"/>
            </p:xfrm>
            <a:graphic>
              <a:graphicData uri="http://schemas.openxmlformats.org/drawingml/2006/chart">
                <c:chart xmlns:c="http://schemas.openxmlformats.org/drawingml/2006/chart" xmlns:r="http://schemas.openxmlformats.org/officeDocument/2006/relationships" r:id="rId11"/>
              </a:graphicData>
            </a:graphic>
          </p:graphicFrame>
          <p:sp>
            <p:nvSpPr>
              <p:cNvPr id="227" name="TextBox 226">
                <a:extLst>
                  <a:ext uri="{FF2B5EF4-FFF2-40B4-BE49-F238E27FC236}">
                    <a16:creationId xmlns:a16="http://schemas.microsoft.com/office/drawing/2014/main" id="{3B40DDA9-0846-45B2-908D-676D2777290D}"/>
                  </a:ext>
                </a:extLst>
              </p:cNvPr>
              <p:cNvSpPr txBox="1"/>
              <p:nvPr/>
            </p:nvSpPr>
            <p:spPr>
              <a:xfrm>
                <a:off x="6827521" y="1645920"/>
                <a:ext cx="3566160" cy="3566160"/>
              </a:xfrm>
              <a:prstGeom prst="rect">
                <a:avLst/>
              </a:prstGeom>
              <a:noFill/>
            </p:spPr>
            <p:txBody>
              <a:bodyPr wrap="square" rtlCol="0" anchor="ctr">
                <a:prstTxWarp prst="textArchUp">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mn-cs"/>
                  </a:rPr>
                  <a:t>RISK TAKING</a:t>
                </a:r>
              </a:p>
            </p:txBody>
          </p:sp>
          <p:sp>
            <p:nvSpPr>
              <p:cNvPr id="228" name="TextBox 227">
                <a:extLst>
                  <a:ext uri="{FF2B5EF4-FFF2-40B4-BE49-F238E27FC236}">
                    <a16:creationId xmlns:a16="http://schemas.microsoft.com/office/drawing/2014/main" id="{5B91561E-9185-4E30-ABEF-694EF03A4C22}"/>
                  </a:ext>
                </a:extLst>
              </p:cNvPr>
              <p:cNvSpPr txBox="1"/>
              <p:nvPr/>
            </p:nvSpPr>
            <p:spPr>
              <a:xfrm rot="6558117">
                <a:off x="6827521" y="1645920"/>
                <a:ext cx="3566160" cy="3566160"/>
              </a:xfrm>
              <a:prstGeom prst="rect">
                <a:avLst/>
              </a:prstGeom>
              <a:noFill/>
            </p:spPr>
            <p:txBody>
              <a:bodyPr wrap="square" rtlCol="0" anchor="ctr">
                <a:prstTxWarp prst="textArchUp">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mn-cs"/>
                  </a:rPr>
                  <a:t>REFLECTIVENESS</a:t>
                </a:r>
              </a:p>
            </p:txBody>
          </p:sp>
          <p:sp>
            <p:nvSpPr>
              <p:cNvPr id="229" name="TextBox 228">
                <a:extLst>
                  <a:ext uri="{FF2B5EF4-FFF2-40B4-BE49-F238E27FC236}">
                    <a16:creationId xmlns:a16="http://schemas.microsoft.com/office/drawing/2014/main" id="{B133F468-A787-434A-ACA1-9AEE9F5EE6A3}"/>
                  </a:ext>
                </a:extLst>
              </p:cNvPr>
              <p:cNvSpPr txBox="1"/>
              <p:nvPr/>
            </p:nvSpPr>
            <p:spPr>
              <a:xfrm rot="18618565">
                <a:off x="6827521" y="1747520"/>
                <a:ext cx="3566160" cy="3566160"/>
              </a:xfrm>
              <a:prstGeom prst="rect">
                <a:avLst/>
              </a:prstGeom>
              <a:noFill/>
            </p:spPr>
            <p:txBody>
              <a:bodyPr wrap="square" rtlCol="0" anchor="ctr">
                <a:prstTxWarp prst="textArchDown">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a:ea typeface="+mn-ea"/>
                    <a:cs typeface="+mn-cs"/>
                  </a:rPr>
                  <a:t>RELATIONSHIPS</a:t>
                </a:r>
              </a:p>
            </p:txBody>
          </p:sp>
        </p:grpSp>
        <p:grpSp>
          <p:nvGrpSpPr>
            <p:cNvPr id="217" name="BLUE CENTER">
              <a:extLst>
                <a:ext uri="{FF2B5EF4-FFF2-40B4-BE49-F238E27FC236}">
                  <a16:creationId xmlns:a16="http://schemas.microsoft.com/office/drawing/2014/main" id="{7B5F861D-57FC-4141-B320-109A46FC27A3}"/>
                </a:ext>
              </a:extLst>
            </p:cNvPr>
            <p:cNvGrpSpPr/>
            <p:nvPr/>
          </p:nvGrpSpPr>
          <p:grpSpPr>
            <a:xfrm>
              <a:off x="7098220" y="1920240"/>
              <a:ext cx="3017520" cy="3017520"/>
              <a:chOff x="7098220" y="1920240"/>
              <a:chExt cx="3017520" cy="3017520"/>
            </a:xfrm>
          </p:grpSpPr>
          <p:grpSp>
            <p:nvGrpSpPr>
              <p:cNvPr id="219" name="Group 218">
                <a:extLst>
                  <a:ext uri="{FF2B5EF4-FFF2-40B4-BE49-F238E27FC236}">
                    <a16:creationId xmlns:a16="http://schemas.microsoft.com/office/drawing/2014/main" id="{38847F8F-1582-4C60-97AD-805D08209E68}"/>
                  </a:ext>
                </a:extLst>
              </p:cNvPr>
              <p:cNvGrpSpPr/>
              <p:nvPr/>
            </p:nvGrpSpPr>
            <p:grpSpPr>
              <a:xfrm>
                <a:off x="7098220" y="1920240"/>
                <a:ext cx="3017520" cy="3017520"/>
                <a:chOff x="1811134" y="0"/>
                <a:chExt cx="3017520" cy="3017520"/>
              </a:xfrm>
            </p:grpSpPr>
            <p:sp>
              <p:nvSpPr>
                <p:cNvPr id="223" name="Freeform: Shape 222">
                  <a:extLst>
                    <a:ext uri="{FF2B5EF4-FFF2-40B4-BE49-F238E27FC236}">
                      <a16:creationId xmlns:a16="http://schemas.microsoft.com/office/drawing/2014/main" id="{5B2C7C64-ABE4-4495-89D9-D35FDC93B169}"/>
                    </a:ext>
                  </a:extLst>
                </p:cNvPr>
                <p:cNvSpPr/>
                <p:nvPr/>
              </p:nvSpPr>
              <p:spPr>
                <a:xfrm>
                  <a:off x="1898825" y="0"/>
                  <a:ext cx="2842138" cy="1005840"/>
                </a:xfrm>
                <a:custGeom>
                  <a:avLst/>
                  <a:gdLst>
                    <a:gd name="connsiteX0" fmla="*/ 1421069 w 2842138"/>
                    <a:gd name="connsiteY0" fmla="*/ 0 h 1005840"/>
                    <a:gd name="connsiteX1" fmla="*/ 2811263 w 2842138"/>
                    <a:gd name="connsiteY1" fmla="*/ 921483 h 1005840"/>
                    <a:gd name="connsiteX2" fmla="*/ 2842138 w 2842138"/>
                    <a:gd name="connsiteY2" fmla="*/ 1005840 h 1005840"/>
                    <a:gd name="connsiteX3" fmla="*/ 0 w 2842138"/>
                    <a:gd name="connsiteY3" fmla="*/ 1005840 h 1005840"/>
                    <a:gd name="connsiteX4" fmla="*/ 30875 w 2842138"/>
                    <a:gd name="connsiteY4" fmla="*/ 921483 h 1005840"/>
                    <a:gd name="connsiteX5" fmla="*/ 1421069 w 2842138"/>
                    <a:gd name="connsiteY5"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2138" h="1005840">
                      <a:moveTo>
                        <a:pt x="1421069" y="0"/>
                      </a:moveTo>
                      <a:cubicBezTo>
                        <a:pt x="2046018" y="0"/>
                        <a:pt x="2582221" y="379966"/>
                        <a:pt x="2811263" y="921483"/>
                      </a:cubicBezTo>
                      <a:lnTo>
                        <a:pt x="2842138" y="1005840"/>
                      </a:lnTo>
                      <a:lnTo>
                        <a:pt x="0" y="1005840"/>
                      </a:lnTo>
                      <a:lnTo>
                        <a:pt x="30875" y="921483"/>
                      </a:lnTo>
                      <a:cubicBezTo>
                        <a:pt x="259917" y="379966"/>
                        <a:pt x="796120" y="0"/>
                        <a:pt x="1421069" y="0"/>
                      </a:cubicBezTo>
                      <a:close/>
                    </a:path>
                  </a:pathLst>
                </a:custGeom>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4" name="Freeform: Shape 223">
                  <a:extLst>
                    <a:ext uri="{FF2B5EF4-FFF2-40B4-BE49-F238E27FC236}">
                      <a16:creationId xmlns:a16="http://schemas.microsoft.com/office/drawing/2014/main" id="{0D77CE46-3958-4822-8496-3A55CACCCDB5}"/>
                    </a:ext>
                  </a:extLst>
                </p:cNvPr>
                <p:cNvSpPr/>
                <p:nvPr/>
              </p:nvSpPr>
              <p:spPr>
                <a:xfrm>
                  <a:off x="1811134" y="960120"/>
                  <a:ext cx="3017520" cy="1097280"/>
                </a:xfrm>
                <a:custGeom>
                  <a:avLst/>
                  <a:gdLst>
                    <a:gd name="connsiteX0" fmla="*/ 104425 w 3017520"/>
                    <a:gd name="connsiteY0" fmla="*/ 0 h 1097280"/>
                    <a:gd name="connsiteX1" fmla="*/ 2913096 w 3017520"/>
                    <a:gd name="connsiteY1" fmla="*/ 0 h 1097280"/>
                    <a:gd name="connsiteX2" fmla="*/ 2949689 w 3017520"/>
                    <a:gd name="connsiteY2" fmla="*/ 99981 h 1097280"/>
                    <a:gd name="connsiteX3" fmla="*/ 3017520 w 3017520"/>
                    <a:gd name="connsiteY3" fmla="*/ 548640 h 1097280"/>
                    <a:gd name="connsiteX4" fmla="*/ 2949689 w 3017520"/>
                    <a:gd name="connsiteY4" fmla="*/ 997299 h 1097280"/>
                    <a:gd name="connsiteX5" fmla="*/ 2913096 w 3017520"/>
                    <a:gd name="connsiteY5" fmla="*/ 1097280 h 1097280"/>
                    <a:gd name="connsiteX6" fmla="*/ 104425 w 3017520"/>
                    <a:gd name="connsiteY6" fmla="*/ 1097280 h 1097280"/>
                    <a:gd name="connsiteX7" fmla="*/ 67831 w 3017520"/>
                    <a:gd name="connsiteY7" fmla="*/ 997299 h 1097280"/>
                    <a:gd name="connsiteX8" fmla="*/ 0 w 3017520"/>
                    <a:gd name="connsiteY8" fmla="*/ 548640 h 1097280"/>
                    <a:gd name="connsiteX9" fmla="*/ 67831 w 3017520"/>
                    <a:gd name="connsiteY9" fmla="*/ 99981 h 1097280"/>
                    <a:gd name="connsiteX10" fmla="*/ 104425 w 3017520"/>
                    <a:gd name="connsiteY10" fmla="*/ 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7520" h="1097280">
                      <a:moveTo>
                        <a:pt x="104425" y="0"/>
                      </a:moveTo>
                      <a:lnTo>
                        <a:pt x="2913096" y="0"/>
                      </a:lnTo>
                      <a:lnTo>
                        <a:pt x="2949689" y="99981"/>
                      </a:lnTo>
                      <a:cubicBezTo>
                        <a:pt x="2993772" y="241712"/>
                        <a:pt x="3017520" y="392403"/>
                        <a:pt x="3017520" y="548640"/>
                      </a:cubicBezTo>
                      <a:cubicBezTo>
                        <a:pt x="3017520" y="704877"/>
                        <a:pt x="2993772" y="855568"/>
                        <a:pt x="2949689" y="997299"/>
                      </a:cubicBezTo>
                      <a:lnTo>
                        <a:pt x="2913096" y="1097280"/>
                      </a:lnTo>
                      <a:lnTo>
                        <a:pt x="104425" y="1097280"/>
                      </a:lnTo>
                      <a:lnTo>
                        <a:pt x="67831" y="997299"/>
                      </a:lnTo>
                      <a:cubicBezTo>
                        <a:pt x="23748" y="855568"/>
                        <a:pt x="0" y="704877"/>
                        <a:pt x="0" y="548640"/>
                      </a:cubicBezTo>
                      <a:cubicBezTo>
                        <a:pt x="0" y="392403"/>
                        <a:pt x="23748" y="241712"/>
                        <a:pt x="67831" y="99981"/>
                      </a:cubicBezTo>
                      <a:lnTo>
                        <a:pt x="104425" y="0"/>
                      </a:lnTo>
                      <a:close/>
                    </a:path>
                  </a:pathLst>
                </a:custGeom>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5" name="Freeform: Shape 224">
                  <a:extLst>
                    <a:ext uri="{FF2B5EF4-FFF2-40B4-BE49-F238E27FC236}">
                      <a16:creationId xmlns:a16="http://schemas.microsoft.com/office/drawing/2014/main" id="{7844CFAF-4405-4EF8-8321-74E00749DD1D}"/>
                    </a:ext>
                  </a:extLst>
                </p:cNvPr>
                <p:cNvSpPr/>
                <p:nvPr/>
              </p:nvSpPr>
              <p:spPr>
                <a:xfrm>
                  <a:off x="1915559" y="2057400"/>
                  <a:ext cx="2808671" cy="960120"/>
                </a:xfrm>
                <a:custGeom>
                  <a:avLst/>
                  <a:gdLst>
                    <a:gd name="connsiteX0" fmla="*/ 0 w 2808671"/>
                    <a:gd name="connsiteY0" fmla="*/ 0 h 960120"/>
                    <a:gd name="connsiteX1" fmla="*/ 2808671 w 2808671"/>
                    <a:gd name="connsiteY1" fmla="*/ 0 h 960120"/>
                    <a:gd name="connsiteX2" fmla="*/ 2794529 w 2808671"/>
                    <a:gd name="connsiteY2" fmla="*/ 38637 h 960120"/>
                    <a:gd name="connsiteX3" fmla="*/ 1404335 w 2808671"/>
                    <a:gd name="connsiteY3" fmla="*/ 960120 h 960120"/>
                    <a:gd name="connsiteX4" fmla="*/ 14141 w 2808671"/>
                    <a:gd name="connsiteY4" fmla="*/ 38637 h 960120"/>
                    <a:gd name="connsiteX5" fmla="*/ 0 w 2808671"/>
                    <a:gd name="connsiteY5" fmla="*/ 0 h 96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671" h="960120">
                      <a:moveTo>
                        <a:pt x="0" y="0"/>
                      </a:moveTo>
                      <a:lnTo>
                        <a:pt x="2808671" y="0"/>
                      </a:lnTo>
                      <a:lnTo>
                        <a:pt x="2794529" y="38637"/>
                      </a:lnTo>
                      <a:cubicBezTo>
                        <a:pt x="2565487" y="580154"/>
                        <a:pt x="2029284" y="960120"/>
                        <a:pt x="1404335" y="960120"/>
                      </a:cubicBezTo>
                      <a:cubicBezTo>
                        <a:pt x="779386" y="960120"/>
                        <a:pt x="243183" y="580154"/>
                        <a:pt x="14141" y="38637"/>
                      </a:cubicBezTo>
                      <a:lnTo>
                        <a:pt x="0" y="0"/>
                      </a:lnTo>
                      <a:close/>
                    </a:path>
                  </a:pathLst>
                </a:custGeom>
                <a:ln>
                  <a:solidFill>
                    <a:srgbClr val="26262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20" name="TextBox 219">
                <a:extLst>
                  <a:ext uri="{FF2B5EF4-FFF2-40B4-BE49-F238E27FC236}">
                    <a16:creationId xmlns:a16="http://schemas.microsoft.com/office/drawing/2014/main" id="{ABC258D6-BA9A-4FB3-979B-2779CD5CD235}"/>
                  </a:ext>
                </a:extLst>
              </p:cNvPr>
              <p:cNvSpPr txBox="1"/>
              <p:nvPr/>
            </p:nvSpPr>
            <p:spPr>
              <a:xfrm>
                <a:off x="7387271" y="3249485"/>
                <a:ext cx="24583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ADE FOR EVERYONE</a:t>
                </a:r>
              </a:p>
            </p:txBody>
          </p:sp>
          <p:sp>
            <p:nvSpPr>
              <p:cNvPr id="221" name="TextBox 220">
                <a:extLst>
                  <a:ext uri="{FF2B5EF4-FFF2-40B4-BE49-F238E27FC236}">
                    <a16:creationId xmlns:a16="http://schemas.microsoft.com/office/drawing/2014/main" id="{C13CE5C7-7742-49DE-A17A-0A41B9181679}"/>
                  </a:ext>
                </a:extLst>
              </p:cNvPr>
              <p:cNvSpPr txBox="1"/>
              <p:nvPr/>
            </p:nvSpPr>
            <p:spPr>
              <a:xfrm>
                <a:off x="7727846" y="2317744"/>
                <a:ext cx="17772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EANINGFUL</a:t>
                </a:r>
              </a:p>
            </p:txBody>
          </p:sp>
          <p:sp>
            <p:nvSpPr>
              <p:cNvPr id="222" name="TextBox 221">
                <a:extLst>
                  <a:ext uri="{FF2B5EF4-FFF2-40B4-BE49-F238E27FC236}">
                    <a16:creationId xmlns:a16="http://schemas.microsoft.com/office/drawing/2014/main" id="{0BA8F748-CF59-4A62-A548-6D84012D7C1D}"/>
                  </a:ext>
                </a:extLst>
              </p:cNvPr>
              <p:cNvSpPr txBox="1"/>
              <p:nvPr/>
            </p:nvSpPr>
            <p:spPr>
              <a:xfrm>
                <a:off x="7391673" y="4191551"/>
                <a:ext cx="24583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rPr>
                  <a:t>MOTIVATING</a:t>
                </a:r>
              </a:p>
            </p:txBody>
          </p:sp>
        </p:grpSp>
        <p:cxnSp>
          <p:nvCxnSpPr>
            <p:cNvPr id="218" name="PAGE DIVIDER">
              <a:extLst>
                <a:ext uri="{FF2B5EF4-FFF2-40B4-BE49-F238E27FC236}">
                  <a16:creationId xmlns:a16="http://schemas.microsoft.com/office/drawing/2014/main" id="{51BC8630-9C5D-471D-803F-59ADF3901BCE}"/>
                </a:ext>
              </a:extLst>
            </p:cNvPr>
            <p:cNvCxnSpPr/>
            <p:nvPr/>
          </p:nvCxnSpPr>
          <p:spPr>
            <a:xfrm>
              <a:off x="4840841" y="831467"/>
              <a:ext cx="0" cy="53982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0" name="TITLE TEXT">
            <a:extLst>
              <a:ext uri="{FF2B5EF4-FFF2-40B4-BE49-F238E27FC236}">
                <a16:creationId xmlns:a16="http://schemas.microsoft.com/office/drawing/2014/main" id="{4EB5F886-0BC8-4D14-BFBF-A512BC55B5D7}"/>
              </a:ext>
            </a:extLst>
          </p:cNvPr>
          <p:cNvGrpSpPr>
            <a:grpSpLocks noChangeAspect="1"/>
          </p:cNvGrpSpPr>
          <p:nvPr/>
        </p:nvGrpSpPr>
        <p:grpSpPr>
          <a:xfrm>
            <a:off x="510506" y="1737360"/>
            <a:ext cx="3272202" cy="2904497"/>
            <a:chOff x="510506" y="2056891"/>
            <a:chExt cx="3566160" cy="3165423"/>
          </a:xfrm>
        </p:grpSpPr>
        <p:sp>
          <p:nvSpPr>
            <p:cNvPr id="134" name="Freeform: Shape 133">
              <a:extLst>
                <a:ext uri="{FF2B5EF4-FFF2-40B4-BE49-F238E27FC236}">
                  <a16:creationId xmlns:a16="http://schemas.microsoft.com/office/drawing/2014/main" id="{D30B6D10-A319-4B76-9C12-62D0C43C5D57}"/>
                </a:ext>
              </a:extLst>
            </p:cNvPr>
            <p:cNvSpPr/>
            <p:nvPr/>
          </p:nvSpPr>
          <p:spPr>
            <a:xfrm>
              <a:off x="2165994" y="2056891"/>
              <a:ext cx="255184" cy="286782"/>
            </a:xfrm>
            <a:custGeom>
              <a:avLst/>
              <a:gdLst/>
              <a:ahLst/>
              <a:cxnLst/>
              <a:rect l="l" t="t" r="r" b="b"/>
              <a:pathLst>
                <a:path w="255184" h="286782">
                  <a:moveTo>
                    <a:pt x="109993" y="0"/>
                  </a:moveTo>
                  <a:lnTo>
                    <a:pt x="144791" y="0"/>
                  </a:lnTo>
                  <a:lnTo>
                    <a:pt x="255184" y="286782"/>
                  </a:lnTo>
                  <a:lnTo>
                    <a:pt x="217987" y="286782"/>
                  </a:lnTo>
                  <a:lnTo>
                    <a:pt x="187589" y="206387"/>
                  </a:lnTo>
                  <a:lnTo>
                    <a:pt x="65996" y="206387"/>
                  </a:lnTo>
                  <a:lnTo>
                    <a:pt x="37398" y="286782"/>
                  </a:lnTo>
                  <a:lnTo>
                    <a:pt x="0" y="286782"/>
                  </a:lnTo>
                  <a:lnTo>
                    <a:pt x="109993" y="0"/>
                  </a:lnTo>
                  <a:close/>
                  <a:moveTo>
                    <a:pt x="126392" y="34798"/>
                  </a:moveTo>
                  <a:cubicBezTo>
                    <a:pt x="125059" y="42930"/>
                    <a:pt x="123526" y="49330"/>
                    <a:pt x="121793" y="53996"/>
                  </a:cubicBezTo>
                  <a:lnTo>
                    <a:pt x="77195" y="176189"/>
                  </a:lnTo>
                  <a:lnTo>
                    <a:pt x="176589" y="176189"/>
                  </a:lnTo>
                  <a:lnTo>
                    <a:pt x="131592" y="53996"/>
                  </a:lnTo>
                  <a:cubicBezTo>
                    <a:pt x="130125" y="49997"/>
                    <a:pt x="128659" y="43597"/>
                    <a:pt x="127192" y="34798"/>
                  </a:cubicBezTo>
                  <a:lnTo>
                    <a:pt x="126392" y="34798"/>
                  </a:lnTo>
                  <a:close/>
                </a:path>
              </a:pathLst>
            </a:cu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5" name="Freeform: Shape 134">
              <a:extLst>
                <a:ext uri="{FF2B5EF4-FFF2-40B4-BE49-F238E27FC236}">
                  <a16:creationId xmlns:a16="http://schemas.microsoft.com/office/drawing/2014/main" id="{18B60656-624C-41FC-9907-27A21A310420}"/>
                </a:ext>
              </a:extLst>
            </p:cNvPr>
            <p:cNvSpPr>
              <a:spLocks noChangeAspect="1"/>
            </p:cNvSpPr>
            <p:nvPr/>
          </p:nvSpPr>
          <p:spPr>
            <a:xfrm>
              <a:off x="510506" y="2492391"/>
              <a:ext cx="3566160" cy="704535"/>
            </a:xfrm>
            <a:custGeom>
              <a:avLst/>
              <a:gdLst>
                <a:gd name="connsiteX0" fmla="*/ 1102821 w 1476915"/>
                <a:gd name="connsiteY0" fmla="*/ 48397 h 291782"/>
                <a:gd name="connsiteX1" fmla="*/ 1102821 w 1476915"/>
                <a:gd name="connsiteY1" fmla="*/ 128192 h 291782"/>
                <a:gd name="connsiteX2" fmla="*/ 1130820 w 1476915"/>
                <a:gd name="connsiteY2" fmla="*/ 128192 h 291782"/>
                <a:gd name="connsiteX3" fmla="*/ 1164218 w 1476915"/>
                <a:gd name="connsiteY3" fmla="*/ 116193 h 291782"/>
                <a:gd name="connsiteX4" fmla="*/ 1177017 w 1476915"/>
                <a:gd name="connsiteY4" fmla="*/ 85994 h 291782"/>
                <a:gd name="connsiteX5" fmla="*/ 1132020 w 1476915"/>
                <a:gd name="connsiteY5" fmla="*/ 48397 h 291782"/>
                <a:gd name="connsiteX6" fmla="*/ 1304925 w 1476915"/>
                <a:gd name="connsiteY6" fmla="*/ 0 h 291782"/>
                <a:gd name="connsiteX7" fmla="*/ 1470315 w 1476915"/>
                <a:gd name="connsiteY7" fmla="*/ 0 h 291782"/>
                <a:gd name="connsiteX8" fmla="*/ 1470315 w 1476915"/>
                <a:gd name="connsiteY8" fmla="*/ 52596 h 291782"/>
                <a:gd name="connsiteX9" fmla="*/ 1369521 w 1476915"/>
                <a:gd name="connsiteY9" fmla="*/ 52596 h 291782"/>
                <a:gd name="connsiteX10" fmla="*/ 1369521 w 1476915"/>
                <a:gd name="connsiteY10" fmla="*/ 116393 h 291782"/>
                <a:gd name="connsiteX11" fmla="*/ 1463316 w 1476915"/>
                <a:gd name="connsiteY11" fmla="*/ 116393 h 291782"/>
                <a:gd name="connsiteX12" fmla="*/ 1463316 w 1476915"/>
                <a:gd name="connsiteY12" fmla="*/ 168789 h 291782"/>
                <a:gd name="connsiteX13" fmla="*/ 1369521 w 1476915"/>
                <a:gd name="connsiteY13" fmla="*/ 168789 h 291782"/>
                <a:gd name="connsiteX14" fmla="*/ 1369521 w 1476915"/>
                <a:gd name="connsiteY14" fmla="*/ 234385 h 291782"/>
                <a:gd name="connsiteX15" fmla="*/ 1476915 w 1476915"/>
                <a:gd name="connsiteY15" fmla="*/ 234385 h 291782"/>
                <a:gd name="connsiteX16" fmla="*/ 1476915 w 1476915"/>
                <a:gd name="connsiteY16" fmla="*/ 286782 h 291782"/>
                <a:gd name="connsiteX17" fmla="*/ 1304925 w 1476915"/>
                <a:gd name="connsiteY17" fmla="*/ 286782 h 291782"/>
                <a:gd name="connsiteX18" fmla="*/ 1038225 w 1476915"/>
                <a:gd name="connsiteY18" fmla="*/ 0 h 291782"/>
                <a:gd name="connsiteX19" fmla="*/ 1140619 w 1476915"/>
                <a:gd name="connsiteY19" fmla="*/ 0 h 291782"/>
                <a:gd name="connsiteX20" fmla="*/ 1245012 w 1476915"/>
                <a:gd name="connsiteY20" fmla="*/ 77995 h 291782"/>
                <a:gd name="connsiteX21" fmla="*/ 1240413 w 1476915"/>
                <a:gd name="connsiteY21" fmla="*/ 105693 h 291782"/>
                <a:gd name="connsiteX22" fmla="*/ 1227414 w 1476915"/>
                <a:gd name="connsiteY22" fmla="*/ 128592 h 291782"/>
                <a:gd name="connsiteX23" fmla="*/ 1207115 w 1476915"/>
                <a:gd name="connsiteY23" fmla="*/ 146191 h 291782"/>
                <a:gd name="connsiteX24" fmla="*/ 1180616 w 1476915"/>
                <a:gd name="connsiteY24" fmla="*/ 157790 h 291782"/>
                <a:gd name="connsiteX25" fmla="*/ 1180616 w 1476915"/>
                <a:gd name="connsiteY25" fmla="*/ 158590 h 291782"/>
                <a:gd name="connsiteX26" fmla="*/ 1193016 w 1476915"/>
                <a:gd name="connsiteY26" fmla="*/ 165090 h 291782"/>
                <a:gd name="connsiteX27" fmla="*/ 1204615 w 1476915"/>
                <a:gd name="connsiteY27" fmla="*/ 175589 h 291782"/>
                <a:gd name="connsiteX28" fmla="*/ 1215314 w 1476915"/>
                <a:gd name="connsiteY28" fmla="*/ 188488 h 291782"/>
                <a:gd name="connsiteX29" fmla="*/ 1224614 w 1476915"/>
                <a:gd name="connsiteY29" fmla="*/ 201987 h 291782"/>
                <a:gd name="connsiteX30" fmla="*/ 1278810 w 1476915"/>
                <a:gd name="connsiteY30" fmla="*/ 286782 h 291782"/>
                <a:gd name="connsiteX31" fmla="*/ 1204615 w 1476915"/>
                <a:gd name="connsiteY31" fmla="*/ 286782 h 291782"/>
                <a:gd name="connsiteX32" fmla="*/ 1160018 w 1476915"/>
                <a:gd name="connsiteY32" fmla="*/ 212987 h 291782"/>
                <a:gd name="connsiteX33" fmla="*/ 1150418 w 1476915"/>
                <a:gd name="connsiteY33" fmla="*/ 197988 h 291782"/>
                <a:gd name="connsiteX34" fmla="*/ 1141119 w 1476915"/>
                <a:gd name="connsiteY34" fmla="*/ 186688 h 291782"/>
                <a:gd name="connsiteX35" fmla="*/ 1131319 w 1476915"/>
                <a:gd name="connsiteY35" fmla="*/ 179489 h 291782"/>
                <a:gd name="connsiteX36" fmla="*/ 1120220 w 1476915"/>
                <a:gd name="connsiteY36" fmla="*/ 176989 h 291782"/>
                <a:gd name="connsiteX37" fmla="*/ 1102821 w 1476915"/>
                <a:gd name="connsiteY37" fmla="*/ 176989 h 291782"/>
                <a:gd name="connsiteX38" fmla="*/ 1102821 w 1476915"/>
                <a:gd name="connsiteY38" fmla="*/ 286782 h 291782"/>
                <a:gd name="connsiteX39" fmla="*/ 1038225 w 1476915"/>
                <a:gd name="connsiteY39" fmla="*/ 286782 h 291782"/>
                <a:gd name="connsiteX40" fmla="*/ 739550 w 1476915"/>
                <a:gd name="connsiteY40" fmla="*/ 0 h 291782"/>
                <a:gd name="connsiteX41" fmla="*/ 804346 w 1476915"/>
                <a:gd name="connsiteY41" fmla="*/ 0 h 291782"/>
                <a:gd name="connsiteX42" fmla="*/ 804346 w 1476915"/>
                <a:gd name="connsiteY42" fmla="*/ 166390 h 291782"/>
                <a:gd name="connsiteX43" fmla="*/ 858743 w 1476915"/>
                <a:gd name="connsiteY43" fmla="*/ 235985 h 291782"/>
                <a:gd name="connsiteX44" fmla="*/ 912140 w 1476915"/>
                <a:gd name="connsiteY44" fmla="*/ 168789 h 291782"/>
                <a:gd name="connsiteX45" fmla="*/ 912140 w 1476915"/>
                <a:gd name="connsiteY45" fmla="*/ 0 h 291782"/>
                <a:gd name="connsiteX46" fmla="*/ 976736 w 1476915"/>
                <a:gd name="connsiteY46" fmla="*/ 0 h 291782"/>
                <a:gd name="connsiteX47" fmla="*/ 976736 w 1476915"/>
                <a:gd name="connsiteY47" fmla="*/ 162590 h 291782"/>
                <a:gd name="connsiteX48" fmla="*/ 856343 w 1476915"/>
                <a:gd name="connsiteY48" fmla="*/ 291782 h 291782"/>
                <a:gd name="connsiteX49" fmla="*/ 739550 w 1476915"/>
                <a:gd name="connsiteY49" fmla="*/ 165590 h 291782"/>
                <a:gd name="connsiteX50" fmla="*/ 478227 w 1476915"/>
                <a:gd name="connsiteY50" fmla="*/ 0 h 291782"/>
                <a:gd name="connsiteX51" fmla="*/ 706213 w 1476915"/>
                <a:gd name="connsiteY51" fmla="*/ 0 h 291782"/>
                <a:gd name="connsiteX52" fmla="*/ 706213 w 1476915"/>
                <a:gd name="connsiteY52" fmla="*/ 52596 h 291782"/>
                <a:gd name="connsiteX53" fmla="*/ 624418 w 1476915"/>
                <a:gd name="connsiteY53" fmla="*/ 52596 h 291782"/>
                <a:gd name="connsiteX54" fmla="*/ 624418 w 1476915"/>
                <a:gd name="connsiteY54" fmla="*/ 286782 h 291782"/>
                <a:gd name="connsiteX55" fmla="*/ 559622 w 1476915"/>
                <a:gd name="connsiteY55" fmla="*/ 286782 h 291782"/>
                <a:gd name="connsiteX56" fmla="*/ 559622 w 1476915"/>
                <a:gd name="connsiteY56" fmla="*/ 52596 h 291782"/>
                <a:gd name="connsiteX57" fmla="*/ 478227 w 1476915"/>
                <a:gd name="connsiteY57" fmla="*/ 52596 h 291782"/>
                <a:gd name="connsiteX58" fmla="*/ 206151 w 1476915"/>
                <a:gd name="connsiteY58" fmla="*/ 0 h 291782"/>
                <a:gd name="connsiteX59" fmla="*/ 270947 w 1476915"/>
                <a:gd name="connsiteY59" fmla="*/ 0 h 291782"/>
                <a:gd name="connsiteX60" fmla="*/ 270947 w 1476915"/>
                <a:gd name="connsiteY60" fmla="*/ 166390 h 291782"/>
                <a:gd name="connsiteX61" fmla="*/ 325343 w 1476915"/>
                <a:gd name="connsiteY61" fmla="*/ 235985 h 291782"/>
                <a:gd name="connsiteX62" fmla="*/ 378740 w 1476915"/>
                <a:gd name="connsiteY62" fmla="*/ 168789 h 291782"/>
                <a:gd name="connsiteX63" fmla="*/ 378740 w 1476915"/>
                <a:gd name="connsiteY63" fmla="*/ 0 h 291782"/>
                <a:gd name="connsiteX64" fmla="*/ 443336 w 1476915"/>
                <a:gd name="connsiteY64" fmla="*/ 0 h 291782"/>
                <a:gd name="connsiteX65" fmla="*/ 443336 w 1476915"/>
                <a:gd name="connsiteY65" fmla="*/ 162590 h 291782"/>
                <a:gd name="connsiteX66" fmla="*/ 322943 w 1476915"/>
                <a:gd name="connsiteY66" fmla="*/ 291782 h 291782"/>
                <a:gd name="connsiteX67" fmla="*/ 206151 w 1476915"/>
                <a:gd name="connsiteY67" fmla="*/ 165590 h 291782"/>
                <a:gd name="connsiteX68" fmla="*/ 0 w 1476915"/>
                <a:gd name="connsiteY68" fmla="*/ 0 h 291782"/>
                <a:gd name="connsiteX69" fmla="*/ 165790 w 1476915"/>
                <a:gd name="connsiteY69" fmla="*/ 0 h 291782"/>
                <a:gd name="connsiteX70" fmla="*/ 165790 w 1476915"/>
                <a:gd name="connsiteY70" fmla="*/ 52596 h 291782"/>
                <a:gd name="connsiteX71" fmla="*/ 64596 w 1476915"/>
                <a:gd name="connsiteY71" fmla="*/ 52596 h 291782"/>
                <a:gd name="connsiteX72" fmla="*/ 64596 w 1476915"/>
                <a:gd name="connsiteY72" fmla="*/ 122992 h 291782"/>
                <a:gd name="connsiteX73" fmla="*/ 157591 w 1476915"/>
                <a:gd name="connsiteY73" fmla="*/ 122992 h 291782"/>
                <a:gd name="connsiteX74" fmla="*/ 157591 w 1476915"/>
                <a:gd name="connsiteY74" fmla="*/ 175389 h 291782"/>
                <a:gd name="connsiteX75" fmla="*/ 64596 w 1476915"/>
                <a:gd name="connsiteY75" fmla="*/ 175389 h 291782"/>
                <a:gd name="connsiteX76" fmla="*/ 64596 w 1476915"/>
                <a:gd name="connsiteY76" fmla="*/ 286782 h 291782"/>
                <a:gd name="connsiteX77" fmla="*/ 0 w 1476915"/>
                <a:gd name="connsiteY77" fmla="*/ 286782 h 29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476915" h="291782">
                  <a:moveTo>
                    <a:pt x="1102821" y="48397"/>
                  </a:moveTo>
                  <a:lnTo>
                    <a:pt x="1102821" y="128192"/>
                  </a:lnTo>
                  <a:lnTo>
                    <a:pt x="1130820" y="128192"/>
                  </a:lnTo>
                  <a:cubicBezTo>
                    <a:pt x="1144685" y="128192"/>
                    <a:pt x="1155818" y="124192"/>
                    <a:pt x="1164218" y="116193"/>
                  </a:cubicBezTo>
                  <a:cubicBezTo>
                    <a:pt x="1172750" y="108060"/>
                    <a:pt x="1177017" y="97994"/>
                    <a:pt x="1177017" y="85994"/>
                  </a:cubicBezTo>
                  <a:cubicBezTo>
                    <a:pt x="1177017" y="60929"/>
                    <a:pt x="1162018" y="48397"/>
                    <a:pt x="1132020" y="48397"/>
                  </a:cubicBezTo>
                  <a:close/>
                  <a:moveTo>
                    <a:pt x="1304925" y="0"/>
                  </a:moveTo>
                  <a:lnTo>
                    <a:pt x="1470315" y="0"/>
                  </a:lnTo>
                  <a:lnTo>
                    <a:pt x="1470315" y="52596"/>
                  </a:lnTo>
                  <a:lnTo>
                    <a:pt x="1369521" y="52596"/>
                  </a:lnTo>
                  <a:lnTo>
                    <a:pt x="1369521" y="116393"/>
                  </a:lnTo>
                  <a:lnTo>
                    <a:pt x="1463316" y="116393"/>
                  </a:lnTo>
                  <a:lnTo>
                    <a:pt x="1463316" y="168789"/>
                  </a:lnTo>
                  <a:lnTo>
                    <a:pt x="1369521" y="168789"/>
                  </a:lnTo>
                  <a:lnTo>
                    <a:pt x="1369521" y="234385"/>
                  </a:lnTo>
                  <a:lnTo>
                    <a:pt x="1476915" y="234385"/>
                  </a:lnTo>
                  <a:lnTo>
                    <a:pt x="1476915" y="286782"/>
                  </a:lnTo>
                  <a:lnTo>
                    <a:pt x="1304925" y="286782"/>
                  </a:lnTo>
                  <a:close/>
                  <a:moveTo>
                    <a:pt x="1038225" y="0"/>
                  </a:moveTo>
                  <a:lnTo>
                    <a:pt x="1140619" y="0"/>
                  </a:lnTo>
                  <a:cubicBezTo>
                    <a:pt x="1210215" y="0"/>
                    <a:pt x="1245012" y="25998"/>
                    <a:pt x="1245012" y="77995"/>
                  </a:cubicBezTo>
                  <a:cubicBezTo>
                    <a:pt x="1245012" y="87994"/>
                    <a:pt x="1243479" y="97227"/>
                    <a:pt x="1240413" y="105693"/>
                  </a:cubicBezTo>
                  <a:cubicBezTo>
                    <a:pt x="1237346" y="114159"/>
                    <a:pt x="1233013" y="121792"/>
                    <a:pt x="1227414" y="128592"/>
                  </a:cubicBezTo>
                  <a:cubicBezTo>
                    <a:pt x="1221814" y="135391"/>
                    <a:pt x="1215048" y="141258"/>
                    <a:pt x="1207115" y="146191"/>
                  </a:cubicBezTo>
                  <a:cubicBezTo>
                    <a:pt x="1199182" y="151124"/>
                    <a:pt x="1190349" y="154990"/>
                    <a:pt x="1180616" y="157790"/>
                  </a:cubicBezTo>
                  <a:lnTo>
                    <a:pt x="1180616" y="158590"/>
                  </a:lnTo>
                  <a:cubicBezTo>
                    <a:pt x="1184883" y="159923"/>
                    <a:pt x="1189016" y="162090"/>
                    <a:pt x="1193016" y="165090"/>
                  </a:cubicBezTo>
                  <a:cubicBezTo>
                    <a:pt x="1197016" y="168089"/>
                    <a:pt x="1200882" y="171589"/>
                    <a:pt x="1204615" y="175589"/>
                  </a:cubicBezTo>
                  <a:cubicBezTo>
                    <a:pt x="1208348" y="179589"/>
                    <a:pt x="1211915" y="183888"/>
                    <a:pt x="1215314" y="188488"/>
                  </a:cubicBezTo>
                  <a:cubicBezTo>
                    <a:pt x="1218714" y="193088"/>
                    <a:pt x="1221814" y="197588"/>
                    <a:pt x="1224614" y="201987"/>
                  </a:cubicBezTo>
                  <a:lnTo>
                    <a:pt x="1278810" y="286782"/>
                  </a:lnTo>
                  <a:lnTo>
                    <a:pt x="1204615" y="286782"/>
                  </a:lnTo>
                  <a:lnTo>
                    <a:pt x="1160018" y="212987"/>
                  </a:lnTo>
                  <a:cubicBezTo>
                    <a:pt x="1156685" y="207387"/>
                    <a:pt x="1153485" y="202387"/>
                    <a:pt x="1150418" y="197988"/>
                  </a:cubicBezTo>
                  <a:cubicBezTo>
                    <a:pt x="1147352" y="193588"/>
                    <a:pt x="1144252" y="189821"/>
                    <a:pt x="1141119" y="186688"/>
                  </a:cubicBezTo>
                  <a:cubicBezTo>
                    <a:pt x="1137986" y="183555"/>
                    <a:pt x="1134719" y="181155"/>
                    <a:pt x="1131319" y="179489"/>
                  </a:cubicBezTo>
                  <a:cubicBezTo>
                    <a:pt x="1127920" y="177822"/>
                    <a:pt x="1124220" y="176989"/>
                    <a:pt x="1120220" y="176989"/>
                  </a:cubicBezTo>
                  <a:lnTo>
                    <a:pt x="1102821" y="176989"/>
                  </a:lnTo>
                  <a:lnTo>
                    <a:pt x="1102821" y="286782"/>
                  </a:lnTo>
                  <a:lnTo>
                    <a:pt x="1038225" y="286782"/>
                  </a:lnTo>
                  <a:close/>
                  <a:moveTo>
                    <a:pt x="739550" y="0"/>
                  </a:moveTo>
                  <a:lnTo>
                    <a:pt x="804346" y="0"/>
                  </a:lnTo>
                  <a:lnTo>
                    <a:pt x="804346" y="166390"/>
                  </a:lnTo>
                  <a:cubicBezTo>
                    <a:pt x="804346" y="212787"/>
                    <a:pt x="822479" y="235985"/>
                    <a:pt x="858743" y="235985"/>
                  </a:cubicBezTo>
                  <a:cubicBezTo>
                    <a:pt x="894341" y="235985"/>
                    <a:pt x="912140" y="213587"/>
                    <a:pt x="912140" y="168789"/>
                  </a:cubicBezTo>
                  <a:lnTo>
                    <a:pt x="912140" y="0"/>
                  </a:lnTo>
                  <a:lnTo>
                    <a:pt x="976736" y="0"/>
                  </a:lnTo>
                  <a:lnTo>
                    <a:pt x="976736" y="162590"/>
                  </a:lnTo>
                  <a:cubicBezTo>
                    <a:pt x="976736" y="248718"/>
                    <a:pt x="936605" y="291782"/>
                    <a:pt x="856343" y="291782"/>
                  </a:cubicBezTo>
                  <a:cubicBezTo>
                    <a:pt x="778481" y="291782"/>
                    <a:pt x="739550" y="249718"/>
                    <a:pt x="739550" y="165590"/>
                  </a:cubicBezTo>
                  <a:close/>
                  <a:moveTo>
                    <a:pt x="478227" y="0"/>
                  </a:moveTo>
                  <a:lnTo>
                    <a:pt x="706213" y="0"/>
                  </a:lnTo>
                  <a:lnTo>
                    <a:pt x="706213" y="52596"/>
                  </a:lnTo>
                  <a:lnTo>
                    <a:pt x="624418" y="52596"/>
                  </a:lnTo>
                  <a:lnTo>
                    <a:pt x="624418" y="286782"/>
                  </a:lnTo>
                  <a:lnTo>
                    <a:pt x="559622" y="286782"/>
                  </a:lnTo>
                  <a:lnTo>
                    <a:pt x="559622" y="52596"/>
                  </a:lnTo>
                  <a:lnTo>
                    <a:pt x="478227" y="52596"/>
                  </a:lnTo>
                  <a:close/>
                  <a:moveTo>
                    <a:pt x="206151" y="0"/>
                  </a:moveTo>
                  <a:lnTo>
                    <a:pt x="270947" y="0"/>
                  </a:lnTo>
                  <a:lnTo>
                    <a:pt x="270947" y="166390"/>
                  </a:lnTo>
                  <a:cubicBezTo>
                    <a:pt x="270947" y="212787"/>
                    <a:pt x="289079" y="235985"/>
                    <a:pt x="325343" y="235985"/>
                  </a:cubicBezTo>
                  <a:cubicBezTo>
                    <a:pt x="360941" y="235985"/>
                    <a:pt x="378740" y="213587"/>
                    <a:pt x="378740" y="168789"/>
                  </a:cubicBezTo>
                  <a:lnTo>
                    <a:pt x="378740" y="0"/>
                  </a:lnTo>
                  <a:lnTo>
                    <a:pt x="443336" y="0"/>
                  </a:lnTo>
                  <a:lnTo>
                    <a:pt x="443336" y="162590"/>
                  </a:lnTo>
                  <a:cubicBezTo>
                    <a:pt x="443336" y="248718"/>
                    <a:pt x="403205" y="291782"/>
                    <a:pt x="322943" y="291782"/>
                  </a:cubicBezTo>
                  <a:cubicBezTo>
                    <a:pt x="245081" y="291782"/>
                    <a:pt x="206151" y="249718"/>
                    <a:pt x="206151" y="165590"/>
                  </a:cubicBezTo>
                  <a:close/>
                  <a:moveTo>
                    <a:pt x="0" y="0"/>
                  </a:moveTo>
                  <a:lnTo>
                    <a:pt x="165790" y="0"/>
                  </a:lnTo>
                  <a:lnTo>
                    <a:pt x="165790" y="52596"/>
                  </a:lnTo>
                  <a:lnTo>
                    <a:pt x="64596" y="52596"/>
                  </a:lnTo>
                  <a:lnTo>
                    <a:pt x="64596" y="122992"/>
                  </a:lnTo>
                  <a:lnTo>
                    <a:pt x="157591" y="122992"/>
                  </a:lnTo>
                  <a:lnTo>
                    <a:pt x="157591" y="175389"/>
                  </a:lnTo>
                  <a:lnTo>
                    <a:pt x="64596" y="175389"/>
                  </a:lnTo>
                  <a:lnTo>
                    <a:pt x="64596" y="286782"/>
                  </a:lnTo>
                  <a:lnTo>
                    <a:pt x="0" y="28678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6" name="Freeform: Shape 135">
              <a:extLst>
                <a:ext uri="{FF2B5EF4-FFF2-40B4-BE49-F238E27FC236}">
                  <a16:creationId xmlns:a16="http://schemas.microsoft.com/office/drawing/2014/main" id="{9F133EF4-480C-4818-91E0-3C2771250F10}"/>
                </a:ext>
              </a:extLst>
            </p:cNvPr>
            <p:cNvSpPr>
              <a:spLocks noChangeAspect="1"/>
            </p:cNvSpPr>
            <p:nvPr/>
          </p:nvSpPr>
          <p:spPr>
            <a:xfrm>
              <a:off x="1451624" y="3408814"/>
              <a:ext cx="1683924" cy="277100"/>
            </a:xfrm>
            <a:custGeom>
              <a:avLst/>
              <a:gdLst>
                <a:gd name="connsiteX0" fmla="*/ 509866 w 2428237"/>
                <a:gd name="connsiteY0" fmla="*/ 199588 h 399575"/>
                <a:gd name="connsiteX1" fmla="*/ 460469 w 2428237"/>
                <a:gd name="connsiteY1" fmla="*/ 206387 h 399575"/>
                <a:gd name="connsiteX2" fmla="*/ 426071 w 2428237"/>
                <a:gd name="connsiteY2" fmla="*/ 217686 h 399575"/>
                <a:gd name="connsiteX3" fmla="*/ 414472 w 2428237"/>
                <a:gd name="connsiteY3" fmla="*/ 246385 h 399575"/>
                <a:gd name="connsiteX4" fmla="*/ 425172 w 2428237"/>
                <a:gd name="connsiteY4" fmla="*/ 270883 h 399575"/>
                <a:gd name="connsiteX5" fmla="*/ 453670 w 2428237"/>
                <a:gd name="connsiteY5" fmla="*/ 280383 h 399575"/>
                <a:gd name="connsiteX6" fmla="*/ 493967 w 2428237"/>
                <a:gd name="connsiteY6" fmla="*/ 263284 h 399575"/>
                <a:gd name="connsiteX7" fmla="*/ 509866 w 2428237"/>
                <a:gd name="connsiteY7" fmla="*/ 219986 h 399575"/>
                <a:gd name="connsiteX8" fmla="*/ 2337843 w 2428237"/>
                <a:gd name="connsiteY8" fmla="*/ 121192 h 399575"/>
                <a:gd name="connsiteX9" fmla="*/ 2290246 w 2428237"/>
                <a:gd name="connsiteY9" fmla="*/ 143291 h 399575"/>
                <a:gd name="connsiteX10" fmla="*/ 2273047 w 2428237"/>
                <a:gd name="connsiteY10" fmla="*/ 205187 h 399575"/>
                <a:gd name="connsiteX11" fmla="*/ 2289546 w 2428237"/>
                <a:gd name="connsiteY11" fmla="*/ 259884 h 399575"/>
                <a:gd name="connsiteX12" fmla="*/ 2333243 w 2428237"/>
                <a:gd name="connsiteY12" fmla="*/ 280383 h 399575"/>
                <a:gd name="connsiteX13" fmla="*/ 2378141 w 2428237"/>
                <a:gd name="connsiteY13" fmla="*/ 260784 h 399575"/>
                <a:gd name="connsiteX14" fmla="*/ 2395439 w 2428237"/>
                <a:gd name="connsiteY14" fmla="*/ 210587 h 399575"/>
                <a:gd name="connsiteX15" fmla="*/ 2395439 w 2428237"/>
                <a:gd name="connsiteY15" fmla="*/ 180389 h 399575"/>
                <a:gd name="connsiteX16" fmla="*/ 2378940 w 2428237"/>
                <a:gd name="connsiteY16" fmla="*/ 138591 h 399575"/>
                <a:gd name="connsiteX17" fmla="*/ 2337843 w 2428237"/>
                <a:gd name="connsiteY17" fmla="*/ 121192 h 399575"/>
                <a:gd name="connsiteX18" fmla="*/ 1644792 w 2428237"/>
                <a:gd name="connsiteY18" fmla="*/ 121192 h 399575"/>
                <a:gd name="connsiteX19" fmla="*/ 1598795 w 2428237"/>
                <a:gd name="connsiteY19" fmla="*/ 141091 h 399575"/>
                <a:gd name="connsiteX20" fmla="*/ 1581396 w 2428237"/>
                <a:gd name="connsiteY20" fmla="*/ 190988 h 399575"/>
                <a:gd name="connsiteX21" fmla="*/ 1581396 w 2428237"/>
                <a:gd name="connsiteY21" fmla="*/ 219586 h 399575"/>
                <a:gd name="connsiteX22" fmla="*/ 1597895 w 2428237"/>
                <a:gd name="connsiteY22" fmla="*/ 262684 h 399575"/>
                <a:gd name="connsiteX23" fmla="*/ 1639793 w 2428237"/>
                <a:gd name="connsiteY23" fmla="*/ 280383 h 399575"/>
                <a:gd name="connsiteX24" fmla="*/ 1686490 w 2428237"/>
                <a:gd name="connsiteY24" fmla="*/ 257584 h 399575"/>
                <a:gd name="connsiteX25" fmla="*/ 1703389 w 2428237"/>
                <a:gd name="connsiteY25" fmla="*/ 194188 h 399575"/>
                <a:gd name="connsiteX26" fmla="*/ 1687590 w 2428237"/>
                <a:gd name="connsiteY26" fmla="*/ 140591 h 399575"/>
                <a:gd name="connsiteX27" fmla="*/ 1644792 w 2428237"/>
                <a:gd name="connsiteY27" fmla="*/ 121192 h 399575"/>
                <a:gd name="connsiteX28" fmla="*/ 1929598 w 2428237"/>
                <a:gd name="connsiteY28" fmla="*/ 98394 h 399575"/>
                <a:gd name="connsiteX29" fmla="*/ 1962396 w 2428237"/>
                <a:gd name="connsiteY29" fmla="*/ 98394 h 399575"/>
                <a:gd name="connsiteX30" fmla="*/ 1962396 w 2428237"/>
                <a:gd name="connsiteY30" fmla="*/ 303181 h 399575"/>
                <a:gd name="connsiteX31" fmla="*/ 1929598 w 2428237"/>
                <a:gd name="connsiteY31" fmla="*/ 303181 h 399575"/>
                <a:gd name="connsiteX32" fmla="*/ 1139023 w 2428237"/>
                <a:gd name="connsiteY32" fmla="*/ 98394 h 399575"/>
                <a:gd name="connsiteX33" fmla="*/ 1171821 w 2428237"/>
                <a:gd name="connsiteY33" fmla="*/ 98394 h 399575"/>
                <a:gd name="connsiteX34" fmla="*/ 1171821 w 2428237"/>
                <a:gd name="connsiteY34" fmla="*/ 303181 h 399575"/>
                <a:gd name="connsiteX35" fmla="*/ 1139023 w 2428237"/>
                <a:gd name="connsiteY35" fmla="*/ 303181 h 399575"/>
                <a:gd name="connsiteX36" fmla="*/ 815350 w 2428237"/>
                <a:gd name="connsiteY36" fmla="*/ 98394 h 399575"/>
                <a:gd name="connsiteX37" fmla="*/ 849748 w 2428237"/>
                <a:gd name="connsiteY37" fmla="*/ 98394 h 399575"/>
                <a:gd name="connsiteX38" fmla="*/ 892145 w 2428237"/>
                <a:gd name="connsiteY38" fmla="*/ 252384 h 399575"/>
                <a:gd name="connsiteX39" fmla="*/ 894945 w 2428237"/>
                <a:gd name="connsiteY39" fmla="*/ 270783 h 399575"/>
                <a:gd name="connsiteX40" fmla="*/ 896545 w 2428237"/>
                <a:gd name="connsiteY40" fmla="*/ 270783 h 399575"/>
                <a:gd name="connsiteX41" fmla="*/ 900145 w 2428237"/>
                <a:gd name="connsiteY41" fmla="*/ 251984 h 399575"/>
                <a:gd name="connsiteX42" fmla="*/ 947342 w 2428237"/>
                <a:gd name="connsiteY42" fmla="*/ 98394 h 399575"/>
                <a:gd name="connsiteX43" fmla="*/ 977340 w 2428237"/>
                <a:gd name="connsiteY43" fmla="*/ 98394 h 399575"/>
                <a:gd name="connsiteX44" fmla="*/ 1019737 w 2428237"/>
                <a:gd name="connsiteY44" fmla="*/ 252784 h 399575"/>
                <a:gd name="connsiteX45" fmla="*/ 1022737 w 2428237"/>
                <a:gd name="connsiteY45" fmla="*/ 271183 h 399575"/>
                <a:gd name="connsiteX46" fmla="*/ 1024337 w 2428237"/>
                <a:gd name="connsiteY46" fmla="*/ 271183 h 399575"/>
                <a:gd name="connsiteX47" fmla="*/ 1027737 w 2428237"/>
                <a:gd name="connsiteY47" fmla="*/ 252784 h 399575"/>
                <a:gd name="connsiteX48" fmla="*/ 1069334 w 2428237"/>
                <a:gd name="connsiteY48" fmla="*/ 98394 h 399575"/>
                <a:gd name="connsiteX49" fmla="*/ 1101732 w 2428237"/>
                <a:gd name="connsiteY49" fmla="*/ 98394 h 399575"/>
                <a:gd name="connsiteX50" fmla="*/ 1040336 w 2428237"/>
                <a:gd name="connsiteY50" fmla="*/ 303181 h 399575"/>
                <a:gd name="connsiteX51" fmla="*/ 1006338 w 2428237"/>
                <a:gd name="connsiteY51" fmla="*/ 303181 h 399575"/>
                <a:gd name="connsiteX52" fmla="*/ 964141 w 2428237"/>
                <a:gd name="connsiteY52" fmla="*/ 156590 h 399575"/>
                <a:gd name="connsiteX53" fmla="*/ 960941 w 2428237"/>
                <a:gd name="connsiteY53" fmla="*/ 137591 h 399575"/>
                <a:gd name="connsiteX54" fmla="*/ 960141 w 2428237"/>
                <a:gd name="connsiteY54" fmla="*/ 137591 h 399575"/>
                <a:gd name="connsiteX55" fmla="*/ 955941 w 2428237"/>
                <a:gd name="connsiteY55" fmla="*/ 156190 h 399575"/>
                <a:gd name="connsiteX56" fmla="*/ 910144 w 2428237"/>
                <a:gd name="connsiteY56" fmla="*/ 303181 h 399575"/>
                <a:gd name="connsiteX57" fmla="*/ 877346 w 2428237"/>
                <a:gd name="connsiteY57" fmla="*/ 303181 h 399575"/>
                <a:gd name="connsiteX58" fmla="*/ 1873918 w 2428237"/>
                <a:gd name="connsiteY58" fmla="*/ 94794 h 399575"/>
                <a:gd name="connsiteX59" fmla="*/ 1893517 w 2428237"/>
                <a:gd name="connsiteY59" fmla="*/ 97594 h 399575"/>
                <a:gd name="connsiteX60" fmla="*/ 1893517 w 2428237"/>
                <a:gd name="connsiteY60" fmla="*/ 131592 h 399575"/>
                <a:gd name="connsiteX61" fmla="*/ 1868718 w 2428237"/>
                <a:gd name="connsiteY61" fmla="*/ 124992 h 399575"/>
                <a:gd name="connsiteX62" fmla="*/ 1833620 w 2428237"/>
                <a:gd name="connsiteY62" fmla="*/ 144791 h 399575"/>
                <a:gd name="connsiteX63" fmla="*/ 1819521 w 2428237"/>
                <a:gd name="connsiteY63" fmla="*/ 198788 h 399575"/>
                <a:gd name="connsiteX64" fmla="*/ 1819521 w 2428237"/>
                <a:gd name="connsiteY64" fmla="*/ 303181 h 399575"/>
                <a:gd name="connsiteX65" fmla="*/ 1786723 w 2428237"/>
                <a:gd name="connsiteY65" fmla="*/ 303181 h 399575"/>
                <a:gd name="connsiteX66" fmla="*/ 1786723 w 2428237"/>
                <a:gd name="connsiteY66" fmla="*/ 98394 h 399575"/>
                <a:gd name="connsiteX67" fmla="*/ 1819521 w 2428237"/>
                <a:gd name="connsiteY67" fmla="*/ 98394 h 399575"/>
                <a:gd name="connsiteX68" fmla="*/ 1819521 w 2428237"/>
                <a:gd name="connsiteY68" fmla="*/ 140591 h 399575"/>
                <a:gd name="connsiteX69" fmla="*/ 1820321 w 2428237"/>
                <a:gd name="connsiteY69" fmla="*/ 140591 h 399575"/>
                <a:gd name="connsiteX70" fmla="*/ 1841720 w 2428237"/>
                <a:gd name="connsiteY70" fmla="*/ 106893 h 399575"/>
                <a:gd name="connsiteX71" fmla="*/ 1873918 w 2428237"/>
                <a:gd name="connsiteY71" fmla="*/ 94794 h 399575"/>
                <a:gd name="connsiteX72" fmla="*/ 2333243 w 2428237"/>
                <a:gd name="connsiteY72" fmla="*/ 93594 h 399575"/>
                <a:gd name="connsiteX73" fmla="*/ 2394640 w 2428237"/>
                <a:gd name="connsiteY73" fmla="*/ 126792 h 399575"/>
                <a:gd name="connsiteX74" fmla="*/ 2395439 w 2428237"/>
                <a:gd name="connsiteY74" fmla="*/ 126792 h 399575"/>
                <a:gd name="connsiteX75" fmla="*/ 2395439 w 2428237"/>
                <a:gd name="connsiteY75" fmla="*/ 98394 h 399575"/>
                <a:gd name="connsiteX76" fmla="*/ 2428237 w 2428237"/>
                <a:gd name="connsiteY76" fmla="*/ 98394 h 399575"/>
                <a:gd name="connsiteX77" fmla="*/ 2428237 w 2428237"/>
                <a:gd name="connsiteY77" fmla="*/ 286782 h 399575"/>
                <a:gd name="connsiteX78" fmla="*/ 2320244 w 2428237"/>
                <a:gd name="connsiteY78" fmla="*/ 399575 h 399575"/>
                <a:gd name="connsiteX79" fmla="*/ 2253848 w 2428237"/>
                <a:gd name="connsiteY79" fmla="*/ 385176 h 399575"/>
                <a:gd name="connsiteX80" fmla="*/ 2253848 w 2428237"/>
                <a:gd name="connsiteY80" fmla="*/ 352378 h 399575"/>
                <a:gd name="connsiteX81" fmla="*/ 2319844 w 2428237"/>
                <a:gd name="connsiteY81" fmla="*/ 371577 h 399575"/>
                <a:gd name="connsiteX82" fmla="*/ 2395439 w 2428237"/>
                <a:gd name="connsiteY82" fmla="*/ 291182 h 399575"/>
                <a:gd name="connsiteX83" fmla="*/ 2395439 w 2428237"/>
                <a:gd name="connsiteY83" fmla="*/ 268783 h 399575"/>
                <a:gd name="connsiteX84" fmla="*/ 2394640 w 2428237"/>
                <a:gd name="connsiteY84" fmla="*/ 268783 h 399575"/>
                <a:gd name="connsiteX85" fmla="*/ 2324244 w 2428237"/>
                <a:gd name="connsiteY85" fmla="*/ 307981 h 399575"/>
                <a:gd name="connsiteX86" fmla="*/ 2262748 w 2428237"/>
                <a:gd name="connsiteY86" fmla="*/ 280683 h 399575"/>
                <a:gd name="connsiteX87" fmla="*/ 2239449 w 2428237"/>
                <a:gd name="connsiteY87" fmla="*/ 207387 h 399575"/>
                <a:gd name="connsiteX88" fmla="*/ 2264548 w 2428237"/>
                <a:gd name="connsiteY88" fmla="*/ 124392 h 399575"/>
                <a:gd name="connsiteX89" fmla="*/ 2333243 w 2428237"/>
                <a:gd name="connsiteY89" fmla="*/ 93594 h 399575"/>
                <a:gd name="connsiteX90" fmla="*/ 2125642 w 2428237"/>
                <a:gd name="connsiteY90" fmla="*/ 93594 h 399575"/>
                <a:gd name="connsiteX91" fmla="*/ 2177039 w 2428237"/>
                <a:gd name="connsiteY91" fmla="*/ 115293 h 399575"/>
                <a:gd name="connsiteX92" fmla="*/ 2194838 w 2428237"/>
                <a:gd name="connsiteY92" fmla="*/ 177989 h 399575"/>
                <a:gd name="connsiteX93" fmla="*/ 2194838 w 2428237"/>
                <a:gd name="connsiteY93" fmla="*/ 303181 h 399575"/>
                <a:gd name="connsiteX94" fmla="*/ 2162040 w 2428237"/>
                <a:gd name="connsiteY94" fmla="*/ 303181 h 399575"/>
                <a:gd name="connsiteX95" fmla="*/ 2162040 w 2428237"/>
                <a:gd name="connsiteY95" fmla="*/ 186388 h 399575"/>
                <a:gd name="connsiteX96" fmla="*/ 2114443 w 2428237"/>
                <a:gd name="connsiteY96" fmla="*/ 121192 h 399575"/>
                <a:gd name="connsiteX97" fmla="*/ 2073745 w 2428237"/>
                <a:gd name="connsiteY97" fmla="*/ 139691 h 399575"/>
                <a:gd name="connsiteX98" fmla="*/ 2057646 w 2428237"/>
                <a:gd name="connsiteY98" fmla="*/ 186388 h 399575"/>
                <a:gd name="connsiteX99" fmla="*/ 2057646 w 2428237"/>
                <a:gd name="connsiteY99" fmla="*/ 303181 h 399575"/>
                <a:gd name="connsiteX100" fmla="*/ 2024848 w 2428237"/>
                <a:gd name="connsiteY100" fmla="*/ 303181 h 399575"/>
                <a:gd name="connsiteX101" fmla="*/ 2024848 w 2428237"/>
                <a:gd name="connsiteY101" fmla="*/ 98394 h 399575"/>
                <a:gd name="connsiteX102" fmla="*/ 2057646 w 2428237"/>
                <a:gd name="connsiteY102" fmla="*/ 98394 h 399575"/>
                <a:gd name="connsiteX103" fmla="*/ 2057646 w 2428237"/>
                <a:gd name="connsiteY103" fmla="*/ 132392 h 399575"/>
                <a:gd name="connsiteX104" fmla="*/ 2058446 w 2428237"/>
                <a:gd name="connsiteY104" fmla="*/ 132392 h 399575"/>
                <a:gd name="connsiteX105" fmla="*/ 2125642 w 2428237"/>
                <a:gd name="connsiteY105" fmla="*/ 93594 h 399575"/>
                <a:gd name="connsiteX106" fmla="*/ 470469 w 2428237"/>
                <a:gd name="connsiteY106" fmla="*/ 93594 h 399575"/>
                <a:gd name="connsiteX107" fmla="*/ 542664 w 2428237"/>
                <a:gd name="connsiteY107" fmla="*/ 169989 h 399575"/>
                <a:gd name="connsiteX108" fmla="*/ 542664 w 2428237"/>
                <a:gd name="connsiteY108" fmla="*/ 303181 h 399575"/>
                <a:gd name="connsiteX109" fmla="*/ 509866 w 2428237"/>
                <a:gd name="connsiteY109" fmla="*/ 303181 h 399575"/>
                <a:gd name="connsiteX110" fmla="*/ 509866 w 2428237"/>
                <a:gd name="connsiteY110" fmla="*/ 271183 h 399575"/>
                <a:gd name="connsiteX111" fmla="*/ 509066 w 2428237"/>
                <a:gd name="connsiteY111" fmla="*/ 271183 h 399575"/>
                <a:gd name="connsiteX112" fmla="*/ 446070 w 2428237"/>
                <a:gd name="connsiteY112" fmla="*/ 307981 h 399575"/>
                <a:gd name="connsiteX113" fmla="*/ 398173 w 2428237"/>
                <a:gd name="connsiteY113" fmla="*/ 291782 h 399575"/>
                <a:gd name="connsiteX114" fmla="*/ 380874 w 2428237"/>
                <a:gd name="connsiteY114" fmla="*/ 248785 h 399575"/>
                <a:gd name="connsiteX115" fmla="*/ 448470 w 2428237"/>
                <a:gd name="connsiteY115" fmla="*/ 181989 h 399575"/>
                <a:gd name="connsiteX116" fmla="*/ 509866 w 2428237"/>
                <a:gd name="connsiteY116" fmla="*/ 173389 h 399575"/>
                <a:gd name="connsiteX117" fmla="*/ 467669 w 2428237"/>
                <a:gd name="connsiteY117" fmla="*/ 121192 h 399575"/>
                <a:gd name="connsiteX118" fmla="*/ 400873 w 2428237"/>
                <a:gd name="connsiteY118" fmla="*/ 146391 h 399575"/>
                <a:gd name="connsiteX119" fmla="*/ 400873 w 2428237"/>
                <a:gd name="connsiteY119" fmla="*/ 112793 h 399575"/>
                <a:gd name="connsiteX120" fmla="*/ 470469 w 2428237"/>
                <a:gd name="connsiteY120" fmla="*/ 93594 h 399575"/>
                <a:gd name="connsiteX121" fmla="*/ 649020 w 2428237"/>
                <a:gd name="connsiteY121" fmla="*/ 37796 h 399575"/>
                <a:gd name="connsiteX122" fmla="*/ 649020 w 2428237"/>
                <a:gd name="connsiteY122" fmla="*/ 98393 h 399575"/>
                <a:gd name="connsiteX123" fmla="*/ 700617 w 2428237"/>
                <a:gd name="connsiteY123" fmla="*/ 98393 h 399575"/>
                <a:gd name="connsiteX124" fmla="*/ 700617 w 2428237"/>
                <a:gd name="connsiteY124" fmla="*/ 126391 h 399575"/>
                <a:gd name="connsiteX125" fmla="*/ 649020 w 2428237"/>
                <a:gd name="connsiteY125" fmla="*/ 126391 h 399575"/>
                <a:gd name="connsiteX126" fmla="*/ 649020 w 2428237"/>
                <a:gd name="connsiteY126" fmla="*/ 241784 h 399575"/>
                <a:gd name="connsiteX127" fmla="*/ 656020 w 2428237"/>
                <a:gd name="connsiteY127" fmla="*/ 271182 h 399575"/>
                <a:gd name="connsiteX128" fmla="*/ 679219 w 2428237"/>
                <a:gd name="connsiteY128" fmla="*/ 279982 h 399575"/>
                <a:gd name="connsiteX129" fmla="*/ 700617 w 2428237"/>
                <a:gd name="connsiteY129" fmla="*/ 273182 h 399575"/>
                <a:gd name="connsiteX130" fmla="*/ 700617 w 2428237"/>
                <a:gd name="connsiteY130" fmla="*/ 301180 h 399575"/>
                <a:gd name="connsiteX131" fmla="*/ 670019 w 2428237"/>
                <a:gd name="connsiteY131" fmla="*/ 307580 h 399575"/>
                <a:gd name="connsiteX132" fmla="*/ 616222 w 2428237"/>
                <a:gd name="connsiteY132" fmla="*/ 247584 h 399575"/>
                <a:gd name="connsiteX133" fmla="*/ 616222 w 2428237"/>
                <a:gd name="connsiteY133" fmla="*/ 126391 h 399575"/>
                <a:gd name="connsiteX134" fmla="*/ 581025 w 2428237"/>
                <a:gd name="connsiteY134" fmla="*/ 126391 h 399575"/>
                <a:gd name="connsiteX135" fmla="*/ 581025 w 2428237"/>
                <a:gd name="connsiteY135" fmla="*/ 98393 h 399575"/>
                <a:gd name="connsiteX136" fmla="*/ 616222 w 2428237"/>
                <a:gd name="connsiteY136" fmla="*/ 98393 h 399575"/>
                <a:gd name="connsiteX137" fmla="*/ 616222 w 2428237"/>
                <a:gd name="connsiteY137" fmla="*/ 48396 h 399575"/>
                <a:gd name="connsiteX138" fmla="*/ 67996 w 2428237"/>
                <a:gd name="connsiteY138" fmla="*/ 37796 h 399575"/>
                <a:gd name="connsiteX139" fmla="*/ 67996 w 2428237"/>
                <a:gd name="connsiteY139" fmla="*/ 98393 h 399575"/>
                <a:gd name="connsiteX140" fmla="*/ 119592 w 2428237"/>
                <a:gd name="connsiteY140" fmla="*/ 98393 h 399575"/>
                <a:gd name="connsiteX141" fmla="*/ 119592 w 2428237"/>
                <a:gd name="connsiteY141" fmla="*/ 126391 h 399575"/>
                <a:gd name="connsiteX142" fmla="*/ 67996 w 2428237"/>
                <a:gd name="connsiteY142" fmla="*/ 126391 h 399575"/>
                <a:gd name="connsiteX143" fmla="*/ 67996 w 2428237"/>
                <a:gd name="connsiteY143" fmla="*/ 241784 h 399575"/>
                <a:gd name="connsiteX144" fmla="*/ 74995 w 2428237"/>
                <a:gd name="connsiteY144" fmla="*/ 271182 h 399575"/>
                <a:gd name="connsiteX145" fmla="*/ 98194 w 2428237"/>
                <a:gd name="connsiteY145" fmla="*/ 279982 h 399575"/>
                <a:gd name="connsiteX146" fmla="*/ 119592 w 2428237"/>
                <a:gd name="connsiteY146" fmla="*/ 273182 h 399575"/>
                <a:gd name="connsiteX147" fmla="*/ 119592 w 2428237"/>
                <a:gd name="connsiteY147" fmla="*/ 301180 h 399575"/>
                <a:gd name="connsiteX148" fmla="*/ 88994 w 2428237"/>
                <a:gd name="connsiteY148" fmla="*/ 307580 h 399575"/>
                <a:gd name="connsiteX149" fmla="*/ 35198 w 2428237"/>
                <a:gd name="connsiteY149" fmla="*/ 247584 h 399575"/>
                <a:gd name="connsiteX150" fmla="*/ 35198 w 2428237"/>
                <a:gd name="connsiteY150" fmla="*/ 126391 h 399575"/>
                <a:gd name="connsiteX151" fmla="*/ 0 w 2428237"/>
                <a:gd name="connsiteY151" fmla="*/ 126391 h 399575"/>
                <a:gd name="connsiteX152" fmla="*/ 0 w 2428237"/>
                <a:gd name="connsiteY152" fmla="*/ 98393 h 399575"/>
                <a:gd name="connsiteX153" fmla="*/ 35198 w 2428237"/>
                <a:gd name="connsiteY153" fmla="*/ 98393 h 399575"/>
                <a:gd name="connsiteX154" fmla="*/ 35198 w 2428237"/>
                <a:gd name="connsiteY154" fmla="*/ 48396 h 399575"/>
                <a:gd name="connsiteX155" fmla="*/ 1946397 w 2428237"/>
                <a:gd name="connsiteY155" fmla="*/ 3798 h 399575"/>
                <a:gd name="connsiteX156" fmla="*/ 1961696 w 2428237"/>
                <a:gd name="connsiteY156" fmla="*/ 9898 h 399575"/>
                <a:gd name="connsiteX157" fmla="*/ 1967996 w 2428237"/>
                <a:gd name="connsiteY157" fmla="*/ 25197 h 399575"/>
                <a:gd name="connsiteX158" fmla="*/ 1961696 w 2428237"/>
                <a:gd name="connsiteY158" fmla="*/ 40196 h 399575"/>
                <a:gd name="connsiteX159" fmla="*/ 1946397 w 2428237"/>
                <a:gd name="connsiteY159" fmla="*/ 46396 h 399575"/>
                <a:gd name="connsiteX160" fmla="*/ 1931398 w 2428237"/>
                <a:gd name="connsiteY160" fmla="*/ 40396 h 399575"/>
                <a:gd name="connsiteX161" fmla="*/ 1925198 w 2428237"/>
                <a:gd name="connsiteY161" fmla="*/ 25197 h 399575"/>
                <a:gd name="connsiteX162" fmla="*/ 1931398 w 2428237"/>
                <a:gd name="connsiteY162" fmla="*/ 9898 h 399575"/>
                <a:gd name="connsiteX163" fmla="*/ 1946397 w 2428237"/>
                <a:gd name="connsiteY163" fmla="*/ 3798 h 399575"/>
                <a:gd name="connsiteX164" fmla="*/ 1155822 w 2428237"/>
                <a:gd name="connsiteY164" fmla="*/ 3798 h 399575"/>
                <a:gd name="connsiteX165" fmla="*/ 1171121 w 2428237"/>
                <a:gd name="connsiteY165" fmla="*/ 9898 h 399575"/>
                <a:gd name="connsiteX166" fmla="*/ 1177421 w 2428237"/>
                <a:gd name="connsiteY166" fmla="*/ 25197 h 399575"/>
                <a:gd name="connsiteX167" fmla="*/ 1171121 w 2428237"/>
                <a:gd name="connsiteY167" fmla="*/ 40196 h 399575"/>
                <a:gd name="connsiteX168" fmla="*/ 1155822 w 2428237"/>
                <a:gd name="connsiteY168" fmla="*/ 46396 h 399575"/>
                <a:gd name="connsiteX169" fmla="*/ 1140823 w 2428237"/>
                <a:gd name="connsiteY169" fmla="*/ 40396 h 399575"/>
                <a:gd name="connsiteX170" fmla="*/ 1134623 w 2428237"/>
                <a:gd name="connsiteY170" fmla="*/ 25197 h 399575"/>
                <a:gd name="connsiteX171" fmla="*/ 1140823 w 2428237"/>
                <a:gd name="connsiteY171" fmla="*/ 9898 h 399575"/>
                <a:gd name="connsiteX172" fmla="*/ 1155822 w 2428237"/>
                <a:gd name="connsiteY172" fmla="*/ 3798 h 399575"/>
                <a:gd name="connsiteX173" fmla="*/ 1548598 w 2428237"/>
                <a:gd name="connsiteY173" fmla="*/ 0 h 399575"/>
                <a:gd name="connsiteX174" fmla="*/ 1581396 w 2428237"/>
                <a:gd name="connsiteY174" fmla="*/ 0 h 399575"/>
                <a:gd name="connsiteX175" fmla="*/ 1581396 w 2428237"/>
                <a:gd name="connsiteY175" fmla="*/ 134392 h 399575"/>
                <a:gd name="connsiteX176" fmla="*/ 1582196 w 2428237"/>
                <a:gd name="connsiteY176" fmla="*/ 134392 h 399575"/>
                <a:gd name="connsiteX177" fmla="*/ 1652992 w 2428237"/>
                <a:gd name="connsiteY177" fmla="*/ 93594 h 399575"/>
                <a:gd name="connsiteX178" fmla="*/ 1714688 w 2428237"/>
                <a:gd name="connsiteY178" fmla="*/ 121092 h 399575"/>
                <a:gd name="connsiteX179" fmla="*/ 1736987 w 2428237"/>
                <a:gd name="connsiteY179" fmla="*/ 194788 h 399575"/>
                <a:gd name="connsiteX180" fmla="*/ 1711988 w 2428237"/>
                <a:gd name="connsiteY180" fmla="*/ 277083 h 399575"/>
                <a:gd name="connsiteX181" fmla="*/ 1643592 w 2428237"/>
                <a:gd name="connsiteY181" fmla="*/ 307981 h 399575"/>
                <a:gd name="connsiteX182" fmla="*/ 1582196 w 2428237"/>
                <a:gd name="connsiteY182" fmla="*/ 273583 h 399575"/>
                <a:gd name="connsiteX183" fmla="*/ 1581396 w 2428237"/>
                <a:gd name="connsiteY183" fmla="*/ 273583 h 399575"/>
                <a:gd name="connsiteX184" fmla="*/ 1581396 w 2428237"/>
                <a:gd name="connsiteY184" fmla="*/ 303181 h 399575"/>
                <a:gd name="connsiteX185" fmla="*/ 1548598 w 2428237"/>
                <a:gd name="connsiteY185" fmla="*/ 303181 h 399575"/>
                <a:gd name="connsiteX186" fmla="*/ 1329523 w 2428237"/>
                <a:gd name="connsiteY186" fmla="*/ 0 h 399575"/>
                <a:gd name="connsiteX187" fmla="*/ 1362321 w 2428237"/>
                <a:gd name="connsiteY187" fmla="*/ 0 h 399575"/>
                <a:gd name="connsiteX188" fmla="*/ 1362321 w 2428237"/>
                <a:gd name="connsiteY188" fmla="*/ 303181 h 399575"/>
                <a:gd name="connsiteX189" fmla="*/ 1329523 w 2428237"/>
                <a:gd name="connsiteY189" fmla="*/ 303181 h 399575"/>
                <a:gd name="connsiteX190" fmla="*/ 1234273 w 2428237"/>
                <a:gd name="connsiteY190" fmla="*/ 0 h 399575"/>
                <a:gd name="connsiteX191" fmla="*/ 1267071 w 2428237"/>
                <a:gd name="connsiteY191" fmla="*/ 0 h 399575"/>
                <a:gd name="connsiteX192" fmla="*/ 1267071 w 2428237"/>
                <a:gd name="connsiteY192" fmla="*/ 303181 h 399575"/>
                <a:gd name="connsiteX193" fmla="*/ 1234273 w 2428237"/>
                <a:gd name="connsiteY193" fmla="*/ 303181 h 399575"/>
                <a:gd name="connsiteX194" fmla="*/ 167473 w 2428237"/>
                <a:gd name="connsiteY194" fmla="*/ 0 h 399575"/>
                <a:gd name="connsiteX195" fmla="*/ 200271 w 2428237"/>
                <a:gd name="connsiteY195" fmla="*/ 0 h 399575"/>
                <a:gd name="connsiteX196" fmla="*/ 200271 w 2428237"/>
                <a:gd name="connsiteY196" fmla="*/ 132392 h 399575"/>
                <a:gd name="connsiteX197" fmla="*/ 201071 w 2428237"/>
                <a:gd name="connsiteY197" fmla="*/ 132392 h 399575"/>
                <a:gd name="connsiteX198" fmla="*/ 268267 w 2428237"/>
                <a:gd name="connsiteY198" fmla="*/ 93594 h 399575"/>
                <a:gd name="connsiteX199" fmla="*/ 337463 w 2428237"/>
                <a:gd name="connsiteY199" fmla="*/ 176989 h 399575"/>
                <a:gd name="connsiteX200" fmla="*/ 337463 w 2428237"/>
                <a:gd name="connsiteY200" fmla="*/ 303181 h 399575"/>
                <a:gd name="connsiteX201" fmla="*/ 304665 w 2428237"/>
                <a:gd name="connsiteY201" fmla="*/ 303181 h 399575"/>
                <a:gd name="connsiteX202" fmla="*/ 304665 w 2428237"/>
                <a:gd name="connsiteY202" fmla="*/ 185188 h 399575"/>
                <a:gd name="connsiteX203" fmla="*/ 257068 w 2428237"/>
                <a:gd name="connsiteY203" fmla="*/ 121192 h 399575"/>
                <a:gd name="connsiteX204" fmla="*/ 216670 w 2428237"/>
                <a:gd name="connsiteY204" fmla="*/ 139691 h 399575"/>
                <a:gd name="connsiteX205" fmla="*/ 200271 w 2428237"/>
                <a:gd name="connsiteY205" fmla="*/ 187188 h 399575"/>
                <a:gd name="connsiteX206" fmla="*/ 200271 w 2428237"/>
                <a:gd name="connsiteY206" fmla="*/ 303181 h 399575"/>
                <a:gd name="connsiteX207" fmla="*/ 167473 w 2428237"/>
                <a:gd name="connsiteY207" fmla="*/ 303181 h 39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2428237" h="399575">
                  <a:moveTo>
                    <a:pt x="509866" y="199588"/>
                  </a:moveTo>
                  <a:lnTo>
                    <a:pt x="460469" y="206387"/>
                  </a:lnTo>
                  <a:cubicBezTo>
                    <a:pt x="445270" y="208520"/>
                    <a:pt x="433804" y="212287"/>
                    <a:pt x="426071" y="217686"/>
                  </a:cubicBezTo>
                  <a:cubicBezTo>
                    <a:pt x="418339" y="223086"/>
                    <a:pt x="414472" y="232652"/>
                    <a:pt x="414472" y="246385"/>
                  </a:cubicBezTo>
                  <a:cubicBezTo>
                    <a:pt x="414472" y="256384"/>
                    <a:pt x="418039" y="264550"/>
                    <a:pt x="425172" y="270883"/>
                  </a:cubicBezTo>
                  <a:cubicBezTo>
                    <a:pt x="432304" y="277216"/>
                    <a:pt x="441804" y="280383"/>
                    <a:pt x="453670" y="280383"/>
                  </a:cubicBezTo>
                  <a:cubicBezTo>
                    <a:pt x="469935" y="280383"/>
                    <a:pt x="483368" y="274683"/>
                    <a:pt x="493967" y="263284"/>
                  </a:cubicBezTo>
                  <a:cubicBezTo>
                    <a:pt x="504567" y="251884"/>
                    <a:pt x="509866" y="237452"/>
                    <a:pt x="509866" y="219986"/>
                  </a:cubicBezTo>
                  <a:close/>
                  <a:moveTo>
                    <a:pt x="2337843" y="121192"/>
                  </a:moveTo>
                  <a:cubicBezTo>
                    <a:pt x="2317578" y="121192"/>
                    <a:pt x="2301712" y="128558"/>
                    <a:pt x="2290246" y="143291"/>
                  </a:cubicBezTo>
                  <a:cubicBezTo>
                    <a:pt x="2278780" y="158023"/>
                    <a:pt x="2273047" y="178655"/>
                    <a:pt x="2273047" y="205187"/>
                  </a:cubicBezTo>
                  <a:cubicBezTo>
                    <a:pt x="2273047" y="227986"/>
                    <a:pt x="2278547" y="246218"/>
                    <a:pt x="2289546" y="259884"/>
                  </a:cubicBezTo>
                  <a:cubicBezTo>
                    <a:pt x="2300545" y="273550"/>
                    <a:pt x="2315111" y="280383"/>
                    <a:pt x="2333243" y="280383"/>
                  </a:cubicBezTo>
                  <a:cubicBezTo>
                    <a:pt x="2351642" y="280383"/>
                    <a:pt x="2366608" y="273850"/>
                    <a:pt x="2378141" y="260784"/>
                  </a:cubicBezTo>
                  <a:cubicBezTo>
                    <a:pt x="2389673" y="247718"/>
                    <a:pt x="2395439" y="230986"/>
                    <a:pt x="2395439" y="210587"/>
                  </a:cubicBezTo>
                  <a:lnTo>
                    <a:pt x="2395439" y="180389"/>
                  </a:lnTo>
                  <a:cubicBezTo>
                    <a:pt x="2395439" y="164123"/>
                    <a:pt x="2389940" y="150191"/>
                    <a:pt x="2378940" y="138591"/>
                  </a:cubicBezTo>
                  <a:cubicBezTo>
                    <a:pt x="2367941" y="126992"/>
                    <a:pt x="2354242" y="121192"/>
                    <a:pt x="2337843" y="121192"/>
                  </a:cubicBezTo>
                  <a:close/>
                  <a:moveTo>
                    <a:pt x="1644792" y="121192"/>
                  </a:moveTo>
                  <a:cubicBezTo>
                    <a:pt x="1625727" y="121192"/>
                    <a:pt x="1610394" y="127825"/>
                    <a:pt x="1598795" y="141091"/>
                  </a:cubicBezTo>
                  <a:cubicBezTo>
                    <a:pt x="1587196" y="154357"/>
                    <a:pt x="1581396" y="170989"/>
                    <a:pt x="1581396" y="190988"/>
                  </a:cubicBezTo>
                  <a:lnTo>
                    <a:pt x="1581396" y="219586"/>
                  </a:lnTo>
                  <a:cubicBezTo>
                    <a:pt x="1581396" y="236519"/>
                    <a:pt x="1586896" y="250884"/>
                    <a:pt x="1597895" y="262684"/>
                  </a:cubicBezTo>
                  <a:cubicBezTo>
                    <a:pt x="1608895" y="274483"/>
                    <a:pt x="1622860" y="280383"/>
                    <a:pt x="1639793" y="280383"/>
                  </a:cubicBezTo>
                  <a:cubicBezTo>
                    <a:pt x="1659658" y="280383"/>
                    <a:pt x="1675224" y="272783"/>
                    <a:pt x="1686490" y="257584"/>
                  </a:cubicBezTo>
                  <a:cubicBezTo>
                    <a:pt x="1697756" y="242385"/>
                    <a:pt x="1703389" y="221253"/>
                    <a:pt x="1703389" y="194188"/>
                  </a:cubicBezTo>
                  <a:cubicBezTo>
                    <a:pt x="1703389" y="171389"/>
                    <a:pt x="1698122" y="153524"/>
                    <a:pt x="1687590" y="140591"/>
                  </a:cubicBezTo>
                  <a:cubicBezTo>
                    <a:pt x="1677057" y="127659"/>
                    <a:pt x="1662791" y="121192"/>
                    <a:pt x="1644792" y="121192"/>
                  </a:cubicBezTo>
                  <a:close/>
                  <a:moveTo>
                    <a:pt x="1929598" y="98394"/>
                  </a:moveTo>
                  <a:lnTo>
                    <a:pt x="1962396" y="98394"/>
                  </a:lnTo>
                  <a:lnTo>
                    <a:pt x="1962396" y="303181"/>
                  </a:lnTo>
                  <a:lnTo>
                    <a:pt x="1929598" y="303181"/>
                  </a:lnTo>
                  <a:close/>
                  <a:moveTo>
                    <a:pt x="1139023" y="98394"/>
                  </a:moveTo>
                  <a:lnTo>
                    <a:pt x="1171821" y="98394"/>
                  </a:lnTo>
                  <a:lnTo>
                    <a:pt x="1171821" y="303181"/>
                  </a:lnTo>
                  <a:lnTo>
                    <a:pt x="1139023" y="303181"/>
                  </a:lnTo>
                  <a:close/>
                  <a:moveTo>
                    <a:pt x="815350" y="98394"/>
                  </a:moveTo>
                  <a:lnTo>
                    <a:pt x="849748" y="98394"/>
                  </a:lnTo>
                  <a:lnTo>
                    <a:pt x="892145" y="252384"/>
                  </a:lnTo>
                  <a:cubicBezTo>
                    <a:pt x="893478" y="257051"/>
                    <a:pt x="894412" y="263184"/>
                    <a:pt x="894945" y="270783"/>
                  </a:cubicBezTo>
                  <a:lnTo>
                    <a:pt x="896545" y="270783"/>
                  </a:lnTo>
                  <a:cubicBezTo>
                    <a:pt x="896945" y="264917"/>
                    <a:pt x="898145" y="258651"/>
                    <a:pt x="900145" y="251984"/>
                  </a:cubicBezTo>
                  <a:lnTo>
                    <a:pt x="947342" y="98394"/>
                  </a:lnTo>
                  <a:lnTo>
                    <a:pt x="977340" y="98394"/>
                  </a:lnTo>
                  <a:lnTo>
                    <a:pt x="1019737" y="252784"/>
                  </a:lnTo>
                  <a:cubicBezTo>
                    <a:pt x="1021071" y="257717"/>
                    <a:pt x="1022070" y="263850"/>
                    <a:pt x="1022737" y="271183"/>
                  </a:cubicBezTo>
                  <a:lnTo>
                    <a:pt x="1024337" y="271183"/>
                  </a:lnTo>
                  <a:cubicBezTo>
                    <a:pt x="1024604" y="265983"/>
                    <a:pt x="1025737" y="259850"/>
                    <a:pt x="1027737" y="252784"/>
                  </a:cubicBezTo>
                  <a:lnTo>
                    <a:pt x="1069334" y="98394"/>
                  </a:lnTo>
                  <a:lnTo>
                    <a:pt x="1101732" y="98394"/>
                  </a:lnTo>
                  <a:lnTo>
                    <a:pt x="1040336" y="303181"/>
                  </a:lnTo>
                  <a:lnTo>
                    <a:pt x="1006338" y="303181"/>
                  </a:lnTo>
                  <a:lnTo>
                    <a:pt x="964141" y="156590"/>
                  </a:lnTo>
                  <a:cubicBezTo>
                    <a:pt x="962541" y="150991"/>
                    <a:pt x="961474" y="144657"/>
                    <a:pt x="960941" y="137591"/>
                  </a:cubicBezTo>
                  <a:lnTo>
                    <a:pt x="960141" y="137591"/>
                  </a:lnTo>
                  <a:cubicBezTo>
                    <a:pt x="959741" y="142391"/>
                    <a:pt x="958341" y="148591"/>
                    <a:pt x="955941" y="156190"/>
                  </a:cubicBezTo>
                  <a:lnTo>
                    <a:pt x="910144" y="303181"/>
                  </a:lnTo>
                  <a:lnTo>
                    <a:pt x="877346" y="303181"/>
                  </a:lnTo>
                  <a:close/>
                  <a:moveTo>
                    <a:pt x="1873918" y="94794"/>
                  </a:moveTo>
                  <a:cubicBezTo>
                    <a:pt x="1882451" y="94794"/>
                    <a:pt x="1888984" y="95727"/>
                    <a:pt x="1893517" y="97594"/>
                  </a:cubicBezTo>
                  <a:lnTo>
                    <a:pt x="1893517" y="131592"/>
                  </a:lnTo>
                  <a:cubicBezTo>
                    <a:pt x="1887784" y="127192"/>
                    <a:pt x="1879518" y="124992"/>
                    <a:pt x="1868718" y="124992"/>
                  </a:cubicBezTo>
                  <a:cubicBezTo>
                    <a:pt x="1854719" y="124992"/>
                    <a:pt x="1843020" y="131592"/>
                    <a:pt x="1833620" y="144791"/>
                  </a:cubicBezTo>
                  <a:cubicBezTo>
                    <a:pt x="1824221" y="157990"/>
                    <a:pt x="1819521" y="175989"/>
                    <a:pt x="1819521" y="198788"/>
                  </a:cubicBezTo>
                  <a:lnTo>
                    <a:pt x="1819521" y="303181"/>
                  </a:lnTo>
                  <a:lnTo>
                    <a:pt x="1786723" y="303181"/>
                  </a:lnTo>
                  <a:lnTo>
                    <a:pt x="1786723" y="98394"/>
                  </a:lnTo>
                  <a:lnTo>
                    <a:pt x="1819521" y="98394"/>
                  </a:lnTo>
                  <a:lnTo>
                    <a:pt x="1819521" y="140591"/>
                  </a:lnTo>
                  <a:lnTo>
                    <a:pt x="1820321" y="140591"/>
                  </a:lnTo>
                  <a:cubicBezTo>
                    <a:pt x="1824988" y="126192"/>
                    <a:pt x="1832120" y="114959"/>
                    <a:pt x="1841720" y="106893"/>
                  </a:cubicBezTo>
                  <a:cubicBezTo>
                    <a:pt x="1851319" y="98827"/>
                    <a:pt x="1862052" y="94794"/>
                    <a:pt x="1873918" y="94794"/>
                  </a:cubicBezTo>
                  <a:close/>
                  <a:moveTo>
                    <a:pt x="2333243" y="93594"/>
                  </a:moveTo>
                  <a:cubicBezTo>
                    <a:pt x="2360842" y="93594"/>
                    <a:pt x="2381307" y="104660"/>
                    <a:pt x="2394640" y="126792"/>
                  </a:cubicBezTo>
                  <a:lnTo>
                    <a:pt x="2395439" y="126792"/>
                  </a:lnTo>
                  <a:lnTo>
                    <a:pt x="2395439" y="98394"/>
                  </a:lnTo>
                  <a:lnTo>
                    <a:pt x="2428237" y="98394"/>
                  </a:lnTo>
                  <a:lnTo>
                    <a:pt x="2428237" y="286782"/>
                  </a:lnTo>
                  <a:cubicBezTo>
                    <a:pt x="2428237" y="361978"/>
                    <a:pt x="2392240" y="399575"/>
                    <a:pt x="2320244" y="399575"/>
                  </a:cubicBezTo>
                  <a:cubicBezTo>
                    <a:pt x="2294912" y="399575"/>
                    <a:pt x="2272780" y="394776"/>
                    <a:pt x="2253848" y="385176"/>
                  </a:cubicBezTo>
                  <a:lnTo>
                    <a:pt x="2253848" y="352378"/>
                  </a:lnTo>
                  <a:cubicBezTo>
                    <a:pt x="2276913" y="365177"/>
                    <a:pt x="2298912" y="371577"/>
                    <a:pt x="2319844" y="371577"/>
                  </a:cubicBezTo>
                  <a:cubicBezTo>
                    <a:pt x="2370241" y="371577"/>
                    <a:pt x="2395439" y="344779"/>
                    <a:pt x="2395439" y="291182"/>
                  </a:cubicBezTo>
                  <a:lnTo>
                    <a:pt x="2395439" y="268783"/>
                  </a:lnTo>
                  <a:lnTo>
                    <a:pt x="2394640" y="268783"/>
                  </a:lnTo>
                  <a:cubicBezTo>
                    <a:pt x="2379040" y="294915"/>
                    <a:pt x="2355575" y="307981"/>
                    <a:pt x="2324244" y="307981"/>
                  </a:cubicBezTo>
                  <a:cubicBezTo>
                    <a:pt x="2298779" y="307981"/>
                    <a:pt x="2278280" y="298881"/>
                    <a:pt x="2262748" y="280683"/>
                  </a:cubicBezTo>
                  <a:cubicBezTo>
                    <a:pt x="2247215" y="262484"/>
                    <a:pt x="2239449" y="238052"/>
                    <a:pt x="2239449" y="207387"/>
                  </a:cubicBezTo>
                  <a:cubicBezTo>
                    <a:pt x="2239449" y="172589"/>
                    <a:pt x="2247815" y="144924"/>
                    <a:pt x="2264548" y="124392"/>
                  </a:cubicBezTo>
                  <a:cubicBezTo>
                    <a:pt x="2281280" y="103860"/>
                    <a:pt x="2304178" y="93594"/>
                    <a:pt x="2333243" y="93594"/>
                  </a:cubicBezTo>
                  <a:close/>
                  <a:moveTo>
                    <a:pt x="2125642" y="93594"/>
                  </a:moveTo>
                  <a:cubicBezTo>
                    <a:pt x="2148041" y="93594"/>
                    <a:pt x="2165173" y="100827"/>
                    <a:pt x="2177039" y="115293"/>
                  </a:cubicBezTo>
                  <a:cubicBezTo>
                    <a:pt x="2188905" y="129758"/>
                    <a:pt x="2194838" y="150657"/>
                    <a:pt x="2194838" y="177989"/>
                  </a:cubicBezTo>
                  <a:lnTo>
                    <a:pt x="2194838" y="303181"/>
                  </a:lnTo>
                  <a:lnTo>
                    <a:pt x="2162040" y="303181"/>
                  </a:lnTo>
                  <a:lnTo>
                    <a:pt x="2162040" y="186388"/>
                  </a:lnTo>
                  <a:cubicBezTo>
                    <a:pt x="2162040" y="142924"/>
                    <a:pt x="2146174" y="121192"/>
                    <a:pt x="2114443" y="121192"/>
                  </a:cubicBezTo>
                  <a:cubicBezTo>
                    <a:pt x="2098044" y="121192"/>
                    <a:pt x="2084478" y="127359"/>
                    <a:pt x="2073745" y="139691"/>
                  </a:cubicBezTo>
                  <a:cubicBezTo>
                    <a:pt x="2063012" y="152024"/>
                    <a:pt x="2057646" y="167589"/>
                    <a:pt x="2057646" y="186388"/>
                  </a:cubicBezTo>
                  <a:lnTo>
                    <a:pt x="2057646" y="303181"/>
                  </a:lnTo>
                  <a:lnTo>
                    <a:pt x="2024848" y="303181"/>
                  </a:lnTo>
                  <a:lnTo>
                    <a:pt x="2024848" y="98394"/>
                  </a:lnTo>
                  <a:lnTo>
                    <a:pt x="2057646" y="98394"/>
                  </a:lnTo>
                  <a:lnTo>
                    <a:pt x="2057646" y="132392"/>
                  </a:lnTo>
                  <a:lnTo>
                    <a:pt x="2058446" y="132392"/>
                  </a:lnTo>
                  <a:cubicBezTo>
                    <a:pt x="2073912" y="106527"/>
                    <a:pt x="2096310" y="93594"/>
                    <a:pt x="2125642" y="93594"/>
                  </a:cubicBezTo>
                  <a:close/>
                  <a:moveTo>
                    <a:pt x="470469" y="93594"/>
                  </a:moveTo>
                  <a:cubicBezTo>
                    <a:pt x="518599" y="93594"/>
                    <a:pt x="542664" y="119059"/>
                    <a:pt x="542664" y="169989"/>
                  </a:cubicBezTo>
                  <a:lnTo>
                    <a:pt x="542664" y="303181"/>
                  </a:lnTo>
                  <a:lnTo>
                    <a:pt x="509866" y="303181"/>
                  </a:lnTo>
                  <a:lnTo>
                    <a:pt x="509866" y="271183"/>
                  </a:lnTo>
                  <a:lnTo>
                    <a:pt x="509066" y="271183"/>
                  </a:lnTo>
                  <a:cubicBezTo>
                    <a:pt x="494801" y="295715"/>
                    <a:pt x="473802" y="307981"/>
                    <a:pt x="446070" y="307981"/>
                  </a:cubicBezTo>
                  <a:cubicBezTo>
                    <a:pt x="425672" y="307981"/>
                    <a:pt x="409706" y="302581"/>
                    <a:pt x="398173" y="291782"/>
                  </a:cubicBezTo>
                  <a:cubicBezTo>
                    <a:pt x="386641" y="280983"/>
                    <a:pt x="380874" y="266650"/>
                    <a:pt x="380874" y="248785"/>
                  </a:cubicBezTo>
                  <a:cubicBezTo>
                    <a:pt x="380874" y="210520"/>
                    <a:pt x="403406" y="188255"/>
                    <a:pt x="448470" y="181989"/>
                  </a:cubicBezTo>
                  <a:lnTo>
                    <a:pt x="509866" y="173389"/>
                  </a:lnTo>
                  <a:cubicBezTo>
                    <a:pt x="509866" y="138591"/>
                    <a:pt x="495801" y="121192"/>
                    <a:pt x="467669" y="121192"/>
                  </a:cubicBezTo>
                  <a:cubicBezTo>
                    <a:pt x="443004" y="121192"/>
                    <a:pt x="420738" y="129592"/>
                    <a:pt x="400873" y="146391"/>
                  </a:cubicBezTo>
                  <a:lnTo>
                    <a:pt x="400873" y="112793"/>
                  </a:lnTo>
                  <a:cubicBezTo>
                    <a:pt x="421005" y="99994"/>
                    <a:pt x="444204" y="93594"/>
                    <a:pt x="470469" y="93594"/>
                  </a:cubicBezTo>
                  <a:close/>
                  <a:moveTo>
                    <a:pt x="649020" y="37796"/>
                  </a:moveTo>
                  <a:lnTo>
                    <a:pt x="649020" y="98393"/>
                  </a:lnTo>
                  <a:lnTo>
                    <a:pt x="700617" y="98393"/>
                  </a:lnTo>
                  <a:lnTo>
                    <a:pt x="700617" y="126391"/>
                  </a:lnTo>
                  <a:lnTo>
                    <a:pt x="649020" y="126391"/>
                  </a:lnTo>
                  <a:lnTo>
                    <a:pt x="649020" y="241784"/>
                  </a:lnTo>
                  <a:cubicBezTo>
                    <a:pt x="649020" y="255516"/>
                    <a:pt x="651354" y="265316"/>
                    <a:pt x="656020" y="271182"/>
                  </a:cubicBezTo>
                  <a:cubicBezTo>
                    <a:pt x="660686" y="277048"/>
                    <a:pt x="668419" y="279982"/>
                    <a:pt x="679219" y="279982"/>
                  </a:cubicBezTo>
                  <a:cubicBezTo>
                    <a:pt x="687485" y="279982"/>
                    <a:pt x="694618" y="277715"/>
                    <a:pt x="700617" y="273182"/>
                  </a:cubicBezTo>
                  <a:lnTo>
                    <a:pt x="700617" y="301180"/>
                  </a:lnTo>
                  <a:cubicBezTo>
                    <a:pt x="692885" y="305447"/>
                    <a:pt x="682685" y="307580"/>
                    <a:pt x="670019" y="307580"/>
                  </a:cubicBezTo>
                  <a:cubicBezTo>
                    <a:pt x="634155" y="307580"/>
                    <a:pt x="616222" y="287581"/>
                    <a:pt x="616222" y="247584"/>
                  </a:cubicBezTo>
                  <a:lnTo>
                    <a:pt x="616222" y="126391"/>
                  </a:lnTo>
                  <a:lnTo>
                    <a:pt x="581025" y="126391"/>
                  </a:lnTo>
                  <a:lnTo>
                    <a:pt x="581025" y="98393"/>
                  </a:lnTo>
                  <a:lnTo>
                    <a:pt x="616222" y="98393"/>
                  </a:lnTo>
                  <a:lnTo>
                    <a:pt x="616222" y="48396"/>
                  </a:lnTo>
                  <a:close/>
                  <a:moveTo>
                    <a:pt x="67996" y="37796"/>
                  </a:moveTo>
                  <a:lnTo>
                    <a:pt x="67996" y="98393"/>
                  </a:lnTo>
                  <a:lnTo>
                    <a:pt x="119592" y="98393"/>
                  </a:lnTo>
                  <a:lnTo>
                    <a:pt x="119592" y="126391"/>
                  </a:lnTo>
                  <a:lnTo>
                    <a:pt x="67996" y="126391"/>
                  </a:lnTo>
                  <a:lnTo>
                    <a:pt x="67996" y="241784"/>
                  </a:lnTo>
                  <a:cubicBezTo>
                    <a:pt x="67996" y="255516"/>
                    <a:pt x="70329" y="265316"/>
                    <a:pt x="74995" y="271182"/>
                  </a:cubicBezTo>
                  <a:cubicBezTo>
                    <a:pt x="79662" y="277048"/>
                    <a:pt x="87394" y="279982"/>
                    <a:pt x="98194" y="279982"/>
                  </a:cubicBezTo>
                  <a:cubicBezTo>
                    <a:pt x="106460" y="279982"/>
                    <a:pt x="113593" y="277715"/>
                    <a:pt x="119592" y="273182"/>
                  </a:cubicBezTo>
                  <a:lnTo>
                    <a:pt x="119592" y="301180"/>
                  </a:lnTo>
                  <a:cubicBezTo>
                    <a:pt x="111860" y="305447"/>
                    <a:pt x="101660" y="307580"/>
                    <a:pt x="88994" y="307580"/>
                  </a:cubicBezTo>
                  <a:cubicBezTo>
                    <a:pt x="53130" y="307580"/>
                    <a:pt x="35198" y="287581"/>
                    <a:pt x="35198" y="247584"/>
                  </a:cubicBezTo>
                  <a:lnTo>
                    <a:pt x="35198" y="126391"/>
                  </a:lnTo>
                  <a:lnTo>
                    <a:pt x="0" y="126391"/>
                  </a:lnTo>
                  <a:lnTo>
                    <a:pt x="0" y="98393"/>
                  </a:lnTo>
                  <a:lnTo>
                    <a:pt x="35198" y="98393"/>
                  </a:lnTo>
                  <a:lnTo>
                    <a:pt x="35198" y="48396"/>
                  </a:lnTo>
                  <a:close/>
                  <a:moveTo>
                    <a:pt x="1946397" y="3798"/>
                  </a:moveTo>
                  <a:cubicBezTo>
                    <a:pt x="1952397" y="3798"/>
                    <a:pt x="1957497" y="5832"/>
                    <a:pt x="1961696" y="9898"/>
                  </a:cubicBezTo>
                  <a:cubicBezTo>
                    <a:pt x="1965896" y="13965"/>
                    <a:pt x="1967996" y="19064"/>
                    <a:pt x="1967996" y="25197"/>
                  </a:cubicBezTo>
                  <a:cubicBezTo>
                    <a:pt x="1967996" y="31063"/>
                    <a:pt x="1965896" y="36063"/>
                    <a:pt x="1961696" y="40196"/>
                  </a:cubicBezTo>
                  <a:cubicBezTo>
                    <a:pt x="1957497" y="44329"/>
                    <a:pt x="1952397" y="46396"/>
                    <a:pt x="1946397" y="46396"/>
                  </a:cubicBezTo>
                  <a:cubicBezTo>
                    <a:pt x="1940531" y="46396"/>
                    <a:pt x="1935531" y="44396"/>
                    <a:pt x="1931398" y="40396"/>
                  </a:cubicBezTo>
                  <a:cubicBezTo>
                    <a:pt x="1927265" y="36397"/>
                    <a:pt x="1925198" y="31330"/>
                    <a:pt x="1925198" y="25197"/>
                  </a:cubicBezTo>
                  <a:cubicBezTo>
                    <a:pt x="1925198" y="19064"/>
                    <a:pt x="1927265" y="13965"/>
                    <a:pt x="1931398" y="9898"/>
                  </a:cubicBezTo>
                  <a:cubicBezTo>
                    <a:pt x="1935531" y="5832"/>
                    <a:pt x="1940531" y="3798"/>
                    <a:pt x="1946397" y="3798"/>
                  </a:cubicBezTo>
                  <a:close/>
                  <a:moveTo>
                    <a:pt x="1155822" y="3798"/>
                  </a:moveTo>
                  <a:cubicBezTo>
                    <a:pt x="1161822" y="3798"/>
                    <a:pt x="1166922" y="5832"/>
                    <a:pt x="1171121" y="9898"/>
                  </a:cubicBezTo>
                  <a:cubicBezTo>
                    <a:pt x="1175321" y="13965"/>
                    <a:pt x="1177421" y="19064"/>
                    <a:pt x="1177421" y="25197"/>
                  </a:cubicBezTo>
                  <a:cubicBezTo>
                    <a:pt x="1177421" y="31063"/>
                    <a:pt x="1175321" y="36063"/>
                    <a:pt x="1171121" y="40196"/>
                  </a:cubicBezTo>
                  <a:cubicBezTo>
                    <a:pt x="1166922" y="44329"/>
                    <a:pt x="1161822" y="46396"/>
                    <a:pt x="1155822" y="46396"/>
                  </a:cubicBezTo>
                  <a:cubicBezTo>
                    <a:pt x="1149956" y="46396"/>
                    <a:pt x="1144956" y="44396"/>
                    <a:pt x="1140823" y="40396"/>
                  </a:cubicBezTo>
                  <a:cubicBezTo>
                    <a:pt x="1136690" y="36397"/>
                    <a:pt x="1134623" y="31330"/>
                    <a:pt x="1134623" y="25197"/>
                  </a:cubicBezTo>
                  <a:cubicBezTo>
                    <a:pt x="1134623" y="19064"/>
                    <a:pt x="1136690" y="13965"/>
                    <a:pt x="1140823" y="9898"/>
                  </a:cubicBezTo>
                  <a:cubicBezTo>
                    <a:pt x="1144956" y="5832"/>
                    <a:pt x="1149956" y="3798"/>
                    <a:pt x="1155822" y="3798"/>
                  </a:cubicBezTo>
                  <a:close/>
                  <a:moveTo>
                    <a:pt x="1548598" y="0"/>
                  </a:moveTo>
                  <a:lnTo>
                    <a:pt x="1581396" y="0"/>
                  </a:lnTo>
                  <a:lnTo>
                    <a:pt x="1581396" y="134392"/>
                  </a:lnTo>
                  <a:lnTo>
                    <a:pt x="1582196" y="134392"/>
                  </a:lnTo>
                  <a:cubicBezTo>
                    <a:pt x="1598328" y="107193"/>
                    <a:pt x="1621927" y="93594"/>
                    <a:pt x="1652992" y="93594"/>
                  </a:cubicBezTo>
                  <a:cubicBezTo>
                    <a:pt x="1679257" y="93594"/>
                    <a:pt x="1699822" y="102760"/>
                    <a:pt x="1714688" y="121092"/>
                  </a:cubicBezTo>
                  <a:cubicBezTo>
                    <a:pt x="1729554" y="139424"/>
                    <a:pt x="1736987" y="163990"/>
                    <a:pt x="1736987" y="194788"/>
                  </a:cubicBezTo>
                  <a:cubicBezTo>
                    <a:pt x="1736987" y="229052"/>
                    <a:pt x="1728654" y="256484"/>
                    <a:pt x="1711988" y="277083"/>
                  </a:cubicBezTo>
                  <a:cubicBezTo>
                    <a:pt x="1695323" y="297682"/>
                    <a:pt x="1672524" y="307981"/>
                    <a:pt x="1643592" y="307981"/>
                  </a:cubicBezTo>
                  <a:cubicBezTo>
                    <a:pt x="1616527" y="307981"/>
                    <a:pt x="1596062" y="296515"/>
                    <a:pt x="1582196" y="273583"/>
                  </a:cubicBezTo>
                  <a:lnTo>
                    <a:pt x="1581396" y="273583"/>
                  </a:lnTo>
                  <a:lnTo>
                    <a:pt x="1581396" y="303181"/>
                  </a:lnTo>
                  <a:lnTo>
                    <a:pt x="1548598" y="303181"/>
                  </a:lnTo>
                  <a:close/>
                  <a:moveTo>
                    <a:pt x="1329523" y="0"/>
                  </a:moveTo>
                  <a:lnTo>
                    <a:pt x="1362321" y="0"/>
                  </a:lnTo>
                  <a:lnTo>
                    <a:pt x="1362321" y="303181"/>
                  </a:lnTo>
                  <a:lnTo>
                    <a:pt x="1329523" y="303181"/>
                  </a:lnTo>
                  <a:close/>
                  <a:moveTo>
                    <a:pt x="1234273" y="0"/>
                  </a:moveTo>
                  <a:lnTo>
                    <a:pt x="1267071" y="0"/>
                  </a:lnTo>
                  <a:lnTo>
                    <a:pt x="1267071" y="303181"/>
                  </a:lnTo>
                  <a:lnTo>
                    <a:pt x="1234273" y="303181"/>
                  </a:lnTo>
                  <a:close/>
                  <a:moveTo>
                    <a:pt x="167473" y="0"/>
                  </a:moveTo>
                  <a:lnTo>
                    <a:pt x="200271" y="0"/>
                  </a:lnTo>
                  <a:lnTo>
                    <a:pt x="200271" y="132392"/>
                  </a:lnTo>
                  <a:lnTo>
                    <a:pt x="201071" y="132392"/>
                  </a:lnTo>
                  <a:cubicBezTo>
                    <a:pt x="216804" y="106527"/>
                    <a:pt x="239202" y="93594"/>
                    <a:pt x="268267" y="93594"/>
                  </a:cubicBezTo>
                  <a:cubicBezTo>
                    <a:pt x="314398" y="93594"/>
                    <a:pt x="337463" y="121392"/>
                    <a:pt x="337463" y="176989"/>
                  </a:cubicBezTo>
                  <a:lnTo>
                    <a:pt x="337463" y="303181"/>
                  </a:lnTo>
                  <a:lnTo>
                    <a:pt x="304665" y="303181"/>
                  </a:lnTo>
                  <a:lnTo>
                    <a:pt x="304665" y="185188"/>
                  </a:lnTo>
                  <a:cubicBezTo>
                    <a:pt x="304665" y="142524"/>
                    <a:pt x="288799" y="121192"/>
                    <a:pt x="257068" y="121192"/>
                  </a:cubicBezTo>
                  <a:cubicBezTo>
                    <a:pt x="241069" y="121192"/>
                    <a:pt x="227603" y="127359"/>
                    <a:pt x="216670" y="139691"/>
                  </a:cubicBezTo>
                  <a:cubicBezTo>
                    <a:pt x="205738" y="152024"/>
                    <a:pt x="200271" y="167856"/>
                    <a:pt x="200271" y="187188"/>
                  </a:cubicBezTo>
                  <a:lnTo>
                    <a:pt x="200271" y="303181"/>
                  </a:lnTo>
                  <a:lnTo>
                    <a:pt x="167473" y="303181"/>
                  </a:lnTo>
                  <a:close/>
                </a:path>
              </a:pathLst>
            </a:cu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7" name="Freeform: Shape 136">
              <a:extLst>
                <a:ext uri="{FF2B5EF4-FFF2-40B4-BE49-F238E27FC236}">
                  <a16:creationId xmlns:a16="http://schemas.microsoft.com/office/drawing/2014/main" id="{FE48425C-DF8E-4EC8-A2BA-F844B9CEE828}"/>
                </a:ext>
              </a:extLst>
            </p:cNvPr>
            <p:cNvSpPr>
              <a:spLocks noChangeAspect="1"/>
            </p:cNvSpPr>
            <p:nvPr/>
          </p:nvSpPr>
          <p:spPr>
            <a:xfrm>
              <a:off x="510506" y="3834632"/>
              <a:ext cx="3566160" cy="511368"/>
            </a:xfrm>
            <a:custGeom>
              <a:avLst/>
              <a:gdLst>
                <a:gd name="connsiteX0" fmla="*/ 1400343 w 2068339"/>
                <a:gd name="connsiteY0" fmla="*/ 55597 h 296582"/>
                <a:gd name="connsiteX1" fmla="*/ 1346346 w 2068339"/>
                <a:gd name="connsiteY1" fmla="*/ 81095 h 296582"/>
                <a:gd name="connsiteX2" fmla="*/ 1326347 w 2068339"/>
                <a:gd name="connsiteY2" fmla="*/ 148591 h 296582"/>
                <a:gd name="connsiteX3" fmla="*/ 1346346 w 2068339"/>
                <a:gd name="connsiteY3" fmla="*/ 215987 h 296582"/>
                <a:gd name="connsiteX4" fmla="*/ 1398743 w 2068339"/>
                <a:gd name="connsiteY4" fmla="*/ 240785 h 296582"/>
                <a:gd name="connsiteX5" fmla="*/ 1451740 w 2068339"/>
                <a:gd name="connsiteY5" fmla="*/ 216687 h 296582"/>
                <a:gd name="connsiteX6" fmla="*/ 1471338 w 2068339"/>
                <a:gd name="connsiteY6" fmla="*/ 149791 h 296582"/>
                <a:gd name="connsiteX7" fmla="*/ 1452340 w 2068339"/>
                <a:gd name="connsiteY7" fmla="*/ 80395 h 296582"/>
                <a:gd name="connsiteX8" fmla="*/ 1400343 w 2068339"/>
                <a:gd name="connsiteY8" fmla="*/ 55597 h 296582"/>
                <a:gd name="connsiteX9" fmla="*/ 819318 w 2068339"/>
                <a:gd name="connsiteY9" fmla="*/ 55597 h 296582"/>
                <a:gd name="connsiteX10" fmla="*/ 765321 w 2068339"/>
                <a:gd name="connsiteY10" fmla="*/ 81095 h 296582"/>
                <a:gd name="connsiteX11" fmla="*/ 745322 w 2068339"/>
                <a:gd name="connsiteY11" fmla="*/ 148591 h 296582"/>
                <a:gd name="connsiteX12" fmla="*/ 765321 w 2068339"/>
                <a:gd name="connsiteY12" fmla="*/ 215987 h 296582"/>
                <a:gd name="connsiteX13" fmla="*/ 817718 w 2068339"/>
                <a:gd name="connsiteY13" fmla="*/ 240785 h 296582"/>
                <a:gd name="connsiteX14" fmla="*/ 870715 w 2068339"/>
                <a:gd name="connsiteY14" fmla="*/ 216687 h 296582"/>
                <a:gd name="connsiteX15" fmla="*/ 890313 w 2068339"/>
                <a:gd name="connsiteY15" fmla="*/ 149791 h 296582"/>
                <a:gd name="connsiteX16" fmla="*/ 871314 w 2068339"/>
                <a:gd name="connsiteY16" fmla="*/ 80395 h 296582"/>
                <a:gd name="connsiteX17" fmla="*/ 819318 w 2068339"/>
                <a:gd name="connsiteY17" fmla="*/ 55597 h 296582"/>
                <a:gd name="connsiteX18" fmla="*/ 1074246 w 2068339"/>
                <a:gd name="connsiteY18" fmla="*/ 53197 h 296582"/>
                <a:gd name="connsiteX19" fmla="*/ 1074246 w 2068339"/>
                <a:gd name="connsiteY19" fmla="*/ 132992 h 296582"/>
                <a:gd name="connsiteX20" fmla="*/ 1102244 w 2068339"/>
                <a:gd name="connsiteY20" fmla="*/ 132992 h 296582"/>
                <a:gd name="connsiteX21" fmla="*/ 1135642 w 2068339"/>
                <a:gd name="connsiteY21" fmla="*/ 120993 h 296582"/>
                <a:gd name="connsiteX22" fmla="*/ 1148442 w 2068339"/>
                <a:gd name="connsiteY22" fmla="*/ 90794 h 296582"/>
                <a:gd name="connsiteX23" fmla="*/ 1103444 w 2068339"/>
                <a:gd name="connsiteY23" fmla="*/ 53197 h 296582"/>
                <a:gd name="connsiteX24" fmla="*/ 64596 w 2068339"/>
                <a:gd name="connsiteY24" fmla="*/ 53197 h 296582"/>
                <a:gd name="connsiteX25" fmla="*/ 64596 w 2068339"/>
                <a:gd name="connsiteY25" fmla="*/ 132992 h 296582"/>
                <a:gd name="connsiteX26" fmla="*/ 92595 w 2068339"/>
                <a:gd name="connsiteY26" fmla="*/ 132992 h 296582"/>
                <a:gd name="connsiteX27" fmla="*/ 125993 w 2068339"/>
                <a:gd name="connsiteY27" fmla="*/ 120993 h 296582"/>
                <a:gd name="connsiteX28" fmla="*/ 138792 w 2068339"/>
                <a:gd name="connsiteY28" fmla="*/ 90794 h 296582"/>
                <a:gd name="connsiteX29" fmla="*/ 93795 w 2068339"/>
                <a:gd name="connsiteY29" fmla="*/ 53197 h 296582"/>
                <a:gd name="connsiteX30" fmla="*/ 1587275 w 2068339"/>
                <a:gd name="connsiteY30" fmla="*/ 4800 h 296582"/>
                <a:gd name="connsiteX31" fmla="*/ 1652071 w 2068339"/>
                <a:gd name="connsiteY31" fmla="*/ 4800 h 296582"/>
                <a:gd name="connsiteX32" fmla="*/ 1652071 w 2068339"/>
                <a:gd name="connsiteY32" fmla="*/ 171190 h 296582"/>
                <a:gd name="connsiteX33" fmla="*/ 1706468 w 2068339"/>
                <a:gd name="connsiteY33" fmla="*/ 240785 h 296582"/>
                <a:gd name="connsiteX34" fmla="*/ 1759865 w 2068339"/>
                <a:gd name="connsiteY34" fmla="*/ 173589 h 296582"/>
                <a:gd name="connsiteX35" fmla="*/ 1759865 w 2068339"/>
                <a:gd name="connsiteY35" fmla="*/ 4800 h 296582"/>
                <a:gd name="connsiteX36" fmla="*/ 1824461 w 2068339"/>
                <a:gd name="connsiteY36" fmla="*/ 4800 h 296582"/>
                <a:gd name="connsiteX37" fmla="*/ 1824461 w 2068339"/>
                <a:gd name="connsiteY37" fmla="*/ 167390 h 296582"/>
                <a:gd name="connsiteX38" fmla="*/ 1704068 w 2068339"/>
                <a:gd name="connsiteY38" fmla="*/ 296582 h 296582"/>
                <a:gd name="connsiteX39" fmla="*/ 1587275 w 2068339"/>
                <a:gd name="connsiteY39" fmla="*/ 170390 h 296582"/>
                <a:gd name="connsiteX40" fmla="*/ 1009650 w 2068339"/>
                <a:gd name="connsiteY40" fmla="*/ 4800 h 296582"/>
                <a:gd name="connsiteX41" fmla="*/ 1112044 w 2068339"/>
                <a:gd name="connsiteY41" fmla="*/ 4800 h 296582"/>
                <a:gd name="connsiteX42" fmla="*/ 1216437 w 2068339"/>
                <a:gd name="connsiteY42" fmla="*/ 82795 h 296582"/>
                <a:gd name="connsiteX43" fmla="*/ 1211838 w 2068339"/>
                <a:gd name="connsiteY43" fmla="*/ 110493 h 296582"/>
                <a:gd name="connsiteX44" fmla="*/ 1198839 w 2068339"/>
                <a:gd name="connsiteY44" fmla="*/ 133392 h 296582"/>
                <a:gd name="connsiteX45" fmla="*/ 1178540 w 2068339"/>
                <a:gd name="connsiteY45" fmla="*/ 150991 h 296582"/>
                <a:gd name="connsiteX46" fmla="*/ 1152042 w 2068339"/>
                <a:gd name="connsiteY46" fmla="*/ 162590 h 296582"/>
                <a:gd name="connsiteX47" fmla="*/ 1152042 w 2068339"/>
                <a:gd name="connsiteY47" fmla="*/ 163390 h 296582"/>
                <a:gd name="connsiteX48" fmla="*/ 1164441 w 2068339"/>
                <a:gd name="connsiteY48" fmla="*/ 169890 h 296582"/>
                <a:gd name="connsiteX49" fmla="*/ 1176040 w 2068339"/>
                <a:gd name="connsiteY49" fmla="*/ 180389 h 296582"/>
                <a:gd name="connsiteX50" fmla="*/ 1186739 w 2068339"/>
                <a:gd name="connsiteY50" fmla="*/ 193288 h 296582"/>
                <a:gd name="connsiteX51" fmla="*/ 1196039 w 2068339"/>
                <a:gd name="connsiteY51" fmla="*/ 206787 h 296582"/>
                <a:gd name="connsiteX52" fmla="*/ 1250236 w 2068339"/>
                <a:gd name="connsiteY52" fmla="*/ 291582 h 296582"/>
                <a:gd name="connsiteX53" fmla="*/ 1176040 w 2068339"/>
                <a:gd name="connsiteY53" fmla="*/ 291582 h 296582"/>
                <a:gd name="connsiteX54" fmla="*/ 1131443 w 2068339"/>
                <a:gd name="connsiteY54" fmla="*/ 217787 h 296582"/>
                <a:gd name="connsiteX55" fmla="*/ 1121843 w 2068339"/>
                <a:gd name="connsiteY55" fmla="*/ 202788 h 296582"/>
                <a:gd name="connsiteX56" fmla="*/ 1112544 w 2068339"/>
                <a:gd name="connsiteY56" fmla="*/ 191488 h 296582"/>
                <a:gd name="connsiteX57" fmla="*/ 1102745 w 2068339"/>
                <a:gd name="connsiteY57" fmla="*/ 184289 h 296582"/>
                <a:gd name="connsiteX58" fmla="*/ 1091645 w 2068339"/>
                <a:gd name="connsiteY58" fmla="*/ 181789 h 296582"/>
                <a:gd name="connsiteX59" fmla="*/ 1074246 w 2068339"/>
                <a:gd name="connsiteY59" fmla="*/ 181789 h 296582"/>
                <a:gd name="connsiteX60" fmla="*/ 1074246 w 2068339"/>
                <a:gd name="connsiteY60" fmla="*/ 291582 h 296582"/>
                <a:gd name="connsiteX61" fmla="*/ 1009650 w 2068339"/>
                <a:gd name="connsiteY61" fmla="*/ 291582 h 296582"/>
                <a:gd name="connsiteX62" fmla="*/ 266700 w 2068339"/>
                <a:gd name="connsiteY62" fmla="*/ 4800 h 296582"/>
                <a:gd name="connsiteX63" fmla="*/ 331296 w 2068339"/>
                <a:gd name="connsiteY63" fmla="*/ 4800 h 296582"/>
                <a:gd name="connsiteX64" fmla="*/ 331296 w 2068339"/>
                <a:gd name="connsiteY64" fmla="*/ 291582 h 296582"/>
                <a:gd name="connsiteX65" fmla="*/ 266700 w 2068339"/>
                <a:gd name="connsiteY65" fmla="*/ 291582 h 296582"/>
                <a:gd name="connsiteX66" fmla="*/ 0 w 2068339"/>
                <a:gd name="connsiteY66" fmla="*/ 4800 h 296582"/>
                <a:gd name="connsiteX67" fmla="*/ 102394 w 2068339"/>
                <a:gd name="connsiteY67" fmla="*/ 4800 h 296582"/>
                <a:gd name="connsiteX68" fmla="*/ 206788 w 2068339"/>
                <a:gd name="connsiteY68" fmla="*/ 82795 h 296582"/>
                <a:gd name="connsiteX69" fmla="*/ 202188 w 2068339"/>
                <a:gd name="connsiteY69" fmla="*/ 110493 h 296582"/>
                <a:gd name="connsiteX70" fmla="*/ 189189 w 2068339"/>
                <a:gd name="connsiteY70" fmla="*/ 133392 h 296582"/>
                <a:gd name="connsiteX71" fmla="*/ 168890 w 2068339"/>
                <a:gd name="connsiteY71" fmla="*/ 150991 h 296582"/>
                <a:gd name="connsiteX72" fmla="*/ 142392 w 2068339"/>
                <a:gd name="connsiteY72" fmla="*/ 162590 h 296582"/>
                <a:gd name="connsiteX73" fmla="*/ 142392 w 2068339"/>
                <a:gd name="connsiteY73" fmla="*/ 163390 h 296582"/>
                <a:gd name="connsiteX74" fmla="*/ 154791 w 2068339"/>
                <a:gd name="connsiteY74" fmla="*/ 169890 h 296582"/>
                <a:gd name="connsiteX75" fmla="*/ 166390 w 2068339"/>
                <a:gd name="connsiteY75" fmla="*/ 180389 h 296582"/>
                <a:gd name="connsiteX76" fmla="*/ 177089 w 2068339"/>
                <a:gd name="connsiteY76" fmla="*/ 193288 h 296582"/>
                <a:gd name="connsiteX77" fmla="*/ 186389 w 2068339"/>
                <a:gd name="connsiteY77" fmla="*/ 206787 h 296582"/>
                <a:gd name="connsiteX78" fmla="*/ 240586 w 2068339"/>
                <a:gd name="connsiteY78" fmla="*/ 291582 h 296582"/>
                <a:gd name="connsiteX79" fmla="*/ 166390 w 2068339"/>
                <a:gd name="connsiteY79" fmla="*/ 291582 h 296582"/>
                <a:gd name="connsiteX80" fmla="*/ 121793 w 2068339"/>
                <a:gd name="connsiteY80" fmla="*/ 217787 h 296582"/>
                <a:gd name="connsiteX81" fmla="*/ 112193 w 2068339"/>
                <a:gd name="connsiteY81" fmla="*/ 202788 h 296582"/>
                <a:gd name="connsiteX82" fmla="*/ 102894 w 2068339"/>
                <a:gd name="connsiteY82" fmla="*/ 191488 h 296582"/>
                <a:gd name="connsiteX83" fmla="*/ 93095 w 2068339"/>
                <a:gd name="connsiteY83" fmla="*/ 184289 h 296582"/>
                <a:gd name="connsiteX84" fmla="*/ 81995 w 2068339"/>
                <a:gd name="connsiteY84" fmla="*/ 181789 h 296582"/>
                <a:gd name="connsiteX85" fmla="*/ 64596 w 2068339"/>
                <a:gd name="connsiteY85" fmla="*/ 181789 h 296582"/>
                <a:gd name="connsiteX86" fmla="*/ 64596 w 2068339"/>
                <a:gd name="connsiteY86" fmla="*/ 291582 h 296582"/>
                <a:gd name="connsiteX87" fmla="*/ 0 w 2068339"/>
                <a:gd name="connsiteY87" fmla="*/ 291582 h 296582"/>
                <a:gd name="connsiteX88" fmla="*/ 1984144 w 2068339"/>
                <a:gd name="connsiteY88" fmla="*/ 0 h 296582"/>
                <a:gd name="connsiteX89" fmla="*/ 2023842 w 2068339"/>
                <a:gd name="connsiteY89" fmla="*/ 2700 h 296582"/>
                <a:gd name="connsiteX90" fmla="*/ 2055740 w 2068339"/>
                <a:gd name="connsiteY90" fmla="*/ 10999 h 296582"/>
                <a:gd name="connsiteX91" fmla="*/ 2055740 w 2068339"/>
                <a:gd name="connsiteY91" fmla="*/ 70796 h 296582"/>
                <a:gd name="connsiteX92" fmla="*/ 2040041 w 2068339"/>
                <a:gd name="connsiteY92" fmla="*/ 61996 h 296582"/>
                <a:gd name="connsiteX93" fmla="*/ 2022542 w 2068339"/>
                <a:gd name="connsiteY93" fmla="*/ 55697 h 296582"/>
                <a:gd name="connsiteX94" fmla="*/ 2004643 w 2068339"/>
                <a:gd name="connsiteY94" fmla="*/ 51997 h 296582"/>
                <a:gd name="connsiteX95" fmla="*/ 1987744 w 2068339"/>
                <a:gd name="connsiteY95" fmla="*/ 50797 h 296582"/>
                <a:gd name="connsiteX96" fmla="*/ 1967745 w 2068339"/>
                <a:gd name="connsiteY96" fmla="*/ 52897 h 296582"/>
                <a:gd name="connsiteX97" fmla="*/ 1952546 w 2068339"/>
                <a:gd name="connsiteY97" fmla="*/ 58796 h 296582"/>
                <a:gd name="connsiteX98" fmla="*/ 1942947 w 2068339"/>
                <a:gd name="connsiteY98" fmla="*/ 67896 h 296582"/>
                <a:gd name="connsiteX99" fmla="*/ 1939547 w 2068339"/>
                <a:gd name="connsiteY99" fmla="*/ 79795 h 296582"/>
                <a:gd name="connsiteX100" fmla="*/ 1943347 w 2068339"/>
                <a:gd name="connsiteY100" fmla="*/ 92694 h 296582"/>
                <a:gd name="connsiteX101" fmla="*/ 1954146 w 2068339"/>
                <a:gd name="connsiteY101" fmla="*/ 103494 h 296582"/>
                <a:gd name="connsiteX102" fmla="*/ 1971145 w 2068339"/>
                <a:gd name="connsiteY102" fmla="*/ 113493 h 296582"/>
                <a:gd name="connsiteX103" fmla="*/ 1993743 w 2068339"/>
                <a:gd name="connsiteY103" fmla="*/ 123592 h 296582"/>
                <a:gd name="connsiteX104" fmla="*/ 2024642 w 2068339"/>
                <a:gd name="connsiteY104" fmla="*/ 138892 h 296582"/>
                <a:gd name="connsiteX105" fmla="*/ 2048140 w 2068339"/>
                <a:gd name="connsiteY105" fmla="*/ 157190 h 296582"/>
                <a:gd name="connsiteX106" fmla="*/ 2063139 w 2068339"/>
                <a:gd name="connsiteY106" fmla="*/ 180489 h 296582"/>
                <a:gd name="connsiteX107" fmla="*/ 2068339 w 2068339"/>
                <a:gd name="connsiteY107" fmla="*/ 210987 h 296582"/>
                <a:gd name="connsiteX108" fmla="*/ 2059239 w 2068339"/>
                <a:gd name="connsiteY108" fmla="*/ 251285 h 296582"/>
                <a:gd name="connsiteX109" fmla="*/ 2034541 w 2068339"/>
                <a:gd name="connsiteY109" fmla="*/ 277683 h 296582"/>
                <a:gd name="connsiteX110" fmla="*/ 1998243 w 2068339"/>
                <a:gd name="connsiteY110" fmla="*/ 292182 h 296582"/>
                <a:gd name="connsiteX111" fmla="*/ 1954546 w 2068339"/>
                <a:gd name="connsiteY111" fmla="*/ 296582 h 296582"/>
                <a:gd name="connsiteX112" fmla="*/ 1909649 w 2068339"/>
                <a:gd name="connsiteY112" fmla="*/ 292582 h 296582"/>
                <a:gd name="connsiteX113" fmla="*/ 1872751 w 2068339"/>
                <a:gd name="connsiteY113" fmla="*/ 280583 h 296582"/>
                <a:gd name="connsiteX114" fmla="*/ 1872751 w 2068339"/>
                <a:gd name="connsiteY114" fmla="*/ 216587 h 296582"/>
                <a:gd name="connsiteX115" fmla="*/ 1910549 w 2068339"/>
                <a:gd name="connsiteY115" fmla="*/ 238485 h 296582"/>
                <a:gd name="connsiteX116" fmla="*/ 1951746 w 2068339"/>
                <a:gd name="connsiteY116" fmla="*/ 245785 h 296582"/>
                <a:gd name="connsiteX117" fmla="*/ 1973045 w 2068339"/>
                <a:gd name="connsiteY117" fmla="*/ 243585 h 296582"/>
                <a:gd name="connsiteX118" fmla="*/ 1988244 w 2068339"/>
                <a:gd name="connsiteY118" fmla="*/ 237486 h 296582"/>
                <a:gd name="connsiteX119" fmla="*/ 1997343 w 2068339"/>
                <a:gd name="connsiteY119" fmla="*/ 228286 h 296582"/>
                <a:gd name="connsiteX120" fmla="*/ 2000343 w 2068339"/>
                <a:gd name="connsiteY120" fmla="*/ 216787 h 296582"/>
                <a:gd name="connsiteX121" fmla="*/ 1995543 w 2068339"/>
                <a:gd name="connsiteY121" fmla="*/ 201788 h 296582"/>
                <a:gd name="connsiteX122" fmla="*/ 1982444 w 2068339"/>
                <a:gd name="connsiteY122" fmla="*/ 189588 h 296582"/>
                <a:gd name="connsiteX123" fmla="*/ 1962745 w 2068339"/>
                <a:gd name="connsiteY123" fmla="*/ 178789 h 296582"/>
                <a:gd name="connsiteX124" fmla="*/ 1938147 w 2068339"/>
                <a:gd name="connsiteY124" fmla="*/ 168190 h 296582"/>
                <a:gd name="connsiteX125" fmla="*/ 1888050 w 2068339"/>
                <a:gd name="connsiteY125" fmla="*/ 133992 h 296582"/>
                <a:gd name="connsiteX126" fmla="*/ 1871551 w 2068339"/>
                <a:gd name="connsiteY126" fmla="*/ 85195 h 296582"/>
                <a:gd name="connsiteX127" fmla="*/ 1880550 w 2068339"/>
                <a:gd name="connsiteY127" fmla="*/ 46697 h 296582"/>
                <a:gd name="connsiteX128" fmla="*/ 1905049 w 2068339"/>
                <a:gd name="connsiteY128" fmla="*/ 20199 h 296582"/>
                <a:gd name="connsiteX129" fmla="*/ 1940947 w 2068339"/>
                <a:gd name="connsiteY129" fmla="*/ 4900 h 296582"/>
                <a:gd name="connsiteX130" fmla="*/ 1984144 w 2068339"/>
                <a:gd name="connsiteY130" fmla="*/ 0 h 296582"/>
                <a:gd name="connsiteX131" fmla="*/ 1402143 w 2068339"/>
                <a:gd name="connsiteY131" fmla="*/ 0 h 296582"/>
                <a:gd name="connsiteX132" fmla="*/ 1501437 w 2068339"/>
                <a:gd name="connsiteY132" fmla="*/ 40198 h 296582"/>
                <a:gd name="connsiteX133" fmla="*/ 1539334 w 2068339"/>
                <a:gd name="connsiteY133" fmla="*/ 146191 h 296582"/>
                <a:gd name="connsiteX134" fmla="*/ 1500036 w 2068339"/>
                <a:gd name="connsiteY134" fmla="*/ 255184 h 296582"/>
                <a:gd name="connsiteX135" fmla="*/ 1397543 w 2068339"/>
                <a:gd name="connsiteY135" fmla="*/ 296582 h 296582"/>
                <a:gd name="connsiteX136" fmla="*/ 1297149 w 2068339"/>
                <a:gd name="connsiteY136" fmla="*/ 256484 h 296582"/>
                <a:gd name="connsiteX137" fmla="*/ 1258351 w 2068339"/>
                <a:gd name="connsiteY137" fmla="*/ 151991 h 296582"/>
                <a:gd name="connsiteX138" fmla="*/ 1297749 w 2068339"/>
                <a:gd name="connsiteY138" fmla="*/ 41997 h 296582"/>
                <a:gd name="connsiteX139" fmla="*/ 1402143 w 2068339"/>
                <a:gd name="connsiteY139" fmla="*/ 0 h 296582"/>
                <a:gd name="connsiteX140" fmla="*/ 821117 w 2068339"/>
                <a:gd name="connsiteY140" fmla="*/ 0 h 296582"/>
                <a:gd name="connsiteX141" fmla="*/ 920411 w 2068339"/>
                <a:gd name="connsiteY141" fmla="*/ 40198 h 296582"/>
                <a:gd name="connsiteX142" fmla="*/ 958309 w 2068339"/>
                <a:gd name="connsiteY142" fmla="*/ 146191 h 296582"/>
                <a:gd name="connsiteX143" fmla="*/ 919011 w 2068339"/>
                <a:gd name="connsiteY143" fmla="*/ 255184 h 296582"/>
                <a:gd name="connsiteX144" fmla="*/ 816518 w 2068339"/>
                <a:gd name="connsiteY144" fmla="*/ 296582 h 296582"/>
                <a:gd name="connsiteX145" fmla="*/ 716124 w 2068339"/>
                <a:gd name="connsiteY145" fmla="*/ 256484 h 296582"/>
                <a:gd name="connsiteX146" fmla="*/ 677326 w 2068339"/>
                <a:gd name="connsiteY146" fmla="*/ 151991 h 296582"/>
                <a:gd name="connsiteX147" fmla="*/ 716724 w 2068339"/>
                <a:gd name="connsiteY147" fmla="*/ 41997 h 296582"/>
                <a:gd name="connsiteX148" fmla="*/ 821117 w 2068339"/>
                <a:gd name="connsiteY148" fmla="*/ 0 h 296582"/>
                <a:gd name="connsiteX149" fmla="*/ 541642 w 2068339"/>
                <a:gd name="connsiteY149" fmla="*/ 0 h 296582"/>
                <a:gd name="connsiteX150" fmla="*/ 622037 w 2068339"/>
                <a:gd name="connsiteY150" fmla="*/ 12599 h 296582"/>
                <a:gd name="connsiteX151" fmla="*/ 622037 w 2068339"/>
                <a:gd name="connsiteY151" fmla="*/ 73196 h 296582"/>
                <a:gd name="connsiteX152" fmla="*/ 540842 w 2068339"/>
                <a:gd name="connsiteY152" fmla="*/ 53997 h 296582"/>
                <a:gd name="connsiteX153" fmla="*/ 475346 w 2068339"/>
                <a:gd name="connsiteY153" fmla="*/ 80095 h 296582"/>
                <a:gd name="connsiteX154" fmla="*/ 450047 w 2068339"/>
                <a:gd name="connsiteY154" fmla="*/ 149791 h 296582"/>
                <a:gd name="connsiteX155" fmla="*/ 472746 w 2068339"/>
                <a:gd name="connsiteY155" fmla="*/ 218187 h 296582"/>
                <a:gd name="connsiteX156" fmla="*/ 534042 w 2068339"/>
                <a:gd name="connsiteY156" fmla="*/ 242385 h 296582"/>
                <a:gd name="connsiteX157" fmla="*/ 570840 w 2068339"/>
                <a:gd name="connsiteY157" fmla="*/ 235786 h 296582"/>
                <a:gd name="connsiteX158" fmla="*/ 570840 w 2068339"/>
                <a:gd name="connsiteY158" fmla="*/ 179789 h 296582"/>
                <a:gd name="connsiteX159" fmla="*/ 513443 w 2068339"/>
                <a:gd name="connsiteY159" fmla="*/ 179789 h 296582"/>
                <a:gd name="connsiteX160" fmla="*/ 513443 w 2068339"/>
                <a:gd name="connsiteY160" fmla="*/ 128192 h 296582"/>
                <a:gd name="connsiteX161" fmla="*/ 635436 w 2068339"/>
                <a:gd name="connsiteY161" fmla="*/ 128192 h 296582"/>
                <a:gd name="connsiteX162" fmla="*/ 635436 w 2068339"/>
                <a:gd name="connsiteY162" fmla="*/ 272383 h 296582"/>
                <a:gd name="connsiteX163" fmla="*/ 531042 w 2068339"/>
                <a:gd name="connsiteY163" fmla="*/ 296582 h 296582"/>
                <a:gd name="connsiteX164" fmla="*/ 421949 w 2068339"/>
                <a:gd name="connsiteY164" fmla="*/ 258284 h 296582"/>
                <a:gd name="connsiteX165" fmla="*/ 382051 w 2068339"/>
                <a:gd name="connsiteY165" fmla="*/ 152791 h 296582"/>
                <a:gd name="connsiteX166" fmla="*/ 425649 w 2068339"/>
                <a:gd name="connsiteY166" fmla="*/ 42597 h 296582"/>
                <a:gd name="connsiteX167" fmla="*/ 541642 w 2068339"/>
                <a:gd name="connsiteY167" fmla="*/ 0 h 2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2068339" h="296582">
                  <a:moveTo>
                    <a:pt x="1400343" y="55597"/>
                  </a:moveTo>
                  <a:cubicBezTo>
                    <a:pt x="1377677" y="55597"/>
                    <a:pt x="1359678" y="64096"/>
                    <a:pt x="1346346" y="81095"/>
                  </a:cubicBezTo>
                  <a:cubicBezTo>
                    <a:pt x="1333013" y="98094"/>
                    <a:pt x="1326347" y="120593"/>
                    <a:pt x="1326347" y="148591"/>
                  </a:cubicBezTo>
                  <a:cubicBezTo>
                    <a:pt x="1326347" y="176989"/>
                    <a:pt x="1333013" y="199454"/>
                    <a:pt x="1346346" y="215987"/>
                  </a:cubicBezTo>
                  <a:cubicBezTo>
                    <a:pt x="1359678" y="232519"/>
                    <a:pt x="1377144" y="240785"/>
                    <a:pt x="1398743" y="240785"/>
                  </a:cubicBezTo>
                  <a:cubicBezTo>
                    <a:pt x="1421008" y="240785"/>
                    <a:pt x="1438673" y="232752"/>
                    <a:pt x="1451740" y="216687"/>
                  </a:cubicBezTo>
                  <a:cubicBezTo>
                    <a:pt x="1464805" y="200621"/>
                    <a:pt x="1471338" y="178322"/>
                    <a:pt x="1471338" y="149791"/>
                  </a:cubicBezTo>
                  <a:cubicBezTo>
                    <a:pt x="1471338" y="120059"/>
                    <a:pt x="1465005" y="96927"/>
                    <a:pt x="1452340" y="80395"/>
                  </a:cubicBezTo>
                  <a:cubicBezTo>
                    <a:pt x="1439674" y="63863"/>
                    <a:pt x="1422341" y="55597"/>
                    <a:pt x="1400343" y="55597"/>
                  </a:cubicBezTo>
                  <a:close/>
                  <a:moveTo>
                    <a:pt x="819318" y="55597"/>
                  </a:moveTo>
                  <a:cubicBezTo>
                    <a:pt x="796652" y="55597"/>
                    <a:pt x="778653" y="64096"/>
                    <a:pt x="765321" y="81095"/>
                  </a:cubicBezTo>
                  <a:cubicBezTo>
                    <a:pt x="751988" y="98094"/>
                    <a:pt x="745322" y="120593"/>
                    <a:pt x="745322" y="148591"/>
                  </a:cubicBezTo>
                  <a:cubicBezTo>
                    <a:pt x="745322" y="176989"/>
                    <a:pt x="751988" y="199454"/>
                    <a:pt x="765321" y="215987"/>
                  </a:cubicBezTo>
                  <a:cubicBezTo>
                    <a:pt x="778653" y="232519"/>
                    <a:pt x="796119" y="240785"/>
                    <a:pt x="817718" y="240785"/>
                  </a:cubicBezTo>
                  <a:cubicBezTo>
                    <a:pt x="839983" y="240785"/>
                    <a:pt x="857649" y="232752"/>
                    <a:pt x="870715" y="216687"/>
                  </a:cubicBezTo>
                  <a:cubicBezTo>
                    <a:pt x="883780" y="200621"/>
                    <a:pt x="890313" y="178322"/>
                    <a:pt x="890313" y="149791"/>
                  </a:cubicBezTo>
                  <a:cubicBezTo>
                    <a:pt x="890313" y="120059"/>
                    <a:pt x="883980" y="96927"/>
                    <a:pt x="871314" y="80395"/>
                  </a:cubicBezTo>
                  <a:cubicBezTo>
                    <a:pt x="858649" y="63863"/>
                    <a:pt x="841316" y="55597"/>
                    <a:pt x="819318" y="55597"/>
                  </a:cubicBezTo>
                  <a:close/>
                  <a:moveTo>
                    <a:pt x="1074246" y="53197"/>
                  </a:moveTo>
                  <a:lnTo>
                    <a:pt x="1074246" y="132992"/>
                  </a:lnTo>
                  <a:lnTo>
                    <a:pt x="1102244" y="132992"/>
                  </a:lnTo>
                  <a:cubicBezTo>
                    <a:pt x="1116110" y="132992"/>
                    <a:pt x="1127243" y="128992"/>
                    <a:pt x="1135642" y="120993"/>
                  </a:cubicBezTo>
                  <a:cubicBezTo>
                    <a:pt x="1144175" y="112860"/>
                    <a:pt x="1148442" y="102794"/>
                    <a:pt x="1148442" y="90794"/>
                  </a:cubicBezTo>
                  <a:cubicBezTo>
                    <a:pt x="1148442" y="65729"/>
                    <a:pt x="1133443" y="53197"/>
                    <a:pt x="1103444" y="53197"/>
                  </a:cubicBezTo>
                  <a:close/>
                  <a:moveTo>
                    <a:pt x="64596" y="53197"/>
                  </a:moveTo>
                  <a:lnTo>
                    <a:pt x="64596" y="132992"/>
                  </a:lnTo>
                  <a:lnTo>
                    <a:pt x="92595" y="132992"/>
                  </a:lnTo>
                  <a:cubicBezTo>
                    <a:pt x="106460" y="132992"/>
                    <a:pt x="117593" y="128992"/>
                    <a:pt x="125993" y="120993"/>
                  </a:cubicBezTo>
                  <a:cubicBezTo>
                    <a:pt x="134525" y="112860"/>
                    <a:pt x="138792" y="102794"/>
                    <a:pt x="138792" y="90794"/>
                  </a:cubicBezTo>
                  <a:cubicBezTo>
                    <a:pt x="138792" y="65729"/>
                    <a:pt x="123793" y="53197"/>
                    <a:pt x="93795" y="53197"/>
                  </a:cubicBezTo>
                  <a:close/>
                  <a:moveTo>
                    <a:pt x="1587275" y="4800"/>
                  </a:moveTo>
                  <a:lnTo>
                    <a:pt x="1652071" y="4800"/>
                  </a:lnTo>
                  <a:lnTo>
                    <a:pt x="1652071" y="171190"/>
                  </a:lnTo>
                  <a:cubicBezTo>
                    <a:pt x="1652071" y="217587"/>
                    <a:pt x="1670204" y="240785"/>
                    <a:pt x="1706468" y="240785"/>
                  </a:cubicBezTo>
                  <a:cubicBezTo>
                    <a:pt x="1742066" y="240785"/>
                    <a:pt x="1759865" y="218387"/>
                    <a:pt x="1759865" y="173589"/>
                  </a:cubicBezTo>
                  <a:lnTo>
                    <a:pt x="1759865" y="4800"/>
                  </a:lnTo>
                  <a:lnTo>
                    <a:pt x="1824461" y="4800"/>
                  </a:lnTo>
                  <a:lnTo>
                    <a:pt x="1824461" y="167390"/>
                  </a:lnTo>
                  <a:cubicBezTo>
                    <a:pt x="1824461" y="253518"/>
                    <a:pt x="1784330" y="296582"/>
                    <a:pt x="1704068" y="296582"/>
                  </a:cubicBezTo>
                  <a:cubicBezTo>
                    <a:pt x="1626207" y="296582"/>
                    <a:pt x="1587275" y="254518"/>
                    <a:pt x="1587275" y="170390"/>
                  </a:cubicBezTo>
                  <a:close/>
                  <a:moveTo>
                    <a:pt x="1009650" y="4800"/>
                  </a:moveTo>
                  <a:lnTo>
                    <a:pt x="1112044" y="4800"/>
                  </a:lnTo>
                  <a:cubicBezTo>
                    <a:pt x="1181640" y="4800"/>
                    <a:pt x="1216437" y="30798"/>
                    <a:pt x="1216437" y="82795"/>
                  </a:cubicBezTo>
                  <a:cubicBezTo>
                    <a:pt x="1216437" y="92794"/>
                    <a:pt x="1214904" y="102027"/>
                    <a:pt x="1211838" y="110493"/>
                  </a:cubicBezTo>
                  <a:cubicBezTo>
                    <a:pt x="1208771" y="118959"/>
                    <a:pt x="1204438" y="126592"/>
                    <a:pt x="1198839" y="133392"/>
                  </a:cubicBezTo>
                  <a:cubicBezTo>
                    <a:pt x="1193239" y="140191"/>
                    <a:pt x="1186473" y="146058"/>
                    <a:pt x="1178540" y="150991"/>
                  </a:cubicBezTo>
                  <a:cubicBezTo>
                    <a:pt x="1170607" y="155924"/>
                    <a:pt x="1161774" y="159790"/>
                    <a:pt x="1152042" y="162590"/>
                  </a:cubicBezTo>
                  <a:lnTo>
                    <a:pt x="1152042" y="163390"/>
                  </a:lnTo>
                  <a:cubicBezTo>
                    <a:pt x="1156308" y="164723"/>
                    <a:pt x="1160441" y="166890"/>
                    <a:pt x="1164441" y="169890"/>
                  </a:cubicBezTo>
                  <a:cubicBezTo>
                    <a:pt x="1168440" y="172889"/>
                    <a:pt x="1172307" y="176389"/>
                    <a:pt x="1176040" y="180389"/>
                  </a:cubicBezTo>
                  <a:cubicBezTo>
                    <a:pt x="1179773" y="184389"/>
                    <a:pt x="1183340" y="188688"/>
                    <a:pt x="1186739" y="193288"/>
                  </a:cubicBezTo>
                  <a:cubicBezTo>
                    <a:pt x="1190139" y="197888"/>
                    <a:pt x="1193239" y="202388"/>
                    <a:pt x="1196039" y="206787"/>
                  </a:cubicBezTo>
                  <a:lnTo>
                    <a:pt x="1250236" y="291582"/>
                  </a:lnTo>
                  <a:lnTo>
                    <a:pt x="1176040" y="291582"/>
                  </a:lnTo>
                  <a:lnTo>
                    <a:pt x="1131443" y="217787"/>
                  </a:lnTo>
                  <a:cubicBezTo>
                    <a:pt x="1128110" y="212187"/>
                    <a:pt x="1124910" y="207187"/>
                    <a:pt x="1121843" y="202788"/>
                  </a:cubicBezTo>
                  <a:cubicBezTo>
                    <a:pt x="1118777" y="198388"/>
                    <a:pt x="1115677" y="194621"/>
                    <a:pt x="1112544" y="191488"/>
                  </a:cubicBezTo>
                  <a:cubicBezTo>
                    <a:pt x="1109411" y="188355"/>
                    <a:pt x="1106144" y="185955"/>
                    <a:pt x="1102745" y="184289"/>
                  </a:cubicBezTo>
                  <a:cubicBezTo>
                    <a:pt x="1099345" y="182622"/>
                    <a:pt x="1095645" y="181789"/>
                    <a:pt x="1091645" y="181789"/>
                  </a:cubicBezTo>
                  <a:lnTo>
                    <a:pt x="1074246" y="181789"/>
                  </a:lnTo>
                  <a:lnTo>
                    <a:pt x="1074246" y="291582"/>
                  </a:lnTo>
                  <a:lnTo>
                    <a:pt x="1009650" y="291582"/>
                  </a:lnTo>
                  <a:close/>
                  <a:moveTo>
                    <a:pt x="266700" y="4800"/>
                  </a:moveTo>
                  <a:lnTo>
                    <a:pt x="331296" y="4800"/>
                  </a:lnTo>
                  <a:lnTo>
                    <a:pt x="331296" y="291582"/>
                  </a:lnTo>
                  <a:lnTo>
                    <a:pt x="266700" y="291582"/>
                  </a:lnTo>
                  <a:close/>
                  <a:moveTo>
                    <a:pt x="0" y="4800"/>
                  </a:moveTo>
                  <a:lnTo>
                    <a:pt x="102394" y="4800"/>
                  </a:lnTo>
                  <a:cubicBezTo>
                    <a:pt x="171990" y="4800"/>
                    <a:pt x="206788" y="30798"/>
                    <a:pt x="206788" y="82795"/>
                  </a:cubicBezTo>
                  <a:cubicBezTo>
                    <a:pt x="206788" y="92794"/>
                    <a:pt x="205254" y="102027"/>
                    <a:pt x="202188" y="110493"/>
                  </a:cubicBezTo>
                  <a:cubicBezTo>
                    <a:pt x="199121" y="118959"/>
                    <a:pt x="194788" y="126592"/>
                    <a:pt x="189189" y="133392"/>
                  </a:cubicBezTo>
                  <a:cubicBezTo>
                    <a:pt x="183589" y="140191"/>
                    <a:pt x="176823" y="146058"/>
                    <a:pt x="168890" y="150991"/>
                  </a:cubicBezTo>
                  <a:cubicBezTo>
                    <a:pt x="160957" y="155924"/>
                    <a:pt x="152124" y="159790"/>
                    <a:pt x="142392" y="162590"/>
                  </a:cubicBezTo>
                  <a:lnTo>
                    <a:pt x="142392" y="163390"/>
                  </a:lnTo>
                  <a:cubicBezTo>
                    <a:pt x="146658" y="164723"/>
                    <a:pt x="150791" y="166890"/>
                    <a:pt x="154791" y="169890"/>
                  </a:cubicBezTo>
                  <a:cubicBezTo>
                    <a:pt x="158791" y="172889"/>
                    <a:pt x="162657" y="176389"/>
                    <a:pt x="166390" y="180389"/>
                  </a:cubicBezTo>
                  <a:cubicBezTo>
                    <a:pt x="170123" y="184389"/>
                    <a:pt x="173690" y="188688"/>
                    <a:pt x="177089" y="193288"/>
                  </a:cubicBezTo>
                  <a:cubicBezTo>
                    <a:pt x="180489" y="197888"/>
                    <a:pt x="183589" y="202388"/>
                    <a:pt x="186389" y="206787"/>
                  </a:cubicBezTo>
                  <a:lnTo>
                    <a:pt x="240586" y="291582"/>
                  </a:lnTo>
                  <a:lnTo>
                    <a:pt x="166390" y="291582"/>
                  </a:lnTo>
                  <a:lnTo>
                    <a:pt x="121793" y="217787"/>
                  </a:lnTo>
                  <a:cubicBezTo>
                    <a:pt x="118460" y="212187"/>
                    <a:pt x="115260" y="207187"/>
                    <a:pt x="112193" y="202788"/>
                  </a:cubicBezTo>
                  <a:cubicBezTo>
                    <a:pt x="109127" y="198388"/>
                    <a:pt x="106027" y="194621"/>
                    <a:pt x="102894" y="191488"/>
                  </a:cubicBezTo>
                  <a:cubicBezTo>
                    <a:pt x="99761" y="188355"/>
                    <a:pt x="96494" y="185955"/>
                    <a:pt x="93095" y="184289"/>
                  </a:cubicBezTo>
                  <a:cubicBezTo>
                    <a:pt x="89695" y="182622"/>
                    <a:pt x="85995" y="181789"/>
                    <a:pt x="81995" y="181789"/>
                  </a:cubicBezTo>
                  <a:lnTo>
                    <a:pt x="64596" y="181789"/>
                  </a:lnTo>
                  <a:lnTo>
                    <a:pt x="64596" y="291582"/>
                  </a:lnTo>
                  <a:lnTo>
                    <a:pt x="0" y="291582"/>
                  </a:lnTo>
                  <a:close/>
                  <a:moveTo>
                    <a:pt x="1984144" y="0"/>
                  </a:moveTo>
                  <a:cubicBezTo>
                    <a:pt x="1999077" y="0"/>
                    <a:pt x="2012309" y="900"/>
                    <a:pt x="2023842" y="2700"/>
                  </a:cubicBezTo>
                  <a:cubicBezTo>
                    <a:pt x="2035374" y="4500"/>
                    <a:pt x="2046007" y="7266"/>
                    <a:pt x="2055740" y="10999"/>
                  </a:cubicBezTo>
                  <a:lnTo>
                    <a:pt x="2055740" y="70796"/>
                  </a:lnTo>
                  <a:cubicBezTo>
                    <a:pt x="2050940" y="67463"/>
                    <a:pt x="2045707" y="64529"/>
                    <a:pt x="2040041" y="61996"/>
                  </a:cubicBezTo>
                  <a:cubicBezTo>
                    <a:pt x="2034374" y="59463"/>
                    <a:pt x="2028541" y="57363"/>
                    <a:pt x="2022542" y="55697"/>
                  </a:cubicBezTo>
                  <a:cubicBezTo>
                    <a:pt x="2016542" y="54030"/>
                    <a:pt x="2010576" y="52797"/>
                    <a:pt x="2004643" y="51997"/>
                  </a:cubicBezTo>
                  <a:cubicBezTo>
                    <a:pt x="1998710" y="51197"/>
                    <a:pt x="1993077" y="50797"/>
                    <a:pt x="1987744" y="50797"/>
                  </a:cubicBezTo>
                  <a:cubicBezTo>
                    <a:pt x="1980411" y="50797"/>
                    <a:pt x="1973745" y="51497"/>
                    <a:pt x="1967745" y="52897"/>
                  </a:cubicBezTo>
                  <a:cubicBezTo>
                    <a:pt x="1961745" y="54297"/>
                    <a:pt x="1956679" y="56263"/>
                    <a:pt x="1952546" y="58796"/>
                  </a:cubicBezTo>
                  <a:cubicBezTo>
                    <a:pt x="1948413" y="61330"/>
                    <a:pt x="1945213" y="64363"/>
                    <a:pt x="1942947" y="67896"/>
                  </a:cubicBezTo>
                  <a:cubicBezTo>
                    <a:pt x="1940680" y="71429"/>
                    <a:pt x="1939547" y="75395"/>
                    <a:pt x="1939547" y="79795"/>
                  </a:cubicBezTo>
                  <a:cubicBezTo>
                    <a:pt x="1939547" y="84595"/>
                    <a:pt x="1940814" y="88895"/>
                    <a:pt x="1943347" y="92694"/>
                  </a:cubicBezTo>
                  <a:cubicBezTo>
                    <a:pt x="1945880" y="96494"/>
                    <a:pt x="1949480" y="100094"/>
                    <a:pt x="1954146" y="103494"/>
                  </a:cubicBezTo>
                  <a:cubicBezTo>
                    <a:pt x="1958813" y="106893"/>
                    <a:pt x="1964479" y="110227"/>
                    <a:pt x="1971145" y="113493"/>
                  </a:cubicBezTo>
                  <a:cubicBezTo>
                    <a:pt x="1977811" y="116759"/>
                    <a:pt x="1985344" y="120126"/>
                    <a:pt x="1993743" y="123592"/>
                  </a:cubicBezTo>
                  <a:cubicBezTo>
                    <a:pt x="2005210" y="128392"/>
                    <a:pt x="2015509" y="133492"/>
                    <a:pt x="2024642" y="138892"/>
                  </a:cubicBezTo>
                  <a:cubicBezTo>
                    <a:pt x="2033774" y="144291"/>
                    <a:pt x="2041607" y="150391"/>
                    <a:pt x="2048140" y="157190"/>
                  </a:cubicBezTo>
                  <a:cubicBezTo>
                    <a:pt x="2054673" y="163990"/>
                    <a:pt x="2059673" y="171756"/>
                    <a:pt x="2063139" y="180489"/>
                  </a:cubicBezTo>
                  <a:cubicBezTo>
                    <a:pt x="2066606" y="189222"/>
                    <a:pt x="2068339" y="199388"/>
                    <a:pt x="2068339" y="210987"/>
                  </a:cubicBezTo>
                  <a:cubicBezTo>
                    <a:pt x="2068339" y="226986"/>
                    <a:pt x="2065306" y="240419"/>
                    <a:pt x="2059239" y="251285"/>
                  </a:cubicBezTo>
                  <a:cubicBezTo>
                    <a:pt x="2053173" y="262151"/>
                    <a:pt x="2044940" y="270950"/>
                    <a:pt x="2034541" y="277683"/>
                  </a:cubicBezTo>
                  <a:cubicBezTo>
                    <a:pt x="2024142" y="284416"/>
                    <a:pt x="2012042" y="289249"/>
                    <a:pt x="1998243" y="292182"/>
                  </a:cubicBezTo>
                  <a:cubicBezTo>
                    <a:pt x="1984444" y="295115"/>
                    <a:pt x="1969878" y="296582"/>
                    <a:pt x="1954546" y="296582"/>
                  </a:cubicBezTo>
                  <a:cubicBezTo>
                    <a:pt x="1938814" y="296582"/>
                    <a:pt x="1923848" y="295249"/>
                    <a:pt x="1909649" y="292582"/>
                  </a:cubicBezTo>
                  <a:cubicBezTo>
                    <a:pt x="1895450" y="289916"/>
                    <a:pt x="1883150" y="285916"/>
                    <a:pt x="1872751" y="280583"/>
                  </a:cubicBezTo>
                  <a:lnTo>
                    <a:pt x="1872751" y="216587"/>
                  </a:lnTo>
                  <a:cubicBezTo>
                    <a:pt x="1884350" y="226319"/>
                    <a:pt x="1896949" y="233619"/>
                    <a:pt x="1910549" y="238485"/>
                  </a:cubicBezTo>
                  <a:cubicBezTo>
                    <a:pt x="1924148" y="243352"/>
                    <a:pt x="1937880" y="245785"/>
                    <a:pt x="1951746" y="245785"/>
                  </a:cubicBezTo>
                  <a:cubicBezTo>
                    <a:pt x="1959879" y="245785"/>
                    <a:pt x="1966979" y="245052"/>
                    <a:pt x="1973045" y="243585"/>
                  </a:cubicBezTo>
                  <a:cubicBezTo>
                    <a:pt x="1979111" y="242119"/>
                    <a:pt x="1984177" y="240085"/>
                    <a:pt x="1988244" y="237486"/>
                  </a:cubicBezTo>
                  <a:cubicBezTo>
                    <a:pt x="1992310" y="234886"/>
                    <a:pt x="1995343" y="231819"/>
                    <a:pt x="1997343" y="228286"/>
                  </a:cubicBezTo>
                  <a:cubicBezTo>
                    <a:pt x="1999343" y="224753"/>
                    <a:pt x="2000343" y="220920"/>
                    <a:pt x="2000343" y="216787"/>
                  </a:cubicBezTo>
                  <a:cubicBezTo>
                    <a:pt x="2000343" y="211187"/>
                    <a:pt x="1998743" y="206187"/>
                    <a:pt x="1995543" y="201788"/>
                  </a:cubicBezTo>
                  <a:cubicBezTo>
                    <a:pt x="1992344" y="197388"/>
                    <a:pt x="1987977" y="193321"/>
                    <a:pt x="1982444" y="189588"/>
                  </a:cubicBezTo>
                  <a:cubicBezTo>
                    <a:pt x="1976911" y="185855"/>
                    <a:pt x="1970345" y="182255"/>
                    <a:pt x="1962745" y="178789"/>
                  </a:cubicBezTo>
                  <a:cubicBezTo>
                    <a:pt x="1955146" y="175323"/>
                    <a:pt x="1946946" y="171790"/>
                    <a:pt x="1938147" y="168190"/>
                  </a:cubicBezTo>
                  <a:cubicBezTo>
                    <a:pt x="1915748" y="158857"/>
                    <a:pt x="1899049" y="147458"/>
                    <a:pt x="1888050" y="133992"/>
                  </a:cubicBezTo>
                  <a:cubicBezTo>
                    <a:pt x="1877051" y="120526"/>
                    <a:pt x="1871551" y="104260"/>
                    <a:pt x="1871551" y="85195"/>
                  </a:cubicBezTo>
                  <a:cubicBezTo>
                    <a:pt x="1871551" y="70262"/>
                    <a:pt x="1874551" y="57430"/>
                    <a:pt x="1880550" y="46697"/>
                  </a:cubicBezTo>
                  <a:cubicBezTo>
                    <a:pt x="1886550" y="35965"/>
                    <a:pt x="1894716" y="27132"/>
                    <a:pt x="1905049" y="20199"/>
                  </a:cubicBezTo>
                  <a:cubicBezTo>
                    <a:pt x="1915382" y="13266"/>
                    <a:pt x="1927348" y="8166"/>
                    <a:pt x="1940947" y="4900"/>
                  </a:cubicBezTo>
                  <a:cubicBezTo>
                    <a:pt x="1954546" y="1633"/>
                    <a:pt x="1968945" y="0"/>
                    <a:pt x="1984144" y="0"/>
                  </a:cubicBezTo>
                  <a:close/>
                  <a:moveTo>
                    <a:pt x="1402143" y="0"/>
                  </a:moveTo>
                  <a:cubicBezTo>
                    <a:pt x="1443073" y="0"/>
                    <a:pt x="1476171" y="13399"/>
                    <a:pt x="1501437" y="40198"/>
                  </a:cubicBezTo>
                  <a:cubicBezTo>
                    <a:pt x="1526702" y="66996"/>
                    <a:pt x="1539334" y="102327"/>
                    <a:pt x="1539334" y="146191"/>
                  </a:cubicBezTo>
                  <a:cubicBezTo>
                    <a:pt x="1539334" y="191255"/>
                    <a:pt x="1526235" y="227586"/>
                    <a:pt x="1500036" y="255184"/>
                  </a:cubicBezTo>
                  <a:cubicBezTo>
                    <a:pt x="1473838" y="282783"/>
                    <a:pt x="1439674" y="296582"/>
                    <a:pt x="1397543" y="296582"/>
                  </a:cubicBezTo>
                  <a:cubicBezTo>
                    <a:pt x="1356479" y="296582"/>
                    <a:pt x="1323014" y="283216"/>
                    <a:pt x="1297149" y="256484"/>
                  </a:cubicBezTo>
                  <a:cubicBezTo>
                    <a:pt x="1271284" y="229753"/>
                    <a:pt x="1258351" y="194921"/>
                    <a:pt x="1258351" y="151991"/>
                  </a:cubicBezTo>
                  <a:cubicBezTo>
                    <a:pt x="1258351" y="106660"/>
                    <a:pt x="1271484" y="69996"/>
                    <a:pt x="1297749" y="41997"/>
                  </a:cubicBezTo>
                  <a:cubicBezTo>
                    <a:pt x="1324014" y="13999"/>
                    <a:pt x="1358812" y="0"/>
                    <a:pt x="1402143" y="0"/>
                  </a:cubicBezTo>
                  <a:close/>
                  <a:moveTo>
                    <a:pt x="821117" y="0"/>
                  </a:moveTo>
                  <a:cubicBezTo>
                    <a:pt x="862048" y="0"/>
                    <a:pt x="895146" y="13399"/>
                    <a:pt x="920411" y="40198"/>
                  </a:cubicBezTo>
                  <a:cubicBezTo>
                    <a:pt x="945677" y="66996"/>
                    <a:pt x="958309" y="102327"/>
                    <a:pt x="958309" y="146191"/>
                  </a:cubicBezTo>
                  <a:cubicBezTo>
                    <a:pt x="958309" y="191255"/>
                    <a:pt x="945210" y="227586"/>
                    <a:pt x="919011" y="255184"/>
                  </a:cubicBezTo>
                  <a:cubicBezTo>
                    <a:pt x="892813" y="282783"/>
                    <a:pt x="858649" y="296582"/>
                    <a:pt x="816518" y="296582"/>
                  </a:cubicBezTo>
                  <a:cubicBezTo>
                    <a:pt x="775454" y="296582"/>
                    <a:pt x="741989" y="283216"/>
                    <a:pt x="716124" y="256484"/>
                  </a:cubicBezTo>
                  <a:cubicBezTo>
                    <a:pt x="690259" y="229753"/>
                    <a:pt x="677326" y="194921"/>
                    <a:pt x="677326" y="151991"/>
                  </a:cubicBezTo>
                  <a:cubicBezTo>
                    <a:pt x="677326" y="106660"/>
                    <a:pt x="690459" y="69996"/>
                    <a:pt x="716724" y="41997"/>
                  </a:cubicBezTo>
                  <a:cubicBezTo>
                    <a:pt x="742989" y="13999"/>
                    <a:pt x="777787" y="0"/>
                    <a:pt x="821117" y="0"/>
                  </a:cubicBezTo>
                  <a:close/>
                  <a:moveTo>
                    <a:pt x="541642" y="0"/>
                  </a:moveTo>
                  <a:cubicBezTo>
                    <a:pt x="572040" y="0"/>
                    <a:pt x="598838" y="4200"/>
                    <a:pt x="622037" y="12599"/>
                  </a:cubicBezTo>
                  <a:lnTo>
                    <a:pt x="622037" y="73196"/>
                  </a:lnTo>
                  <a:cubicBezTo>
                    <a:pt x="599905" y="60396"/>
                    <a:pt x="572840" y="53997"/>
                    <a:pt x="540842" y="53997"/>
                  </a:cubicBezTo>
                  <a:cubicBezTo>
                    <a:pt x="514043" y="53997"/>
                    <a:pt x="492211" y="62696"/>
                    <a:pt x="475346" y="80095"/>
                  </a:cubicBezTo>
                  <a:cubicBezTo>
                    <a:pt x="458480" y="97494"/>
                    <a:pt x="450047" y="120726"/>
                    <a:pt x="450047" y="149791"/>
                  </a:cubicBezTo>
                  <a:cubicBezTo>
                    <a:pt x="450047" y="179256"/>
                    <a:pt x="457613" y="202054"/>
                    <a:pt x="472746" y="218187"/>
                  </a:cubicBezTo>
                  <a:cubicBezTo>
                    <a:pt x="487878" y="234319"/>
                    <a:pt x="508310" y="242385"/>
                    <a:pt x="534042" y="242385"/>
                  </a:cubicBezTo>
                  <a:cubicBezTo>
                    <a:pt x="549508" y="242385"/>
                    <a:pt x="561774" y="240185"/>
                    <a:pt x="570840" y="235786"/>
                  </a:cubicBezTo>
                  <a:lnTo>
                    <a:pt x="570840" y="179789"/>
                  </a:lnTo>
                  <a:lnTo>
                    <a:pt x="513443" y="179789"/>
                  </a:lnTo>
                  <a:lnTo>
                    <a:pt x="513443" y="128192"/>
                  </a:lnTo>
                  <a:lnTo>
                    <a:pt x="635436" y="128192"/>
                  </a:lnTo>
                  <a:lnTo>
                    <a:pt x="635436" y="272383"/>
                  </a:lnTo>
                  <a:cubicBezTo>
                    <a:pt x="607437" y="288516"/>
                    <a:pt x="572640" y="296582"/>
                    <a:pt x="531042" y="296582"/>
                  </a:cubicBezTo>
                  <a:cubicBezTo>
                    <a:pt x="484912" y="296582"/>
                    <a:pt x="448547" y="283816"/>
                    <a:pt x="421949" y="258284"/>
                  </a:cubicBezTo>
                  <a:cubicBezTo>
                    <a:pt x="395351" y="232752"/>
                    <a:pt x="382051" y="197588"/>
                    <a:pt x="382051" y="152791"/>
                  </a:cubicBezTo>
                  <a:cubicBezTo>
                    <a:pt x="382051" y="107727"/>
                    <a:pt x="396584" y="70996"/>
                    <a:pt x="425649" y="42597"/>
                  </a:cubicBezTo>
                  <a:cubicBezTo>
                    <a:pt x="454714" y="14199"/>
                    <a:pt x="493378" y="0"/>
                    <a:pt x="54164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8" name="Freeform: Shape 137">
              <a:extLst>
                <a:ext uri="{FF2B5EF4-FFF2-40B4-BE49-F238E27FC236}">
                  <a16:creationId xmlns:a16="http://schemas.microsoft.com/office/drawing/2014/main" id="{E5385021-B6E7-41E1-909C-AB34CA89DDC9}"/>
                </a:ext>
              </a:extLst>
            </p:cNvPr>
            <p:cNvSpPr>
              <a:spLocks noChangeAspect="1"/>
            </p:cNvSpPr>
            <p:nvPr/>
          </p:nvSpPr>
          <p:spPr>
            <a:xfrm>
              <a:off x="510506" y="4696438"/>
              <a:ext cx="3566160" cy="525876"/>
            </a:xfrm>
            <a:custGeom>
              <a:avLst/>
              <a:gdLst>
                <a:gd name="connsiteX0" fmla="*/ 1588596 w 2011189"/>
                <a:gd name="connsiteY0" fmla="*/ 57396 h 296582"/>
                <a:gd name="connsiteX1" fmla="*/ 1588596 w 2011189"/>
                <a:gd name="connsiteY1" fmla="*/ 239185 h 296582"/>
                <a:gd name="connsiteX2" fmla="*/ 1620594 w 2011189"/>
                <a:gd name="connsiteY2" fmla="*/ 239185 h 296582"/>
                <a:gd name="connsiteX3" fmla="*/ 1686490 w 2011189"/>
                <a:gd name="connsiteY3" fmla="*/ 213987 h 296582"/>
                <a:gd name="connsiteX4" fmla="*/ 1710389 w 2011189"/>
                <a:gd name="connsiteY4" fmla="*/ 145391 h 296582"/>
                <a:gd name="connsiteX5" fmla="*/ 1686690 w 2011189"/>
                <a:gd name="connsiteY5" fmla="*/ 80895 h 296582"/>
                <a:gd name="connsiteX6" fmla="*/ 1620194 w 2011189"/>
                <a:gd name="connsiteY6" fmla="*/ 57396 h 296582"/>
                <a:gd name="connsiteX7" fmla="*/ 64596 w 2011189"/>
                <a:gd name="connsiteY7" fmla="*/ 57396 h 296582"/>
                <a:gd name="connsiteX8" fmla="*/ 64596 w 2011189"/>
                <a:gd name="connsiteY8" fmla="*/ 239185 h 296582"/>
                <a:gd name="connsiteX9" fmla="*/ 96594 w 2011189"/>
                <a:gd name="connsiteY9" fmla="*/ 239185 h 296582"/>
                <a:gd name="connsiteX10" fmla="*/ 162490 w 2011189"/>
                <a:gd name="connsiteY10" fmla="*/ 213987 h 296582"/>
                <a:gd name="connsiteX11" fmla="*/ 186389 w 2011189"/>
                <a:gd name="connsiteY11" fmla="*/ 145391 h 296582"/>
                <a:gd name="connsiteX12" fmla="*/ 162690 w 2011189"/>
                <a:gd name="connsiteY12" fmla="*/ 80895 h 296582"/>
                <a:gd name="connsiteX13" fmla="*/ 96194 w 2011189"/>
                <a:gd name="connsiteY13" fmla="*/ 57396 h 296582"/>
                <a:gd name="connsiteX14" fmla="*/ 1023793 w 2011189"/>
                <a:gd name="connsiteY14" fmla="*/ 55997 h 296582"/>
                <a:gd name="connsiteX15" fmla="*/ 1018794 w 2011189"/>
                <a:gd name="connsiteY15" fmla="*/ 80995 h 296582"/>
                <a:gd name="connsiteX16" fmla="*/ 987596 w 2011189"/>
                <a:gd name="connsiteY16" fmla="*/ 178189 h 296582"/>
                <a:gd name="connsiteX17" fmla="*/ 1060991 w 2011189"/>
                <a:gd name="connsiteY17" fmla="*/ 178189 h 296582"/>
                <a:gd name="connsiteX18" fmla="*/ 1030193 w 2011189"/>
                <a:gd name="connsiteY18" fmla="*/ 81795 h 296582"/>
                <a:gd name="connsiteX19" fmla="*/ 1025393 w 2011189"/>
                <a:gd name="connsiteY19" fmla="*/ 55997 h 296582"/>
                <a:gd name="connsiteX20" fmla="*/ 1524000 w 2011189"/>
                <a:gd name="connsiteY20" fmla="*/ 4800 h 296582"/>
                <a:gd name="connsiteX21" fmla="*/ 1625594 w 2011189"/>
                <a:gd name="connsiteY21" fmla="*/ 4800 h 296582"/>
                <a:gd name="connsiteX22" fmla="*/ 1778385 w 2011189"/>
                <a:gd name="connsiteY22" fmla="*/ 144591 h 296582"/>
                <a:gd name="connsiteX23" fmla="*/ 1736687 w 2011189"/>
                <a:gd name="connsiteY23" fmla="*/ 251585 h 296582"/>
                <a:gd name="connsiteX24" fmla="*/ 1625594 w 2011189"/>
                <a:gd name="connsiteY24" fmla="*/ 291582 h 296582"/>
                <a:gd name="connsiteX25" fmla="*/ 1524000 w 2011189"/>
                <a:gd name="connsiteY25" fmla="*/ 291582 h 296582"/>
                <a:gd name="connsiteX26" fmla="*/ 1200150 w 2011189"/>
                <a:gd name="connsiteY26" fmla="*/ 4800 h 296582"/>
                <a:gd name="connsiteX27" fmla="*/ 1269746 w 2011189"/>
                <a:gd name="connsiteY27" fmla="*/ 4800 h 296582"/>
                <a:gd name="connsiteX28" fmla="*/ 1383539 w 2011189"/>
                <a:gd name="connsiteY28" fmla="*/ 179389 h 296582"/>
                <a:gd name="connsiteX29" fmla="*/ 1397938 w 2011189"/>
                <a:gd name="connsiteY29" fmla="*/ 202788 h 296582"/>
                <a:gd name="connsiteX30" fmla="*/ 1398738 w 2011189"/>
                <a:gd name="connsiteY30" fmla="*/ 202788 h 296582"/>
                <a:gd name="connsiteX31" fmla="*/ 1397138 w 2011189"/>
                <a:gd name="connsiteY31" fmla="*/ 163390 h 296582"/>
                <a:gd name="connsiteX32" fmla="*/ 1397138 w 2011189"/>
                <a:gd name="connsiteY32" fmla="*/ 4800 h 296582"/>
                <a:gd name="connsiteX33" fmla="*/ 1458134 w 2011189"/>
                <a:gd name="connsiteY33" fmla="*/ 4800 h 296582"/>
                <a:gd name="connsiteX34" fmla="*/ 1458134 w 2011189"/>
                <a:gd name="connsiteY34" fmla="*/ 291582 h 296582"/>
                <a:gd name="connsiteX35" fmla="*/ 1392938 w 2011189"/>
                <a:gd name="connsiteY35" fmla="*/ 291582 h 296582"/>
                <a:gd name="connsiteX36" fmla="*/ 1274746 w 2011189"/>
                <a:gd name="connsiteY36" fmla="*/ 111393 h 296582"/>
                <a:gd name="connsiteX37" fmla="*/ 1260346 w 2011189"/>
                <a:gd name="connsiteY37" fmla="*/ 87595 h 296582"/>
                <a:gd name="connsiteX38" fmla="*/ 1259547 w 2011189"/>
                <a:gd name="connsiteY38" fmla="*/ 87595 h 296582"/>
                <a:gd name="connsiteX39" fmla="*/ 1261146 w 2011189"/>
                <a:gd name="connsiteY39" fmla="*/ 133992 h 296582"/>
                <a:gd name="connsiteX40" fmla="*/ 1261146 w 2011189"/>
                <a:gd name="connsiteY40" fmla="*/ 291582 h 296582"/>
                <a:gd name="connsiteX41" fmla="*/ 1200150 w 2011189"/>
                <a:gd name="connsiteY41" fmla="*/ 291582 h 296582"/>
                <a:gd name="connsiteX42" fmla="*/ 987996 w 2011189"/>
                <a:gd name="connsiteY42" fmla="*/ 4800 h 296582"/>
                <a:gd name="connsiteX43" fmla="*/ 1064591 w 2011189"/>
                <a:gd name="connsiteY43" fmla="*/ 4800 h 296582"/>
                <a:gd name="connsiteX44" fmla="*/ 1166585 w 2011189"/>
                <a:gd name="connsiteY44" fmla="*/ 291582 h 296582"/>
                <a:gd name="connsiteX45" fmla="*/ 1096189 w 2011189"/>
                <a:gd name="connsiteY45" fmla="*/ 291582 h 296582"/>
                <a:gd name="connsiteX46" fmla="*/ 1075790 w 2011189"/>
                <a:gd name="connsiteY46" fmla="*/ 227786 h 296582"/>
                <a:gd name="connsiteX47" fmla="*/ 973797 w 2011189"/>
                <a:gd name="connsiteY47" fmla="*/ 227786 h 296582"/>
                <a:gd name="connsiteX48" fmla="*/ 953598 w 2011189"/>
                <a:gd name="connsiteY48" fmla="*/ 291582 h 296582"/>
                <a:gd name="connsiteX49" fmla="*/ 883602 w 2011189"/>
                <a:gd name="connsiteY49" fmla="*/ 291582 h 296582"/>
                <a:gd name="connsiteX50" fmla="*/ 523875 w 2011189"/>
                <a:gd name="connsiteY50" fmla="*/ 4800 h 296582"/>
                <a:gd name="connsiteX51" fmla="*/ 618469 w 2011189"/>
                <a:gd name="connsiteY51" fmla="*/ 4800 h 296582"/>
                <a:gd name="connsiteX52" fmla="*/ 677066 w 2011189"/>
                <a:gd name="connsiteY52" fmla="*/ 174789 h 296582"/>
                <a:gd name="connsiteX53" fmla="*/ 687265 w 2011189"/>
                <a:gd name="connsiteY53" fmla="*/ 215787 h 296582"/>
                <a:gd name="connsiteX54" fmla="*/ 688465 w 2011189"/>
                <a:gd name="connsiteY54" fmla="*/ 215787 h 296582"/>
                <a:gd name="connsiteX55" fmla="*/ 699864 w 2011189"/>
                <a:gd name="connsiteY55" fmla="*/ 174389 h 296582"/>
                <a:gd name="connsiteX56" fmla="*/ 758461 w 2011189"/>
                <a:gd name="connsiteY56" fmla="*/ 4800 h 296582"/>
                <a:gd name="connsiteX57" fmla="*/ 850655 w 2011189"/>
                <a:gd name="connsiteY57" fmla="*/ 4800 h 296582"/>
                <a:gd name="connsiteX58" fmla="*/ 850655 w 2011189"/>
                <a:gd name="connsiteY58" fmla="*/ 291582 h 296582"/>
                <a:gd name="connsiteX59" fmla="*/ 786859 w 2011189"/>
                <a:gd name="connsiteY59" fmla="*/ 291582 h 296582"/>
                <a:gd name="connsiteX60" fmla="*/ 786859 w 2011189"/>
                <a:gd name="connsiteY60" fmla="*/ 119993 h 296582"/>
                <a:gd name="connsiteX61" fmla="*/ 789259 w 2011189"/>
                <a:gd name="connsiteY61" fmla="*/ 58596 h 296582"/>
                <a:gd name="connsiteX62" fmla="*/ 787659 w 2011189"/>
                <a:gd name="connsiteY62" fmla="*/ 58596 h 296582"/>
                <a:gd name="connsiteX63" fmla="*/ 778660 w 2011189"/>
                <a:gd name="connsiteY63" fmla="*/ 96594 h 296582"/>
                <a:gd name="connsiteX64" fmla="*/ 711464 w 2011189"/>
                <a:gd name="connsiteY64" fmla="*/ 291582 h 296582"/>
                <a:gd name="connsiteX65" fmla="*/ 658667 w 2011189"/>
                <a:gd name="connsiteY65" fmla="*/ 291582 h 296582"/>
                <a:gd name="connsiteX66" fmla="*/ 590271 w 2011189"/>
                <a:gd name="connsiteY66" fmla="*/ 98594 h 296582"/>
                <a:gd name="connsiteX67" fmla="*/ 581272 w 2011189"/>
                <a:gd name="connsiteY67" fmla="*/ 58596 h 296582"/>
                <a:gd name="connsiteX68" fmla="*/ 579472 w 2011189"/>
                <a:gd name="connsiteY68" fmla="*/ 58596 h 296582"/>
                <a:gd name="connsiteX69" fmla="*/ 582072 w 2011189"/>
                <a:gd name="connsiteY69" fmla="*/ 132992 h 296582"/>
                <a:gd name="connsiteX70" fmla="*/ 582072 w 2011189"/>
                <a:gd name="connsiteY70" fmla="*/ 291582 h 296582"/>
                <a:gd name="connsiteX71" fmla="*/ 523875 w 2011189"/>
                <a:gd name="connsiteY71" fmla="*/ 291582 h 296582"/>
                <a:gd name="connsiteX72" fmla="*/ 304800 w 2011189"/>
                <a:gd name="connsiteY72" fmla="*/ 4800 h 296582"/>
                <a:gd name="connsiteX73" fmla="*/ 470190 w 2011189"/>
                <a:gd name="connsiteY73" fmla="*/ 4800 h 296582"/>
                <a:gd name="connsiteX74" fmla="*/ 470190 w 2011189"/>
                <a:gd name="connsiteY74" fmla="*/ 57396 h 296582"/>
                <a:gd name="connsiteX75" fmla="*/ 369396 w 2011189"/>
                <a:gd name="connsiteY75" fmla="*/ 57396 h 296582"/>
                <a:gd name="connsiteX76" fmla="*/ 369396 w 2011189"/>
                <a:gd name="connsiteY76" fmla="*/ 121193 h 296582"/>
                <a:gd name="connsiteX77" fmla="*/ 463191 w 2011189"/>
                <a:gd name="connsiteY77" fmla="*/ 121193 h 296582"/>
                <a:gd name="connsiteX78" fmla="*/ 463191 w 2011189"/>
                <a:gd name="connsiteY78" fmla="*/ 173589 h 296582"/>
                <a:gd name="connsiteX79" fmla="*/ 369396 w 2011189"/>
                <a:gd name="connsiteY79" fmla="*/ 173589 h 296582"/>
                <a:gd name="connsiteX80" fmla="*/ 369396 w 2011189"/>
                <a:gd name="connsiteY80" fmla="*/ 239185 h 296582"/>
                <a:gd name="connsiteX81" fmla="*/ 476790 w 2011189"/>
                <a:gd name="connsiteY81" fmla="*/ 239185 h 296582"/>
                <a:gd name="connsiteX82" fmla="*/ 476790 w 2011189"/>
                <a:gd name="connsiteY82" fmla="*/ 291582 h 296582"/>
                <a:gd name="connsiteX83" fmla="*/ 304800 w 2011189"/>
                <a:gd name="connsiteY83" fmla="*/ 291582 h 296582"/>
                <a:gd name="connsiteX84" fmla="*/ 0 w 2011189"/>
                <a:gd name="connsiteY84" fmla="*/ 4800 h 296582"/>
                <a:gd name="connsiteX85" fmla="*/ 101594 w 2011189"/>
                <a:gd name="connsiteY85" fmla="*/ 4800 h 296582"/>
                <a:gd name="connsiteX86" fmla="*/ 254385 w 2011189"/>
                <a:gd name="connsiteY86" fmla="*/ 144591 h 296582"/>
                <a:gd name="connsiteX87" fmla="*/ 212687 w 2011189"/>
                <a:gd name="connsiteY87" fmla="*/ 251585 h 296582"/>
                <a:gd name="connsiteX88" fmla="*/ 101594 w 2011189"/>
                <a:gd name="connsiteY88" fmla="*/ 291582 h 296582"/>
                <a:gd name="connsiteX89" fmla="*/ 0 w 2011189"/>
                <a:gd name="connsiteY89" fmla="*/ 291582 h 296582"/>
                <a:gd name="connsiteX90" fmla="*/ 1926994 w 2011189"/>
                <a:gd name="connsiteY90" fmla="*/ 0 h 296582"/>
                <a:gd name="connsiteX91" fmla="*/ 1966692 w 2011189"/>
                <a:gd name="connsiteY91" fmla="*/ 2700 h 296582"/>
                <a:gd name="connsiteX92" fmla="*/ 1998590 w 2011189"/>
                <a:gd name="connsiteY92" fmla="*/ 10999 h 296582"/>
                <a:gd name="connsiteX93" fmla="*/ 1998590 w 2011189"/>
                <a:gd name="connsiteY93" fmla="*/ 70796 h 296582"/>
                <a:gd name="connsiteX94" fmla="*/ 1982891 w 2011189"/>
                <a:gd name="connsiteY94" fmla="*/ 61996 h 296582"/>
                <a:gd name="connsiteX95" fmla="*/ 1965392 w 2011189"/>
                <a:gd name="connsiteY95" fmla="*/ 55697 h 296582"/>
                <a:gd name="connsiteX96" fmla="*/ 1947493 w 2011189"/>
                <a:gd name="connsiteY96" fmla="*/ 51997 h 296582"/>
                <a:gd name="connsiteX97" fmla="*/ 1930594 w 2011189"/>
                <a:gd name="connsiteY97" fmla="*/ 50797 h 296582"/>
                <a:gd name="connsiteX98" fmla="*/ 1910595 w 2011189"/>
                <a:gd name="connsiteY98" fmla="*/ 52897 h 296582"/>
                <a:gd name="connsiteX99" fmla="*/ 1895396 w 2011189"/>
                <a:gd name="connsiteY99" fmla="*/ 58796 h 296582"/>
                <a:gd name="connsiteX100" fmla="*/ 1885797 w 2011189"/>
                <a:gd name="connsiteY100" fmla="*/ 67896 h 296582"/>
                <a:gd name="connsiteX101" fmla="*/ 1882397 w 2011189"/>
                <a:gd name="connsiteY101" fmla="*/ 79795 h 296582"/>
                <a:gd name="connsiteX102" fmla="*/ 1886197 w 2011189"/>
                <a:gd name="connsiteY102" fmla="*/ 92694 h 296582"/>
                <a:gd name="connsiteX103" fmla="*/ 1896996 w 2011189"/>
                <a:gd name="connsiteY103" fmla="*/ 103494 h 296582"/>
                <a:gd name="connsiteX104" fmla="*/ 1913995 w 2011189"/>
                <a:gd name="connsiteY104" fmla="*/ 113493 h 296582"/>
                <a:gd name="connsiteX105" fmla="*/ 1936594 w 2011189"/>
                <a:gd name="connsiteY105" fmla="*/ 123592 h 296582"/>
                <a:gd name="connsiteX106" fmla="*/ 1967492 w 2011189"/>
                <a:gd name="connsiteY106" fmla="*/ 138891 h 296582"/>
                <a:gd name="connsiteX107" fmla="*/ 1990990 w 2011189"/>
                <a:gd name="connsiteY107" fmla="*/ 157190 h 296582"/>
                <a:gd name="connsiteX108" fmla="*/ 2005990 w 2011189"/>
                <a:gd name="connsiteY108" fmla="*/ 180489 h 296582"/>
                <a:gd name="connsiteX109" fmla="*/ 2011189 w 2011189"/>
                <a:gd name="connsiteY109" fmla="*/ 210987 h 296582"/>
                <a:gd name="connsiteX110" fmla="*/ 2002090 w 2011189"/>
                <a:gd name="connsiteY110" fmla="*/ 251285 h 296582"/>
                <a:gd name="connsiteX111" fmla="*/ 1977391 w 2011189"/>
                <a:gd name="connsiteY111" fmla="*/ 277683 h 296582"/>
                <a:gd name="connsiteX112" fmla="*/ 1941094 w 2011189"/>
                <a:gd name="connsiteY112" fmla="*/ 292182 h 296582"/>
                <a:gd name="connsiteX113" fmla="*/ 1897396 w 2011189"/>
                <a:gd name="connsiteY113" fmla="*/ 296582 h 296582"/>
                <a:gd name="connsiteX114" fmla="*/ 1852499 w 2011189"/>
                <a:gd name="connsiteY114" fmla="*/ 292582 h 296582"/>
                <a:gd name="connsiteX115" fmla="*/ 1815601 w 2011189"/>
                <a:gd name="connsiteY115" fmla="*/ 280583 h 296582"/>
                <a:gd name="connsiteX116" fmla="*/ 1815601 w 2011189"/>
                <a:gd name="connsiteY116" fmla="*/ 216587 h 296582"/>
                <a:gd name="connsiteX117" fmla="*/ 1853399 w 2011189"/>
                <a:gd name="connsiteY117" fmla="*/ 238485 h 296582"/>
                <a:gd name="connsiteX118" fmla="*/ 1894596 w 2011189"/>
                <a:gd name="connsiteY118" fmla="*/ 245785 h 296582"/>
                <a:gd name="connsiteX119" fmla="*/ 1915895 w 2011189"/>
                <a:gd name="connsiteY119" fmla="*/ 243585 h 296582"/>
                <a:gd name="connsiteX120" fmla="*/ 1931094 w 2011189"/>
                <a:gd name="connsiteY120" fmla="*/ 237485 h 296582"/>
                <a:gd name="connsiteX121" fmla="*/ 1940194 w 2011189"/>
                <a:gd name="connsiteY121" fmla="*/ 228286 h 296582"/>
                <a:gd name="connsiteX122" fmla="*/ 1943193 w 2011189"/>
                <a:gd name="connsiteY122" fmla="*/ 216787 h 296582"/>
                <a:gd name="connsiteX123" fmla="*/ 1938394 w 2011189"/>
                <a:gd name="connsiteY123" fmla="*/ 201788 h 296582"/>
                <a:gd name="connsiteX124" fmla="*/ 1925294 w 2011189"/>
                <a:gd name="connsiteY124" fmla="*/ 189588 h 296582"/>
                <a:gd name="connsiteX125" fmla="*/ 1905596 w 2011189"/>
                <a:gd name="connsiteY125" fmla="*/ 178789 h 296582"/>
                <a:gd name="connsiteX126" fmla="*/ 1880997 w 2011189"/>
                <a:gd name="connsiteY126" fmla="*/ 168190 h 296582"/>
                <a:gd name="connsiteX127" fmla="*/ 1830900 w 2011189"/>
                <a:gd name="connsiteY127" fmla="*/ 133992 h 296582"/>
                <a:gd name="connsiteX128" fmla="*/ 1814401 w 2011189"/>
                <a:gd name="connsiteY128" fmla="*/ 85195 h 296582"/>
                <a:gd name="connsiteX129" fmla="*/ 1823401 w 2011189"/>
                <a:gd name="connsiteY129" fmla="*/ 46697 h 296582"/>
                <a:gd name="connsiteX130" fmla="*/ 1847899 w 2011189"/>
                <a:gd name="connsiteY130" fmla="*/ 20199 h 296582"/>
                <a:gd name="connsiteX131" fmla="*/ 1883797 w 2011189"/>
                <a:gd name="connsiteY131" fmla="*/ 4900 h 296582"/>
                <a:gd name="connsiteX132" fmla="*/ 1926994 w 2011189"/>
                <a:gd name="connsiteY132" fmla="*/ 0 h 296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2011189" h="296582">
                  <a:moveTo>
                    <a:pt x="1588596" y="57396"/>
                  </a:moveTo>
                  <a:lnTo>
                    <a:pt x="1588596" y="239185"/>
                  </a:lnTo>
                  <a:lnTo>
                    <a:pt x="1620594" y="239185"/>
                  </a:lnTo>
                  <a:cubicBezTo>
                    <a:pt x="1648593" y="239185"/>
                    <a:pt x="1670558" y="230786"/>
                    <a:pt x="1686490" y="213987"/>
                  </a:cubicBezTo>
                  <a:cubicBezTo>
                    <a:pt x="1702423" y="197188"/>
                    <a:pt x="1710389" y="174323"/>
                    <a:pt x="1710389" y="145391"/>
                  </a:cubicBezTo>
                  <a:cubicBezTo>
                    <a:pt x="1710389" y="118059"/>
                    <a:pt x="1702489" y="96561"/>
                    <a:pt x="1686690" y="80895"/>
                  </a:cubicBezTo>
                  <a:cubicBezTo>
                    <a:pt x="1670891" y="65229"/>
                    <a:pt x="1648726" y="57396"/>
                    <a:pt x="1620194" y="57396"/>
                  </a:cubicBezTo>
                  <a:close/>
                  <a:moveTo>
                    <a:pt x="64596" y="57396"/>
                  </a:moveTo>
                  <a:lnTo>
                    <a:pt x="64596" y="239185"/>
                  </a:lnTo>
                  <a:lnTo>
                    <a:pt x="96594" y="239185"/>
                  </a:lnTo>
                  <a:cubicBezTo>
                    <a:pt x="124593" y="239185"/>
                    <a:pt x="146558" y="230786"/>
                    <a:pt x="162490" y="213987"/>
                  </a:cubicBezTo>
                  <a:cubicBezTo>
                    <a:pt x="178423" y="197188"/>
                    <a:pt x="186389" y="174323"/>
                    <a:pt x="186389" y="145391"/>
                  </a:cubicBezTo>
                  <a:cubicBezTo>
                    <a:pt x="186389" y="118059"/>
                    <a:pt x="178489" y="96561"/>
                    <a:pt x="162690" y="80895"/>
                  </a:cubicBezTo>
                  <a:cubicBezTo>
                    <a:pt x="146891" y="65229"/>
                    <a:pt x="124726" y="57396"/>
                    <a:pt x="96194" y="57396"/>
                  </a:cubicBezTo>
                  <a:close/>
                  <a:moveTo>
                    <a:pt x="1023793" y="55997"/>
                  </a:moveTo>
                  <a:cubicBezTo>
                    <a:pt x="1023127" y="64396"/>
                    <a:pt x="1021460" y="72729"/>
                    <a:pt x="1018794" y="80995"/>
                  </a:cubicBezTo>
                  <a:lnTo>
                    <a:pt x="987596" y="178189"/>
                  </a:lnTo>
                  <a:lnTo>
                    <a:pt x="1060991" y="178189"/>
                  </a:lnTo>
                  <a:lnTo>
                    <a:pt x="1030193" y="81795"/>
                  </a:lnTo>
                  <a:cubicBezTo>
                    <a:pt x="1027926" y="74595"/>
                    <a:pt x="1026327" y="65996"/>
                    <a:pt x="1025393" y="55997"/>
                  </a:cubicBezTo>
                  <a:close/>
                  <a:moveTo>
                    <a:pt x="1524000" y="4800"/>
                  </a:moveTo>
                  <a:lnTo>
                    <a:pt x="1625594" y="4800"/>
                  </a:lnTo>
                  <a:cubicBezTo>
                    <a:pt x="1727455" y="4800"/>
                    <a:pt x="1778385" y="51397"/>
                    <a:pt x="1778385" y="144591"/>
                  </a:cubicBezTo>
                  <a:cubicBezTo>
                    <a:pt x="1778385" y="189255"/>
                    <a:pt x="1764486" y="224920"/>
                    <a:pt x="1736687" y="251585"/>
                  </a:cubicBezTo>
                  <a:cubicBezTo>
                    <a:pt x="1708889" y="278250"/>
                    <a:pt x="1671858" y="291582"/>
                    <a:pt x="1625594" y="291582"/>
                  </a:cubicBezTo>
                  <a:lnTo>
                    <a:pt x="1524000" y="291582"/>
                  </a:lnTo>
                  <a:close/>
                  <a:moveTo>
                    <a:pt x="1200150" y="4800"/>
                  </a:moveTo>
                  <a:lnTo>
                    <a:pt x="1269746" y="4800"/>
                  </a:lnTo>
                  <a:lnTo>
                    <a:pt x="1383539" y="179389"/>
                  </a:lnTo>
                  <a:cubicBezTo>
                    <a:pt x="1388739" y="187255"/>
                    <a:pt x="1393538" y="195055"/>
                    <a:pt x="1397938" y="202788"/>
                  </a:cubicBezTo>
                  <a:lnTo>
                    <a:pt x="1398738" y="202788"/>
                  </a:lnTo>
                  <a:cubicBezTo>
                    <a:pt x="1397671" y="196121"/>
                    <a:pt x="1397138" y="182989"/>
                    <a:pt x="1397138" y="163390"/>
                  </a:cubicBezTo>
                  <a:lnTo>
                    <a:pt x="1397138" y="4800"/>
                  </a:lnTo>
                  <a:lnTo>
                    <a:pt x="1458134" y="4800"/>
                  </a:lnTo>
                  <a:lnTo>
                    <a:pt x="1458134" y="291582"/>
                  </a:lnTo>
                  <a:lnTo>
                    <a:pt x="1392938" y="291582"/>
                  </a:lnTo>
                  <a:lnTo>
                    <a:pt x="1274746" y="111393"/>
                  </a:lnTo>
                  <a:cubicBezTo>
                    <a:pt x="1267813" y="100860"/>
                    <a:pt x="1263013" y="92928"/>
                    <a:pt x="1260346" y="87595"/>
                  </a:cubicBezTo>
                  <a:lnTo>
                    <a:pt x="1259547" y="87595"/>
                  </a:lnTo>
                  <a:cubicBezTo>
                    <a:pt x="1260613" y="97727"/>
                    <a:pt x="1261146" y="113193"/>
                    <a:pt x="1261146" y="133992"/>
                  </a:cubicBezTo>
                  <a:lnTo>
                    <a:pt x="1261146" y="291582"/>
                  </a:lnTo>
                  <a:lnTo>
                    <a:pt x="1200150" y="291582"/>
                  </a:lnTo>
                  <a:close/>
                  <a:moveTo>
                    <a:pt x="987996" y="4800"/>
                  </a:moveTo>
                  <a:lnTo>
                    <a:pt x="1064591" y="4800"/>
                  </a:lnTo>
                  <a:lnTo>
                    <a:pt x="1166585" y="291582"/>
                  </a:lnTo>
                  <a:lnTo>
                    <a:pt x="1096189" y="291582"/>
                  </a:lnTo>
                  <a:lnTo>
                    <a:pt x="1075790" y="227786"/>
                  </a:lnTo>
                  <a:lnTo>
                    <a:pt x="973797" y="227786"/>
                  </a:lnTo>
                  <a:lnTo>
                    <a:pt x="953598" y="291582"/>
                  </a:lnTo>
                  <a:lnTo>
                    <a:pt x="883602" y="291582"/>
                  </a:lnTo>
                  <a:close/>
                  <a:moveTo>
                    <a:pt x="523875" y="4800"/>
                  </a:moveTo>
                  <a:lnTo>
                    <a:pt x="618469" y="4800"/>
                  </a:lnTo>
                  <a:lnTo>
                    <a:pt x="677066" y="174789"/>
                  </a:lnTo>
                  <a:cubicBezTo>
                    <a:pt x="681732" y="188388"/>
                    <a:pt x="685132" y="202054"/>
                    <a:pt x="687265" y="215787"/>
                  </a:cubicBezTo>
                  <a:lnTo>
                    <a:pt x="688465" y="215787"/>
                  </a:lnTo>
                  <a:cubicBezTo>
                    <a:pt x="692065" y="199921"/>
                    <a:pt x="695865" y="186122"/>
                    <a:pt x="699864" y="174389"/>
                  </a:cubicBezTo>
                  <a:lnTo>
                    <a:pt x="758461" y="4800"/>
                  </a:lnTo>
                  <a:lnTo>
                    <a:pt x="850655" y="4800"/>
                  </a:lnTo>
                  <a:lnTo>
                    <a:pt x="850655" y="291582"/>
                  </a:lnTo>
                  <a:lnTo>
                    <a:pt x="786859" y="291582"/>
                  </a:lnTo>
                  <a:lnTo>
                    <a:pt x="786859" y="119993"/>
                  </a:lnTo>
                  <a:cubicBezTo>
                    <a:pt x="786859" y="101460"/>
                    <a:pt x="787659" y="80995"/>
                    <a:pt x="789259" y="58596"/>
                  </a:cubicBezTo>
                  <a:lnTo>
                    <a:pt x="787659" y="58596"/>
                  </a:lnTo>
                  <a:cubicBezTo>
                    <a:pt x="784326" y="76195"/>
                    <a:pt x="781326" y="88861"/>
                    <a:pt x="778660" y="96594"/>
                  </a:cubicBezTo>
                  <a:lnTo>
                    <a:pt x="711464" y="291582"/>
                  </a:lnTo>
                  <a:lnTo>
                    <a:pt x="658667" y="291582"/>
                  </a:lnTo>
                  <a:lnTo>
                    <a:pt x="590271" y="98594"/>
                  </a:lnTo>
                  <a:cubicBezTo>
                    <a:pt x="588405" y="93394"/>
                    <a:pt x="585405" y="80062"/>
                    <a:pt x="581272" y="58596"/>
                  </a:cubicBezTo>
                  <a:lnTo>
                    <a:pt x="579472" y="58596"/>
                  </a:lnTo>
                  <a:cubicBezTo>
                    <a:pt x="581205" y="86861"/>
                    <a:pt x="582072" y="111660"/>
                    <a:pt x="582072" y="132992"/>
                  </a:cubicBezTo>
                  <a:lnTo>
                    <a:pt x="582072" y="291582"/>
                  </a:lnTo>
                  <a:lnTo>
                    <a:pt x="523875" y="291582"/>
                  </a:lnTo>
                  <a:close/>
                  <a:moveTo>
                    <a:pt x="304800" y="4800"/>
                  </a:moveTo>
                  <a:lnTo>
                    <a:pt x="470190" y="4800"/>
                  </a:lnTo>
                  <a:lnTo>
                    <a:pt x="470190" y="57396"/>
                  </a:lnTo>
                  <a:lnTo>
                    <a:pt x="369396" y="57396"/>
                  </a:lnTo>
                  <a:lnTo>
                    <a:pt x="369396" y="121193"/>
                  </a:lnTo>
                  <a:lnTo>
                    <a:pt x="463191" y="121193"/>
                  </a:lnTo>
                  <a:lnTo>
                    <a:pt x="463191" y="173589"/>
                  </a:lnTo>
                  <a:lnTo>
                    <a:pt x="369396" y="173589"/>
                  </a:lnTo>
                  <a:lnTo>
                    <a:pt x="369396" y="239185"/>
                  </a:lnTo>
                  <a:lnTo>
                    <a:pt x="476790" y="239185"/>
                  </a:lnTo>
                  <a:lnTo>
                    <a:pt x="476790" y="291582"/>
                  </a:lnTo>
                  <a:lnTo>
                    <a:pt x="304800" y="291582"/>
                  </a:lnTo>
                  <a:close/>
                  <a:moveTo>
                    <a:pt x="0" y="4800"/>
                  </a:moveTo>
                  <a:lnTo>
                    <a:pt x="101594" y="4800"/>
                  </a:lnTo>
                  <a:cubicBezTo>
                    <a:pt x="203454" y="4800"/>
                    <a:pt x="254385" y="51397"/>
                    <a:pt x="254385" y="144591"/>
                  </a:cubicBezTo>
                  <a:cubicBezTo>
                    <a:pt x="254385" y="189255"/>
                    <a:pt x="240486" y="224920"/>
                    <a:pt x="212687" y="251585"/>
                  </a:cubicBezTo>
                  <a:cubicBezTo>
                    <a:pt x="184889" y="278250"/>
                    <a:pt x="147858" y="291582"/>
                    <a:pt x="101594" y="291582"/>
                  </a:cubicBezTo>
                  <a:lnTo>
                    <a:pt x="0" y="291582"/>
                  </a:lnTo>
                  <a:close/>
                  <a:moveTo>
                    <a:pt x="1926994" y="0"/>
                  </a:moveTo>
                  <a:cubicBezTo>
                    <a:pt x="1941927" y="0"/>
                    <a:pt x="1955159" y="900"/>
                    <a:pt x="1966692" y="2700"/>
                  </a:cubicBezTo>
                  <a:cubicBezTo>
                    <a:pt x="1978224" y="4500"/>
                    <a:pt x="1988857" y="7266"/>
                    <a:pt x="1998590" y="10999"/>
                  </a:cubicBezTo>
                  <a:lnTo>
                    <a:pt x="1998590" y="70796"/>
                  </a:lnTo>
                  <a:cubicBezTo>
                    <a:pt x="1993790" y="67463"/>
                    <a:pt x="1988557" y="64529"/>
                    <a:pt x="1982891" y="61996"/>
                  </a:cubicBezTo>
                  <a:cubicBezTo>
                    <a:pt x="1977224" y="59463"/>
                    <a:pt x="1971392" y="57363"/>
                    <a:pt x="1965392" y="55697"/>
                  </a:cubicBezTo>
                  <a:cubicBezTo>
                    <a:pt x="1959392" y="54030"/>
                    <a:pt x="1953426" y="52797"/>
                    <a:pt x="1947493" y="51997"/>
                  </a:cubicBezTo>
                  <a:cubicBezTo>
                    <a:pt x="1941560" y="51197"/>
                    <a:pt x="1935927" y="50797"/>
                    <a:pt x="1930594" y="50797"/>
                  </a:cubicBezTo>
                  <a:cubicBezTo>
                    <a:pt x="1923261" y="50797"/>
                    <a:pt x="1916595" y="51497"/>
                    <a:pt x="1910595" y="52897"/>
                  </a:cubicBezTo>
                  <a:cubicBezTo>
                    <a:pt x="1904596" y="54297"/>
                    <a:pt x="1899529" y="56263"/>
                    <a:pt x="1895396" y="58796"/>
                  </a:cubicBezTo>
                  <a:cubicBezTo>
                    <a:pt x="1891263" y="61329"/>
                    <a:pt x="1888063" y="64363"/>
                    <a:pt x="1885797" y="67896"/>
                  </a:cubicBezTo>
                  <a:cubicBezTo>
                    <a:pt x="1883530" y="71429"/>
                    <a:pt x="1882397" y="75395"/>
                    <a:pt x="1882397" y="79795"/>
                  </a:cubicBezTo>
                  <a:cubicBezTo>
                    <a:pt x="1882397" y="84595"/>
                    <a:pt x="1883664" y="88895"/>
                    <a:pt x="1886197" y="92694"/>
                  </a:cubicBezTo>
                  <a:cubicBezTo>
                    <a:pt x="1888730" y="96494"/>
                    <a:pt x="1892330" y="100094"/>
                    <a:pt x="1896996" y="103494"/>
                  </a:cubicBezTo>
                  <a:cubicBezTo>
                    <a:pt x="1901663" y="106893"/>
                    <a:pt x="1907329" y="110227"/>
                    <a:pt x="1913995" y="113493"/>
                  </a:cubicBezTo>
                  <a:cubicBezTo>
                    <a:pt x="1920661" y="116759"/>
                    <a:pt x="1928194" y="120126"/>
                    <a:pt x="1936594" y="123592"/>
                  </a:cubicBezTo>
                  <a:cubicBezTo>
                    <a:pt x="1948060" y="128392"/>
                    <a:pt x="1958359" y="133492"/>
                    <a:pt x="1967492" y="138891"/>
                  </a:cubicBezTo>
                  <a:cubicBezTo>
                    <a:pt x="1976624" y="144291"/>
                    <a:pt x="1984457" y="150391"/>
                    <a:pt x="1990990" y="157190"/>
                  </a:cubicBezTo>
                  <a:cubicBezTo>
                    <a:pt x="1997523" y="163990"/>
                    <a:pt x="2002523" y="171756"/>
                    <a:pt x="2005990" y="180489"/>
                  </a:cubicBezTo>
                  <a:cubicBezTo>
                    <a:pt x="2009456" y="189222"/>
                    <a:pt x="2011189" y="199388"/>
                    <a:pt x="2011189" y="210987"/>
                  </a:cubicBezTo>
                  <a:cubicBezTo>
                    <a:pt x="2011189" y="226986"/>
                    <a:pt x="2008156" y="240419"/>
                    <a:pt x="2002090" y="251285"/>
                  </a:cubicBezTo>
                  <a:cubicBezTo>
                    <a:pt x="1996023" y="262151"/>
                    <a:pt x="1987791" y="270950"/>
                    <a:pt x="1977391" y="277683"/>
                  </a:cubicBezTo>
                  <a:cubicBezTo>
                    <a:pt x="1966992" y="284416"/>
                    <a:pt x="1954893" y="289249"/>
                    <a:pt x="1941094" y="292182"/>
                  </a:cubicBezTo>
                  <a:cubicBezTo>
                    <a:pt x="1927294" y="295115"/>
                    <a:pt x="1912728" y="296582"/>
                    <a:pt x="1897396" y="296582"/>
                  </a:cubicBezTo>
                  <a:cubicBezTo>
                    <a:pt x="1881664" y="296582"/>
                    <a:pt x="1866698" y="295249"/>
                    <a:pt x="1852499" y="292582"/>
                  </a:cubicBezTo>
                  <a:cubicBezTo>
                    <a:pt x="1838300" y="289916"/>
                    <a:pt x="1826001" y="285916"/>
                    <a:pt x="1815601" y="280583"/>
                  </a:cubicBezTo>
                  <a:lnTo>
                    <a:pt x="1815601" y="216587"/>
                  </a:lnTo>
                  <a:cubicBezTo>
                    <a:pt x="1827200" y="226319"/>
                    <a:pt x="1839800" y="233619"/>
                    <a:pt x="1853399" y="238485"/>
                  </a:cubicBezTo>
                  <a:cubicBezTo>
                    <a:pt x="1866998" y="243352"/>
                    <a:pt x="1880730" y="245785"/>
                    <a:pt x="1894596" y="245785"/>
                  </a:cubicBezTo>
                  <a:cubicBezTo>
                    <a:pt x="1902729" y="245785"/>
                    <a:pt x="1909829" y="245052"/>
                    <a:pt x="1915895" y="243585"/>
                  </a:cubicBezTo>
                  <a:cubicBezTo>
                    <a:pt x="1921961" y="242118"/>
                    <a:pt x="1927028" y="240085"/>
                    <a:pt x="1931094" y="237485"/>
                  </a:cubicBezTo>
                  <a:cubicBezTo>
                    <a:pt x="1935160" y="234886"/>
                    <a:pt x="1938194" y="231819"/>
                    <a:pt x="1940194" y="228286"/>
                  </a:cubicBezTo>
                  <a:cubicBezTo>
                    <a:pt x="1942193" y="224753"/>
                    <a:pt x="1943193" y="220920"/>
                    <a:pt x="1943193" y="216787"/>
                  </a:cubicBezTo>
                  <a:cubicBezTo>
                    <a:pt x="1943193" y="211187"/>
                    <a:pt x="1941594" y="206187"/>
                    <a:pt x="1938394" y="201788"/>
                  </a:cubicBezTo>
                  <a:cubicBezTo>
                    <a:pt x="1935194" y="197388"/>
                    <a:pt x="1930827" y="193321"/>
                    <a:pt x="1925294" y="189588"/>
                  </a:cubicBezTo>
                  <a:cubicBezTo>
                    <a:pt x="1919761" y="185855"/>
                    <a:pt x="1913195" y="182255"/>
                    <a:pt x="1905596" y="178789"/>
                  </a:cubicBezTo>
                  <a:cubicBezTo>
                    <a:pt x="1897996" y="175323"/>
                    <a:pt x="1889797" y="171789"/>
                    <a:pt x="1880997" y="168190"/>
                  </a:cubicBezTo>
                  <a:cubicBezTo>
                    <a:pt x="1858599" y="158857"/>
                    <a:pt x="1841900" y="147458"/>
                    <a:pt x="1830900" y="133992"/>
                  </a:cubicBezTo>
                  <a:cubicBezTo>
                    <a:pt x="1819901" y="120526"/>
                    <a:pt x="1814401" y="104260"/>
                    <a:pt x="1814401" y="85195"/>
                  </a:cubicBezTo>
                  <a:cubicBezTo>
                    <a:pt x="1814401" y="70262"/>
                    <a:pt x="1817401" y="57430"/>
                    <a:pt x="1823401" y="46697"/>
                  </a:cubicBezTo>
                  <a:cubicBezTo>
                    <a:pt x="1829400" y="35964"/>
                    <a:pt x="1837566" y="27132"/>
                    <a:pt x="1847899" y="20199"/>
                  </a:cubicBezTo>
                  <a:cubicBezTo>
                    <a:pt x="1858232" y="13266"/>
                    <a:pt x="1870198" y="8166"/>
                    <a:pt x="1883797" y="4900"/>
                  </a:cubicBezTo>
                  <a:cubicBezTo>
                    <a:pt x="1897396" y="1633"/>
                    <a:pt x="1911795" y="0"/>
                    <a:pt x="192699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6650427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2"/>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212"/>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54"/>
                                        </p:tgtEl>
                                        <p:attrNameLst>
                                          <p:attrName>style.visibility</p:attrName>
                                        </p:attrNameLst>
                                      </p:cBhvr>
                                      <p:to>
                                        <p:strVal val="visible"/>
                                      </p:to>
                                    </p:set>
                                    <p:animEffect transition="in" filter="fade">
                                      <p:cBhvr>
                                        <p:cTn id="13" dur="500"/>
                                        <p:tgtEl>
                                          <p:spTgt spid="15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56"/>
                                        </p:tgtEl>
                                        <p:attrNameLst>
                                          <p:attrName>style.visibility</p:attrName>
                                        </p:attrNameLst>
                                      </p:cBhvr>
                                      <p:to>
                                        <p:strVal val="visible"/>
                                      </p:to>
                                    </p:set>
                                    <p:animEffect transition="in" filter="fade">
                                      <p:cBhvr>
                                        <p:cTn id="18" dur="500"/>
                                        <p:tgtEl>
                                          <p:spTgt spid="156"/>
                                        </p:tgtEl>
                                      </p:cBhvr>
                                    </p:animEffect>
                                  </p:childTnLst>
                                </p:cTn>
                              </p:par>
                              <p:par>
                                <p:cTn id="19" presetID="10" presetClass="entr" presetSubtype="0" fill="hold" nodeType="withEffect">
                                  <p:stCondLst>
                                    <p:cond delay="0"/>
                                  </p:stCondLst>
                                  <p:childTnLst>
                                    <p:set>
                                      <p:cBhvr>
                                        <p:cTn id="20" dur="1" fill="hold">
                                          <p:stCondLst>
                                            <p:cond delay="0"/>
                                          </p:stCondLst>
                                        </p:cTn>
                                        <p:tgtEl>
                                          <p:spTgt spid="197"/>
                                        </p:tgtEl>
                                        <p:attrNameLst>
                                          <p:attrName>style.visibility</p:attrName>
                                        </p:attrNameLst>
                                      </p:cBhvr>
                                      <p:to>
                                        <p:strVal val="visible"/>
                                      </p:to>
                                    </p:set>
                                    <p:animEffect transition="in" filter="fade">
                                      <p:cBhvr>
                                        <p:cTn id="21" dur="500"/>
                                        <p:tgtEl>
                                          <p:spTgt spid="197"/>
                                        </p:tgtEl>
                                      </p:cBhvr>
                                    </p:animEffect>
                                  </p:childTnLst>
                                </p:cTn>
                              </p:par>
                              <p:par>
                                <p:cTn id="22" presetID="10" presetClass="entr" presetSubtype="0" fill="hold" nodeType="withEffect">
                                  <p:stCondLst>
                                    <p:cond delay="0"/>
                                  </p:stCondLst>
                                  <p:childTnLst>
                                    <p:set>
                                      <p:cBhvr>
                                        <p:cTn id="23" dur="1" fill="hold">
                                          <p:stCondLst>
                                            <p:cond delay="0"/>
                                          </p:stCondLst>
                                        </p:cTn>
                                        <p:tgtEl>
                                          <p:spTgt spid="187"/>
                                        </p:tgtEl>
                                        <p:attrNameLst>
                                          <p:attrName>style.visibility</p:attrName>
                                        </p:attrNameLst>
                                      </p:cBhvr>
                                      <p:to>
                                        <p:strVal val="visible"/>
                                      </p:to>
                                    </p:set>
                                    <p:animEffect transition="in" filter="fade">
                                      <p:cBhvr>
                                        <p:cTn id="24" dur="500"/>
                                        <p:tgtEl>
                                          <p:spTgt spid="187"/>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57"/>
                                        </p:tgtEl>
                                        <p:attrNameLst>
                                          <p:attrName>style.visibility</p:attrName>
                                        </p:attrNameLst>
                                      </p:cBhvr>
                                      <p:to>
                                        <p:strVal val="visible"/>
                                      </p:to>
                                    </p:set>
                                    <p:animEffect transition="in" filter="fade">
                                      <p:cBhvr>
                                        <p:cTn id="29" dur="500"/>
                                        <p:tgtEl>
                                          <p:spTgt spid="157"/>
                                        </p:tgtEl>
                                      </p:cBhvr>
                                    </p:animEffect>
                                  </p:childTnLst>
                                </p:cTn>
                              </p:par>
                              <p:par>
                                <p:cTn id="30" presetID="10" presetClass="entr" presetSubtype="0" fill="hold" nodeType="withEffect">
                                  <p:stCondLst>
                                    <p:cond delay="0"/>
                                  </p:stCondLst>
                                  <p:childTnLst>
                                    <p:set>
                                      <p:cBhvr>
                                        <p:cTn id="31" dur="1" fill="hold">
                                          <p:stCondLst>
                                            <p:cond delay="0"/>
                                          </p:stCondLst>
                                        </p:cTn>
                                        <p:tgtEl>
                                          <p:spTgt spid="206"/>
                                        </p:tgtEl>
                                        <p:attrNameLst>
                                          <p:attrName>style.visibility</p:attrName>
                                        </p:attrNameLst>
                                      </p:cBhvr>
                                      <p:to>
                                        <p:strVal val="visible"/>
                                      </p:to>
                                    </p:set>
                                    <p:animEffect transition="in" filter="fade">
                                      <p:cBhvr>
                                        <p:cTn id="32" dur="500"/>
                                        <p:tgtEl>
                                          <p:spTgt spid="2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243A5E"/>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5578F92-91B9-4C38-98A3-CCACF3C535CA}"/>
              </a:ext>
            </a:extLst>
          </p:cNvPr>
          <p:cNvSpPr txBox="1"/>
          <p:nvPr/>
        </p:nvSpPr>
        <p:spPr>
          <a:xfrm>
            <a:off x="886366" y="583962"/>
            <a:ext cx="8715347"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884613" algn="l"/>
              </a:tabLst>
              <a:defRPr/>
            </a:pPr>
            <a:r>
              <a:rPr kumimoji="0" lang="en-US" sz="44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Segoe UI Semibold" panose="020B0702040204020203" pitchFamily="34" charset="0"/>
                <a:ea typeface="+mn-ea"/>
                <a:cs typeface="Segoe UI Semibold" panose="020B0702040204020203" pitchFamily="34" charset="0"/>
              </a:rPr>
              <a:t>Preparing Students for the Future</a:t>
            </a:r>
          </a:p>
        </p:txBody>
      </p:sp>
      <p:grpSp>
        <p:nvGrpSpPr>
          <p:cNvPr id="8" name="Group 7">
            <a:extLst>
              <a:ext uri="{FF2B5EF4-FFF2-40B4-BE49-F238E27FC236}">
                <a16:creationId xmlns:a16="http://schemas.microsoft.com/office/drawing/2014/main" id="{0CC766F0-0008-42FA-B45F-1194D4E8B0CA}"/>
              </a:ext>
            </a:extLst>
          </p:cNvPr>
          <p:cNvGrpSpPr/>
          <p:nvPr/>
        </p:nvGrpSpPr>
        <p:grpSpPr>
          <a:xfrm>
            <a:off x="797877" y="1873222"/>
            <a:ext cx="10507758" cy="4196164"/>
            <a:chOff x="817754" y="1873222"/>
            <a:chExt cx="10507758" cy="4196164"/>
          </a:xfrm>
        </p:grpSpPr>
        <p:grpSp>
          <p:nvGrpSpPr>
            <p:cNvPr id="7" name="Group 6">
              <a:extLst>
                <a:ext uri="{FF2B5EF4-FFF2-40B4-BE49-F238E27FC236}">
                  <a16:creationId xmlns:a16="http://schemas.microsoft.com/office/drawing/2014/main" id="{C23E506C-BDAF-43AE-86E0-CD7624618C7F}"/>
                </a:ext>
              </a:extLst>
            </p:cNvPr>
            <p:cNvGrpSpPr/>
            <p:nvPr/>
          </p:nvGrpSpPr>
          <p:grpSpPr>
            <a:xfrm>
              <a:off x="6432544" y="1873222"/>
              <a:ext cx="4892968" cy="4196162"/>
              <a:chOff x="6281469" y="1873222"/>
              <a:chExt cx="4892968" cy="4196162"/>
            </a:xfrm>
          </p:grpSpPr>
          <p:sp>
            <p:nvSpPr>
              <p:cNvPr id="40" name="Rectangle 39">
                <a:extLst>
                  <a:ext uri="{FF2B5EF4-FFF2-40B4-BE49-F238E27FC236}">
                    <a16:creationId xmlns:a16="http://schemas.microsoft.com/office/drawing/2014/main" id="{876009F4-DDA0-4F78-8E26-05254B419A81}"/>
                  </a:ext>
                </a:extLst>
              </p:cNvPr>
              <p:cNvSpPr/>
              <p:nvPr/>
            </p:nvSpPr>
            <p:spPr>
              <a:xfrm>
                <a:off x="6281469" y="5568833"/>
                <a:ext cx="4892968" cy="50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Develop Skills Needed for Students’ Future Success</a:t>
                </a:r>
              </a:p>
            </p:txBody>
          </p:sp>
          <p:pic>
            <p:nvPicPr>
              <p:cNvPr id="3" name="Picture 2" descr="Two people standing in front of a screen&#10;&#10;Description automatically generated">
                <a:extLst>
                  <a:ext uri="{FF2B5EF4-FFF2-40B4-BE49-F238E27FC236}">
                    <a16:creationId xmlns:a16="http://schemas.microsoft.com/office/drawing/2014/main" id="{EA6060F1-8BBC-40D0-8AB9-617F9302DC50}"/>
                  </a:ext>
                </a:extLst>
              </p:cNvPr>
              <p:cNvPicPr>
                <a:picLocks noChangeAspect="1"/>
              </p:cNvPicPr>
              <p:nvPr/>
            </p:nvPicPr>
            <p:blipFill rotWithShape="1">
              <a:blip r:embed="rId2">
                <a:extLst>
                  <a:ext uri="{28A0092B-C50C-407E-A947-70E740481C1C}">
                    <a14:useLocalDpi xmlns:a14="http://schemas.microsoft.com/office/drawing/2010/main" val="0"/>
                  </a:ext>
                </a:extLst>
              </a:blip>
              <a:srcRect t="1426"/>
              <a:stretch/>
            </p:blipFill>
            <p:spPr>
              <a:xfrm>
                <a:off x="6281469" y="1873222"/>
                <a:ext cx="4892968" cy="3668772"/>
              </a:xfrm>
              <a:prstGeom prst="rect">
                <a:avLst/>
              </a:prstGeom>
              <a:effectLst>
                <a:outerShdw blurRad="50800" dist="38100" dir="10800000" algn="r" rotWithShape="0">
                  <a:prstClr val="black">
                    <a:alpha val="40000"/>
                  </a:prstClr>
                </a:outerShdw>
              </a:effectLst>
            </p:spPr>
          </p:pic>
        </p:grpSp>
        <p:grpSp>
          <p:nvGrpSpPr>
            <p:cNvPr id="6" name="Group 5">
              <a:extLst>
                <a:ext uri="{FF2B5EF4-FFF2-40B4-BE49-F238E27FC236}">
                  <a16:creationId xmlns:a16="http://schemas.microsoft.com/office/drawing/2014/main" id="{B71B3719-2E60-466D-AD0E-34CA6218188F}"/>
                </a:ext>
              </a:extLst>
            </p:cNvPr>
            <p:cNvGrpSpPr/>
            <p:nvPr/>
          </p:nvGrpSpPr>
          <p:grpSpPr>
            <a:xfrm>
              <a:off x="817754" y="1873222"/>
              <a:ext cx="5526301" cy="4196164"/>
              <a:chOff x="929072" y="1873222"/>
              <a:chExt cx="5526301" cy="4196164"/>
            </a:xfrm>
          </p:grpSpPr>
          <p:sp>
            <p:nvSpPr>
              <p:cNvPr id="38" name="Rectangle 37">
                <a:extLst>
                  <a:ext uri="{FF2B5EF4-FFF2-40B4-BE49-F238E27FC236}">
                    <a16:creationId xmlns:a16="http://schemas.microsoft.com/office/drawing/2014/main" id="{2CAB47C4-96A0-4F6F-BEA4-2F476692C1F7}"/>
                  </a:ext>
                </a:extLst>
              </p:cNvPr>
              <p:cNvSpPr/>
              <p:nvPr/>
            </p:nvSpPr>
            <p:spPr>
              <a:xfrm>
                <a:off x="929072" y="5568835"/>
                <a:ext cx="5526301" cy="500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Empower Students through Student-Centered Learning</a:t>
                </a:r>
              </a:p>
            </p:txBody>
          </p:sp>
          <p:pic>
            <p:nvPicPr>
              <p:cNvPr id="5" name="Picture 4" descr="A group of people sitting at a table using a computer&#10;&#10;Description automatically generated">
                <a:extLst>
                  <a:ext uri="{FF2B5EF4-FFF2-40B4-BE49-F238E27FC236}">
                    <a16:creationId xmlns:a16="http://schemas.microsoft.com/office/drawing/2014/main" id="{9C37FC0B-8B53-4655-BBEF-05B7E306F204}"/>
                  </a:ext>
                </a:extLst>
              </p:cNvPr>
              <p:cNvPicPr>
                <a:picLocks noChangeAspect="1"/>
              </p:cNvPicPr>
              <p:nvPr/>
            </p:nvPicPr>
            <p:blipFill rotWithShape="1">
              <a:blip r:embed="rId3">
                <a:extLst>
                  <a:ext uri="{28A0092B-C50C-407E-A947-70E740481C1C}">
                    <a14:useLocalDpi xmlns:a14="http://schemas.microsoft.com/office/drawing/2010/main" val="0"/>
                  </a:ext>
                </a:extLst>
              </a:blip>
              <a:srcRect l="19063" r="5703"/>
              <a:stretch/>
            </p:blipFill>
            <p:spPr>
              <a:xfrm>
                <a:off x="1017561" y="1873222"/>
                <a:ext cx="4892968" cy="3668773"/>
              </a:xfrm>
              <a:prstGeom prst="rect">
                <a:avLst/>
              </a:prstGeom>
              <a:effectLst>
                <a:outerShdw blurRad="50800" dist="38100" dir="10800000" algn="r" rotWithShape="0">
                  <a:prstClr val="black">
                    <a:alpha val="40000"/>
                  </a:prstClr>
                </a:outerShdw>
              </a:effectLst>
            </p:spPr>
          </p:pic>
        </p:grpSp>
      </p:grpSp>
    </p:spTree>
    <p:extLst>
      <p:ext uri="{BB962C8B-B14F-4D97-AF65-F5344CB8AC3E}">
        <p14:creationId xmlns:p14="http://schemas.microsoft.com/office/powerpoint/2010/main" val="218084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491"/>
            <a:ext cx="12191999" cy="685949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 name="Rectangle 12"/>
          <p:cNvSpPr/>
          <p:nvPr/>
        </p:nvSpPr>
        <p:spPr>
          <a:xfrm rot="16200000">
            <a:off x="4477388" y="-2706840"/>
            <a:ext cx="3237226"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flipH="1">
            <a:off x="0" y="2057400"/>
            <a:ext cx="12192000" cy="2743200"/>
          </a:xfrm>
          <a:prstGeom prst="rect">
            <a:avLst/>
          </a:prstGeom>
        </p:spPr>
      </p:pic>
      <p:grpSp>
        <p:nvGrpSpPr>
          <p:cNvPr id="19" name="Group 18"/>
          <p:cNvGrpSpPr/>
          <p:nvPr/>
        </p:nvGrpSpPr>
        <p:grpSpPr>
          <a:xfrm>
            <a:off x="-55336" y="5319514"/>
            <a:ext cx="12074884" cy="903049"/>
            <a:chOff x="375052" y="2262165"/>
            <a:chExt cx="10346969" cy="1994942"/>
          </a:xfrm>
          <a:noFill/>
        </p:grpSpPr>
        <p:sp>
          <p:nvSpPr>
            <p:cNvPr id="23" name="Rectangle 22"/>
            <p:cNvSpPr/>
            <p:nvPr/>
          </p:nvSpPr>
          <p:spPr>
            <a:xfrm>
              <a:off x="8727079" y="2262165"/>
              <a:ext cx="1994942" cy="19949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COMPUTATIONAL THINKING</a:t>
              </a:r>
            </a:p>
          </p:txBody>
        </p:sp>
        <p:sp>
          <p:nvSpPr>
            <p:cNvPr id="24" name="Rectangle 23"/>
            <p:cNvSpPr/>
            <p:nvPr/>
          </p:nvSpPr>
          <p:spPr>
            <a:xfrm>
              <a:off x="6639072" y="2262165"/>
              <a:ext cx="1994942" cy="19949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CRITICAL THINKING</a:t>
              </a:r>
            </a:p>
          </p:txBody>
        </p:sp>
        <p:sp>
          <p:nvSpPr>
            <p:cNvPr id="25" name="Rectangle 24"/>
            <p:cNvSpPr/>
            <p:nvPr/>
          </p:nvSpPr>
          <p:spPr>
            <a:xfrm>
              <a:off x="4551065" y="2262165"/>
              <a:ext cx="1994942" cy="19949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COLLABORATION</a:t>
              </a:r>
            </a:p>
          </p:txBody>
        </p:sp>
        <p:sp>
          <p:nvSpPr>
            <p:cNvPr id="26" name="Rectangle 25"/>
            <p:cNvSpPr/>
            <p:nvPr/>
          </p:nvSpPr>
          <p:spPr>
            <a:xfrm>
              <a:off x="2463059" y="2262165"/>
              <a:ext cx="1994942" cy="19949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COMMUNICATION</a:t>
              </a:r>
            </a:p>
          </p:txBody>
        </p:sp>
        <p:sp>
          <p:nvSpPr>
            <p:cNvPr id="27" name="Rectangle 26"/>
            <p:cNvSpPr/>
            <p:nvPr/>
          </p:nvSpPr>
          <p:spPr>
            <a:xfrm>
              <a:off x="375052" y="2262165"/>
              <a:ext cx="1994942" cy="19949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a:ea typeface="+mn-ea"/>
                  <a:cs typeface="+mn-cs"/>
                </a:rPr>
                <a:t>CREATIVITY</a:t>
              </a:r>
            </a:p>
          </p:txBody>
        </p:sp>
      </p:grpSp>
      <p:sp>
        <p:nvSpPr>
          <p:cNvPr id="6" name="TextBox 5"/>
          <p:cNvSpPr txBox="1"/>
          <p:nvPr/>
        </p:nvSpPr>
        <p:spPr>
          <a:xfrm>
            <a:off x="304799" y="422532"/>
            <a:ext cx="1158240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Segoe UI" panose="020B0502040204020203" pitchFamily="34" charset="0"/>
                <a:ea typeface="+mn-ea"/>
                <a:cs typeface="+mn-cs"/>
                <a:sym typeface="Segoe UI" panose="020B0502040204020203" pitchFamily="34" charset="0"/>
              </a:rPr>
              <a:t>BUILDING ESSENTIAL </a:t>
            </a:r>
            <a:r>
              <a:rPr kumimoji="0" lang="en-US" sz="4400" b="1" i="0" u="none" strike="noStrike" kern="1200" cap="none" spc="0" normalizeH="0" baseline="0" noProof="0">
                <a:ln>
                  <a:noFill/>
                </a:ln>
                <a:solidFill>
                  <a:srgbClr val="008AD1"/>
                </a:solidFill>
                <a:effectLst/>
                <a:uLnTx/>
                <a:uFillTx/>
                <a:latin typeface="Segoe UI" panose="020B0502040204020203" pitchFamily="34" charset="0"/>
                <a:ea typeface="+mn-ea"/>
                <a:cs typeface="+mn-cs"/>
                <a:sym typeface="Segoe UI" panose="020B0502040204020203" pitchFamily="34" charset="0"/>
              </a:rPr>
              <a:t>LIFE SKILLS</a:t>
            </a:r>
          </a:p>
        </p:txBody>
      </p:sp>
    </p:spTree>
    <p:extLst>
      <p:ext uri="{BB962C8B-B14F-4D97-AF65-F5344CB8AC3E}">
        <p14:creationId xmlns:p14="http://schemas.microsoft.com/office/powerpoint/2010/main" val="2897349093"/>
      </p:ext>
    </p:extLst>
  </p:cSld>
  <p:clrMapOvr>
    <a:masterClrMapping/>
  </p:clrMapOvr>
  <mc:AlternateContent xmlns:mc="http://schemas.openxmlformats.org/markup-compatibility/2006" xmlns:p14="http://schemas.microsoft.com/office/powerpoint/2010/main">
    <mc:Choice Requires="p14">
      <p:transition spd="slow" p14:dur="2000">
        <p:split dir="in"/>
      </p:transition>
    </mc:Choice>
    <mc:Fallback xmlns="">
      <p:transition spd="slow">
        <p:split dir="in"/>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sp>
        <p:nvSpPr>
          <p:cNvPr id="279" name="Rectangle 278"/>
          <p:cNvSpPr/>
          <p:nvPr/>
        </p:nvSpPr>
        <p:spPr>
          <a:xfrm>
            <a:off x="7772814" y="776432"/>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INFORMAL</a:t>
            </a:r>
          </a:p>
        </p:txBody>
      </p:sp>
      <p:sp>
        <p:nvSpPr>
          <p:cNvPr id="280" name="Rectangle 279"/>
          <p:cNvSpPr/>
          <p:nvPr/>
        </p:nvSpPr>
        <p:spPr>
          <a:xfrm>
            <a:off x="7772814" y="1326037"/>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OCIALLY FILTERED</a:t>
            </a:r>
          </a:p>
        </p:txBody>
      </p:sp>
      <p:sp>
        <p:nvSpPr>
          <p:cNvPr id="281" name="Rectangle 280"/>
          <p:cNvSpPr/>
          <p:nvPr/>
        </p:nvSpPr>
        <p:spPr>
          <a:xfrm>
            <a:off x="7772814" y="1875641"/>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MMUNITY</a:t>
            </a:r>
          </a:p>
        </p:txBody>
      </p:sp>
      <p:sp>
        <p:nvSpPr>
          <p:cNvPr id="282" name="Rectangle 281"/>
          <p:cNvSpPr/>
          <p:nvPr/>
        </p:nvSpPr>
        <p:spPr>
          <a:xfrm>
            <a:off x="7772814" y="2425245"/>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ACHING</a:t>
            </a:r>
          </a:p>
        </p:txBody>
      </p:sp>
      <p:sp>
        <p:nvSpPr>
          <p:cNvPr id="283" name="Rectangle 282"/>
          <p:cNvSpPr/>
          <p:nvPr/>
        </p:nvSpPr>
        <p:spPr>
          <a:xfrm>
            <a:off x="7772814" y="2974850"/>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TRIBUTION/CO-CREATION</a:t>
            </a:r>
          </a:p>
        </p:txBody>
      </p:sp>
      <p:sp>
        <p:nvSpPr>
          <p:cNvPr id="284" name="Rectangle 283"/>
          <p:cNvSpPr/>
          <p:nvPr/>
        </p:nvSpPr>
        <p:spPr>
          <a:xfrm>
            <a:off x="7772814" y="3524454"/>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EER REVIEWED</a:t>
            </a:r>
          </a:p>
        </p:txBody>
      </p:sp>
      <p:sp>
        <p:nvSpPr>
          <p:cNvPr id="285" name="Rectangle 284"/>
          <p:cNvSpPr/>
          <p:nvPr/>
        </p:nvSpPr>
        <p:spPr>
          <a:xfrm>
            <a:off x="7772814" y="4074058"/>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OCAL RELEVANCE</a:t>
            </a:r>
          </a:p>
        </p:txBody>
      </p:sp>
      <p:sp>
        <p:nvSpPr>
          <p:cNvPr id="286" name="Rectangle 285"/>
          <p:cNvSpPr/>
          <p:nvPr/>
        </p:nvSpPr>
        <p:spPr>
          <a:xfrm>
            <a:off x="7772814" y="4623663"/>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LWAYS ON</a:t>
            </a:r>
          </a:p>
        </p:txBody>
      </p:sp>
      <p:sp>
        <p:nvSpPr>
          <p:cNvPr id="287" name="Rectangle 286"/>
          <p:cNvSpPr/>
          <p:nvPr/>
        </p:nvSpPr>
        <p:spPr>
          <a:xfrm>
            <a:off x="7772814" y="5173270"/>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NETWORKED/FEDERATED</a:t>
            </a:r>
          </a:p>
        </p:txBody>
      </p:sp>
      <p:sp>
        <p:nvSpPr>
          <p:cNvPr id="288" name="Rectangle 287"/>
          <p:cNvSpPr/>
          <p:nvPr/>
        </p:nvSpPr>
        <p:spPr>
          <a:xfrm>
            <a:off x="7276568" y="776432"/>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89" name="Rectangle 288"/>
          <p:cNvSpPr/>
          <p:nvPr/>
        </p:nvSpPr>
        <p:spPr>
          <a:xfrm>
            <a:off x="7276568" y="1326037"/>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0" name="Rectangle 289"/>
          <p:cNvSpPr/>
          <p:nvPr/>
        </p:nvSpPr>
        <p:spPr>
          <a:xfrm>
            <a:off x="7276568" y="1875641"/>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1" name="Rectangle 290"/>
          <p:cNvSpPr/>
          <p:nvPr/>
        </p:nvSpPr>
        <p:spPr>
          <a:xfrm>
            <a:off x="7276568" y="2425245"/>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2" name="Rectangle 291"/>
          <p:cNvSpPr/>
          <p:nvPr/>
        </p:nvSpPr>
        <p:spPr>
          <a:xfrm>
            <a:off x="7276568" y="2974850"/>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3" name="Rectangle 292"/>
          <p:cNvSpPr/>
          <p:nvPr/>
        </p:nvSpPr>
        <p:spPr>
          <a:xfrm>
            <a:off x="7276568" y="3524454"/>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4" name="Rectangle 293"/>
          <p:cNvSpPr/>
          <p:nvPr/>
        </p:nvSpPr>
        <p:spPr>
          <a:xfrm>
            <a:off x="7276568" y="4074058"/>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5" name="Rectangle 294"/>
          <p:cNvSpPr/>
          <p:nvPr/>
        </p:nvSpPr>
        <p:spPr>
          <a:xfrm>
            <a:off x="7276568" y="4623663"/>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296" name="Rectangle 295"/>
          <p:cNvSpPr/>
          <p:nvPr/>
        </p:nvSpPr>
        <p:spPr>
          <a:xfrm>
            <a:off x="7276568" y="5173270"/>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15" name="Group 314"/>
          <p:cNvGrpSpPr/>
          <p:nvPr/>
        </p:nvGrpSpPr>
        <p:grpSpPr>
          <a:xfrm>
            <a:off x="7337021" y="869137"/>
            <a:ext cx="348929" cy="273982"/>
            <a:chOff x="7357757" y="1552741"/>
            <a:chExt cx="348979" cy="274021"/>
          </a:xfrm>
        </p:grpSpPr>
        <p:sp>
          <p:nvSpPr>
            <p:cNvPr id="451" name="Freeform 53"/>
            <p:cNvSpPr>
              <a:spLocks/>
            </p:cNvSpPr>
            <p:nvPr/>
          </p:nvSpPr>
          <p:spPr bwMode="auto">
            <a:xfrm>
              <a:off x="7439005" y="1629090"/>
              <a:ext cx="147943" cy="197672"/>
            </a:xfrm>
            <a:custGeom>
              <a:avLst/>
              <a:gdLst>
                <a:gd name="T0" fmla="*/ 244 w 858"/>
                <a:gd name="T1" fmla="*/ 798 h 1147"/>
                <a:gd name="T2" fmla="*/ 236 w 858"/>
                <a:gd name="T3" fmla="*/ 765 h 1147"/>
                <a:gd name="T4" fmla="*/ 43 w 858"/>
                <a:gd name="T5" fmla="*/ 243 h 1147"/>
                <a:gd name="T6" fmla="*/ 97 w 858"/>
                <a:gd name="T7" fmla="*/ 166 h 1147"/>
                <a:gd name="T8" fmla="*/ 141 w 858"/>
                <a:gd name="T9" fmla="*/ 207 h 1147"/>
                <a:gd name="T10" fmla="*/ 257 w 858"/>
                <a:gd name="T11" fmla="*/ 519 h 1147"/>
                <a:gd name="T12" fmla="*/ 268 w 858"/>
                <a:gd name="T13" fmla="*/ 549 h 1147"/>
                <a:gd name="T14" fmla="*/ 297 w 858"/>
                <a:gd name="T15" fmla="*/ 566 h 1147"/>
                <a:gd name="T16" fmla="*/ 309 w 858"/>
                <a:gd name="T17" fmla="*/ 534 h 1147"/>
                <a:gd name="T18" fmla="*/ 239 w 858"/>
                <a:gd name="T19" fmla="*/ 347 h 1147"/>
                <a:gd name="T20" fmla="*/ 140 w 858"/>
                <a:gd name="T21" fmla="*/ 79 h 1147"/>
                <a:gd name="T22" fmla="*/ 143 w 858"/>
                <a:gd name="T23" fmla="*/ 26 h 1147"/>
                <a:gd name="T24" fmla="*/ 193 w 858"/>
                <a:gd name="T25" fmla="*/ 3 h 1147"/>
                <a:gd name="T26" fmla="*/ 237 w 858"/>
                <a:gd name="T27" fmla="*/ 40 h 1147"/>
                <a:gd name="T28" fmla="*/ 369 w 858"/>
                <a:gd name="T29" fmla="*/ 396 h 1147"/>
                <a:gd name="T30" fmla="*/ 405 w 858"/>
                <a:gd name="T31" fmla="*/ 494 h 1147"/>
                <a:gd name="T32" fmla="*/ 436 w 858"/>
                <a:gd name="T33" fmla="*/ 516 h 1147"/>
                <a:gd name="T34" fmla="*/ 446 w 858"/>
                <a:gd name="T35" fmla="*/ 479 h 1147"/>
                <a:gd name="T36" fmla="*/ 307 w 858"/>
                <a:gd name="T37" fmla="*/ 103 h 1147"/>
                <a:gd name="T38" fmla="*/ 304 w 858"/>
                <a:gd name="T39" fmla="*/ 54 h 1147"/>
                <a:gd name="T40" fmla="*/ 352 w 858"/>
                <a:gd name="T41" fmla="*/ 22 h 1147"/>
                <a:gd name="T42" fmla="*/ 401 w 858"/>
                <a:gd name="T43" fmla="*/ 57 h 1147"/>
                <a:gd name="T44" fmla="*/ 477 w 858"/>
                <a:gd name="T45" fmla="*/ 261 h 1147"/>
                <a:gd name="T46" fmla="*/ 542 w 858"/>
                <a:gd name="T47" fmla="*/ 437 h 1147"/>
                <a:gd name="T48" fmla="*/ 545 w 858"/>
                <a:gd name="T49" fmla="*/ 446 h 1147"/>
                <a:gd name="T50" fmla="*/ 577 w 858"/>
                <a:gd name="T51" fmla="*/ 466 h 1147"/>
                <a:gd name="T52" fmla="*/ 586 w 858"/>
                <a:gd name="T53" fmla="*/ 432 h 1147"/>
                <a:gd name="T54" fmla="*/ 507 w 858"/>
                <a:gd name="T55" fmla="*/ 218 h 1147"/>
                <a:gd name="T56" fmla="*/ 482 w 858"/>
                <a:gd name="T57" fmla="*/ 151 h 1147"/>
                <a:gd name="T58" fmla="*/ 512 w 858"/>
                <a:gd name="T59" fmla="*/ 82 h 1147"/>
                <a:gd name="T60" fmla="*/ 581 w 858"/>
                <a:gd name="T61" fmla="*/ 115 h 1147"/>
                <a:gd name="T62" fmla="*/ 827 w 858"/>
                <a:gd name="T63" fmla="*/ 784 h 1147"/>
                <a:gd name="T64" fmla="*/ 772 w 858"/>
                <a:gd name="T65" fmla="*/ 1028 h 1147"/>
                <a:gd name="T66" fmla="*/ 455 w 858"/>
                <a:gd name="T67" fmla="*/ 1120 h 1147"/>
                <a:gd name="T68" fmla="*/ 357 w 858"/>
                <a:gd name="T69" fmla="*/ 1069 h 1147"/>
                <a:gd name="T70" fmla="*/ 39 w 858"/>
                <a:gd name="T71" fmla="*/ 802 h 1147"/>
                <a:gd name="T72" fmla="*/ 16 w 858"/>
                <a:gd name="T73" fmla="*/ 777 h 1147"/>
                <a:gd name="T74" fmla="*/ 11 w 858"/>
                <a:gd name="T75" fmla="*/ 727 h 1147"/>
                <a:gd name="T76" fmla="*/ 64 w 858"/>
                <a:gd name="T77" fmla="*/ 705 h 1147"/>
                <a:gd name="T78" fmla="*/ 118 w 858"/>
                <a:gd name="T79" fmla="*/ 729 h 1147"/>
                <a:gd name="T80" fmla="*/ 218 w 858"/>
                <a:gd name="T81" fmla="*/ 787 h 1147"/>
                <a:gd name="T82" fmla="*/ 244 w 858"/>
                <a:gd name="T83" fmla="*/ 798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8" h="1147">
                  <a:moveTo>
                    <a:pt x="244" y="798"/>
                  </a:moveTo>
                  <a:cubicBezTo>
                    <a:pt x="241" y="783"/>
                    <a:pt x="239" y="774"/>
                    <a:pt x="236" y="765"/>
                  </a:cubicBezTo>
                  <a:cubicBezTo>
                    <a:pt x="172" y="591"/>
                    <a:pt x="107" y="417"/>
                    <a:pt x="43" y="243"/>
                  </a:cubicBezTo>
                  <a:cubicBezTo>
                    <a:pt x="26" y="198"/>
                    <a:pt x="53" y="161"/>
                    <a:pt x="97" y="166"/>
                  </a:cubicBezTo>
                  <a:cubicBezTo>
                    <a:pt x="121" y="169"/>
                    <a:pt x="133" y="185"/>
                    <a:pt x="141" y="207"/>
                  </a:cubicBezTo>
                  <a:cubicBezTo>
                    <a:pt x="179" y="311"/>
                    <a:pt x="218" y="415"/>
                    <a:pt x="257" y="519"/>
                  </a:cubicBezTo>
                  <a:cubicBezTo>
                    <a:pt x="260" y="529"/>
                    <a:pt x="265" y="539"/>
                    <a:pt x="268" y="549"/>
                  </a:cubicBezTo>
                  <a:cubicBezTo>
                    <a:pt x="273" y="564"/>
                    <a:pt x="283" y="571"/>
                    <a:pt x="297" y="566"/>
                  </a:cubicBezTo>
                  <a:cubicBezTo>
                    <a:pt x="312" y="560"/>
                    <a:pt x="314" y="548"/>
                    <a:pt x="309" y="534"/>
                  </a:cubicBezTo>
                  <a:cubicBezTo>
                    <a:pt x="285" y="472"/>
                    <a:pt x="262" y="409"/>
                    <a:pt x="239" y="347"/>
                  </a:cubicBezTo>
                  <a:cubicBezTo>
                    <a:pt x="206" y="258"/>
                    <a:pt x="173" y="168"/>
                    <a:pt x="140" y="79"/>
                  </a:cubicBezTo>
                  <a:cubicBezTo>
                    <a:pt x="133" y="61"/>
                    <a:pt x="131" y="43"/>
                    <a:pt x="143" y="26"/>
                  </a:cubicBezTo>
                  <a:cubicBezTo>
                    <a:pt x="155" y="9"/>
                    <a:pt x="172" y="0"/>
                    <a:pt x="193" y="3"/>
                  </a:cubicBezTo>
                  <a:cubicBezTo>
                    <a:pt x="215" y="6"/>
                    <a:pt x="230" y="19"/>
                    <a:pt x="237" y="40"/>
                  </a:cubicBezTo>
                  <a:cubicBezTo>
                    <a:pt x="281" y="159"/>
                    <a:pt x="325" y="278"/>
                    <a:pt x="369" y="396"/>
                  </a:cubicBezTo>
                  <a:cubicBezTo>
                    <a:pt x="381" y="429"/>
                    <a:pt x="393" y="461"/>
                    <a:pt x="405" y="494"/>
                  </a:cubicBezTo>
                  <a:cubicBezTo>
                    <a:pt x="410" y="508"/>
                    <a:pt x="417" y="523"/>
                    <a:pt x="436" y="516"/>
                  </a:cubicBezTo>
                  <a:cubicBezTo>
                    <a:pt x="455" y="509"/>
                    <a:pt x="451" y="494"/>
                    <a:pt x="446" y="479"/>
                  </a:cubicBezTo>
                  <a:cubicBezTo>
                    <a:pt x="399" y="354"/>
                    <a:pt x="352" y="228"/>
                    <a:pt x="307" y="103"/>
                  </a:cubicBezTo>
                  <a:cubicBezTo>
                    <a:pt x="302" y="88"/>
                    <a:pt x="301" y="70"/>
                    <a:pt x="304" y="54"/>
                  </a:cubicBezTo>
                  <a:cubicBezTo>
                    <a:pt x="309" y="34"/>
                    <a:pt x="331" y="22"/>
                    <a:pt x="352" y="22"/>
                  </a:cubicBezTo>
                  <a:cubicBezTo>
                    <a:pt x="375" y="23"/>
                    <a:pt x="393" y="35"/>
                    <a:pt x="401" y="57"/>
                  </a:cubicBezTo>
                  <a:cubicBezTo>
                    <a:pt x="427" y="125"/>
                    <a:pt x="452" y="193"/>
                    <a:pt x="477" y="261"/>
                  </a:cubicBezTo>
                  <a:cubicBezTo>
                    <a:pt x="499" y="320"/>
                    <a:pt x="520" y="378"/>
                    <a:pt x="542" y="437"/>
                  </a:cubicBezTo>
                  <a:cubicBezTo>
                    <a:pt x="543" y="440"/>
                    <a:pt x="544" y="443"/>
                    <a:pt x="545" y="446"/>
                  </a:cubicBezTo>
                  <a:cubicBezTo>
                    <a:pt x="550" y="461"/>
                    <a:pt x="560" y="472"/>
                    <a:pt x="577" y="466"/>
                  </a:cubicBezTo>
                  <a:cubicBezTo>
                    <a:pt x="593" y="459"/>
                    <a:pt x="591" y="446"/>
                    <a:pt x="586" y="432"/>
                  </a:cubicBezTo>
                  <a:cubicBezTo>
                    <a:pt x="560" y="361"/>
                    <a:pt x="534" y="290"/>
                    <a:pt x="507" y="218"/>
                  </a:cubicBezTo>
                  <a:cubicBezTo>
                    <a:pt x="499" y="196"/>
                    <a:pt x="490" y="174"/>
                    <a:pt x="482" y="151"/>
                  </a:cubicBezTo>
                  <a:cubicBezTo>
                    <a:pt x="472" y="121"/>
                    <a:pt x="484" y="93"/>
                    <a:pt x="512" y="82"/>
                  </a:cubicBezTo>
                  <a:cubicBezTo>
                    <a:pt x="540" y="71"/>
                    <a:pt x="569" y="85"/>
                    <a:pt x="581" y="115"/>
                  </a:cubicBezTo>
                  <a:cubicBezTo>
                    <a:pt x="663" y="338"/>
                    <a:pt x="748" y="560"/>
                    <a:pt x="827" y="784"/>
                  </a:cubicBezTo>
                  <a:cubicBezTo>
                    <a:pt x="858" y="873"/>
                    <a:pt x="842" y="961"/>
                    <a:pt x="772" y="1028"/>
                  </a:cubicBezTo>
                  <a:cubicBezTo>
                    <a:pt x="683" y="1111"/>
                    <a:pt x="576" y="1147"/>
                    <a:pt x="455" y="1120"/>
                  </a:cubicBezTo>
                  <a:cubicBezTo>
                    <a:pt x="420" y="1113"/>
                    <a:pt x="386" y="1092"/>
                    <a:pt x="357" y="1069"/>
                  </a:cubicBezTo>
                  <a:cubicBezTo>
                    <a:pt x="250" y="982"/>
                    <a:pt x="145" y="892"/>
                    <a:pt x="39" y="802"/>
                  </a:cubicBezTo>
                  <a:cubicBezTo>
                    <a:pt x="30" y="795"/>
                    <a:pt x="22" y="786"/>
                    <a:pt x="16" y="777"/>
                  </a:cubicBezTo>
                  <a:cubicBezTo>
                    <a:pt x="5" y="762"/>
                    <a:pt x="0" y="744"/>
                    <a:pt x="11" y="727"/>
                  </a:cubicBezTo>
                  <a:cubicBezTo>
                    <a:pt x="24" y="709"/>
                    <a:pt x="43" y="700"/>
                    <a:pt x="64" y="705"/>
                  </a:cubicBezTo>
                  <a:cubicBezTo>
                    <a:pt x="83" y="710"/>
                    <a:pt x="101" y="719"/>
                    <a:pt x="118" y="729"/>
                  </a:cubicBezTo>
                  <a:cubicBezTo>
                    <a:pt x="152" y="748"/>
                    <a:pt x="185" y="768"/>
                    <a:pt x="218" y="787"/>
                  </a:cubicBezTo>
                  <a:cubicBezTo>
                    <a:pt x="224" y="791"/>
                    <a:pt x="231" y="793"/>
                    <a:pt x="244" y="79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52" name="Freeform 54"/>
            <p:cNvSpPr>
              <a:spLocks/>
            </p:cNvSpPr>
            <p:nvPr/>
          </p:nvSpPr>
          <p:spPr bwMode="auto">
            <a:xfrm>
              <a:off x="7549359" y="1621191"/>
              <a:ext cx="87391" cy="182242"/>
            </a:xfrm>
            <a:custGeom>
              <a:avLst/>
              <a:gdLst>
                <a:gd name="T0" fmla="*/ 102 w 507"/>
                <a:gd name="T1" fmla="*/ 512 h 1058"/>
                <a:gd name="T2" fmla="*/ 61 w 507"/>
                <a:gd name="T3" fmla="*/ 402 h 1058"/>
                <a:gd name="T4" fmla="*/ 159 w 507"/>
                <a:gd name="T5" fmla="*/ 138 h 1058"/>
                <a:gd name="T6" fmla="*/ 163 w 507"/>
                <a:gd name="T7" fmla="*/ 125 h 1058"/>
                <a:gd name="T8" fmla="*/ 146 w 507"/>
                <a:gd name="T9" fmla="*/ 86 h 1058"/>
                <a:gd name="T10" fmla="*/ 104 w 507"/>
                <a:gd name="T11" fmla="*/ 103 h 1058"/>
                <a:gd name="T12" fmla="*/ 81 w 507"/>
                <a:gd name="T13" fmla="*/ 164 h 1058"/>
                <a:gd name="T14" fmla="*/ 27 w 507"/>
                <a:gd name="T15" fmla="*/ 310 h 1058"/>
                <a:gd name="T16" fmla="*/ 1 w 507"/>
                <a:gd name="T17" fmla="*/ 238 h 1058"/>
                <a:gd name="T18" fmla="*/ 5 w 507"/>
                <a:gd name="T19" fmla="*/ 217 h 1058"/>
                <a:gd name="T20" fmla="*/ 47 w 507"/>
                <a:gd name="T21" fmla="*/ 101 h 1058"/>
                <a:gd name="T22" fmla="*/ 207 w 507"/>
                <a:gd name="T23" fmla="*/ 70 h 1058"/>
                <a:gd name="T24" fmla="*/ 324 w 507"/>
                <a:gd name="T25" fmla="*/ 18 h 1058"/>
                <a:gd name="T26" fmla="*/ 374 w 507"/>
                <a:gd name="T27" fmla="*/ 83 h 1058"/>
                <a:gd name="T28" fmla="*/ 360 w 507"/>
                <a:gd name="T29" fmla="*/ 168 h 1058"/>
                <a:gd name="T30" fmla="*/ 372 w 507"/>
                <a:gd name="T31" fmla="*/ 168 h 1058"/>
                <a:gd name="T32" fmla="*/ 461 w 507"/>
                <a:gd name="T33" fmla="*/ 287 h 1058"/>
                <a:gd name="T34" fmla="*/ 304 w 507"/>
                <a:gd name="T35" fmla="*/ 710 h 1058"/>
                <a:gd name="T36" fmla="*/ 297 w 507"/>
                <a:gd name="T37" fmla="*/ 730 h 1058"/>
                <a:gd name="T38" fmla="*/ 316 w 507"/>
                <a:gd name="T39" fmla="*/ 720 h 1058"/>
                <a:gd name="T40" fmla="*/ 380 w 507"/>
                <a:gd name="T41" fmla="*/ 687 h 1058"/>
                <a:gd name="T42" fmla="*/ 487 w 507"/>
                <a:gd name="T43" fmla="*/ 716 h 1058"/>
                <a:gd name="T44" fmla="*/ 471 w 507"/>
                <a:gd name="T45" fmla="*/ 818 h 1058"/>
                <a:gd name="T46" fmla="*/ 446 w 507"/>
                <a:gd name="T47" fmla="*/ 841 h 1058"/>
                <a:gd name="T48" fmla="*/ 197 w 507"/>
                <a:gd name="T49" fmla="*/ 1051 h 1058"/>
                <a:gd name="T50" fmla="*/ 187 w 507"/>
                <a:gd name="T51" fmla="*/ 1058 h 1058"/>
                <a:gd name="T52" fmla="*/ 226 w 507"/>
                <a:gd name="T53" fmla="*/ 959 h 1058"/>
                <a:gd name="T54" fmla="*/ 416 w 507"/>
                <a:gd name="T55" fmla="*/ 797 h 1058"/>
                <a:gd name="T56" fmla="*/ 435 w 507"/>
                <a:gd name="T57" fmla="*/ 777 h 1058"/>
                <a:gd name="T58" fmla="*/ 441 w 507"/>
                <a:gd name="T59" fmla="*/ 745 h 1058"/>
                <a:gd name="T60" fmla="*/ 404 w 507"/>
                <a:gd name="T61" fmla="*/ 734 h 1058"/>
                <a:gd name="T62" fmla="*/ 358 w 507"/>
                <a:gd name="T63" fmla="*/ 757 h 1058"/>
                <a:gd name="T64" fmla="*/ 266 w 507"/>
                <a:gd name="T65" fmla="*/ 810 h 1058"/>
                <a:gd name="T66" fmla="*/ 228 w 507"/>
                <a:gd name="T67" fmla="*/ 810 h 1058"/>
                <a:gd name="T68" fmla="*/ 224 w 507"/>
                <a:gd name="T69" fmla="*/ 773 h 1058"/>
                <a:gd name="T70" fmla="*/ 408 w 507"/>
                <a:gd name="T71" fmla="*/ 277 h 1058"/>
                <a:gd name="T72" fmla="*/ 395 w 507"/>
                <a:gd name="T73" fmla="*/ 221 h 1058"/>
                <a:gd name="T74" fmla="*/ 348 w 507"/>
                <a:gd name="T75" fmla="*/ 255 h 1058"/>
                <a:gd name="T76" fmla="*/ 232 w 507"/>
                <a:gd name="T77" fmla="*/ 567 h 1058"/>
                <a:gd name="T78" fmla="*/ 208 w 507"/>
                <a:gd name="T79" fmla="*/ 596 h 1058"/>
                <a:gd name="T80" fmla="*/ 168 w 507"/>
                <a:gd name="T81" fmla="*/ 591 h 1058"/>
                <a:gd name="T82" fmla="*/ 157 w 507"/>
                <a:gd name="T83" fmla="*/ 549 h 1058"/>
                <a:gd name="T84" fmla="*/ 231 w 507"/>
                <a:gd name="T85" fmla="*/ 348 h 1058"/>
                <a:gd name="T86" fmla="*/ 316 w 507"/>
                <a:gd name="T87" fmla="*/ 120 h 1058"/>
                <a:gd name="T88" fmla="*/ 321 w 507"/>
                <a:gd name="T89" fmla="*/ 105 h 1058"/>
                <a:gd name="T90" fmla="*/ 301 w 507"/>
                <a:gd name="T91" fmla="*/ 66 h 1058"/>
                <a:gd name="T92" fmla="*/ 261 w 507"/>
                <a:gd name="T93" fmla="*/ 84 h 1058"/>
                <a:gd name="T94" fmla="*/ 237 w 507"/>
                <a:gd name="T95" fmla="*/ 149 h 1058"/>
                <a:gd name="T96" fmla="*/ 109 w 507"/>
                <a:gd name="T97" fmla="*/ 493 h 1058"/>
                <a:gd name="T98" fmla="*/ 102 w 507"/>
                <a:gd name="T99" fmla="*/ 512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7" h="1058">
                  <a:moveTo>
                    <a:pt x="102" y="512"/>
                  </a:moveTo>
                  <a:cubicBezTo>
                    <a:pt x="88" y="473"/>
                    <a:pt x="75" y="438"/>
                    <a:pt x="61" y="402"/>
                  </a:cubicBezTo>
                  <a:cubicBezTo>
                    <a:pt x="94" y="314"/>
                    <a:pt x="126" y="226"/>
                    <a:pt x="159" y="138"/>
                  </a:cubicBezTo>
                  <a:cubicBezTo>
                    <a:pt x="160" y="134"/>
                    <a:pt x="162" y="130"/>
                    <a:pt x="163" y="125"/>
                  </a:cubicBezTo>
                  <a:cubicBezTo>
                    <a:pt x="168" y="108"/>
                    <a:pt x="161" y="92"/>
                    <a:pt x="146" y="86"/>
                  </a:cubicBezTo>
                  <a:cubicBezTo>
                    <a:pt x="130" y="79"/>
                    <a:pt x="112" y="86"/>
                    <a:pt x="104" y="103"/>
                  </a:cubicBezTo>
                  <a:cubicBezTo>
                    <a:pt x="96" y="123"/>
                    <a:pt x="89" y="144"/>
                    <a:pt x="81" y="164"/>
                  </a:cubicBezTo>
                  <a:cubicBezTo>
                    <a:pt x="64" y="211"/>
                    <a:pt x="46" y="258"/>
                    <a:pt x="27" y="310"/>
                  </a:cubicBezTo>
                  <a:cubicBezTo>
                    <a:pt x="17" y="283"/>
                    <a:pt x="8" y="261"/>
                    <a:pt x="1" y="238"/>
                  </a:cubicBezTo>
                  <a:cubicBezTo>
                    <a:pt x="0" y="232"/>
                    <a:pt x="3" y="223"/>
                    <a:pt x="5" y="217"/>
                  </a:cubicBezTo>
                  <a:cubicBezTo>
                    <a:pt x="19" y="178"/>
                    <a:pt x="37" y="140"/>
                    <a:pt x="47" y="101"/>
                  </a:cubicBezTo>
                  <a:cubicBezTo>
                    <a:pt x="66" y="28"/>
                    <a:pt x="156" y="3"/>
                    <a:pt x="207" y="70"/>
                  </a:cubicBezTo>
                  <a:cubicBezTo>
                    <a:pt x="242" y="17"/>
                    <a:pt x="280" y="0"/>
                    <a:pt x="324" y="18"/>
                  </a:cubicBezTo>
                  <a:cubicBezTo>
                    <a:pt x="352" y="31"/>
                    <a:pt x="373" y="52"/>
                    <a:pt x="374" y="83"/>
                  </a:cubicBezTo>
                  <a:cubicBezTo>
                    <a:pt x="374" y="111"/>
                    <a:pt x="365" y="138"/>
                    <a:pt x="360" y="168"/>
                  </a:cubicBezTo>
                  <a:cubicBezTo>
                    <a:pt x="362" y="168"/>
                    <a:pt x="367" y="168"/>
                    <a:pt x="372" y="168"/>
                  </a:cubicBezTo>
                  <a:cubicBezTo>
                    <a:pt x="443" y="163"/>
                    <a:pt x="486" y="219"/>
                    <a:pt x="461" y="287"/>
                  </a:cubicBezTo>
                  <a:cubicBezTo>
                    <a:pt x="409" y="428"/>
                    <a:pt x="356" y="569"/>
                    <a:pt x="304" y="710"/>
                  </a:cubicBezTo>
                  <a:cubicBezTo>
                    <a:pt x="302" y="715"/>
                    <a:pt x="300" y="721"/>
                    <a:pt x="297" y="730"/>
                  </a:cubicBezTo>
                  <a:cubicBezTo>
                    <a:pt x="305" y="726"/>
                    <a:pt x="311" y="723"/>
                    <a:pt x="316" y="720"/>
                  </a:cubicBezTo>
                  <a:cubicBezTo>
                    <a:pt x="337" y="709"/>
                    <a:pt x="358" y="696"/>
                    <a:pt x="380" y="687"/>
                  </a:cubicBezTo>
                  <a:cubicBezTo>
                    <a:pt x="420" y="670"/>
                    <a:pt x="465" y="683"/>
                    <a:pt x="487" y="716"/>
                  </a:cubicBezTo>
                  <a:cubicBezTo>
                    <a:pt x="507" y="745"/>
                    <a:pt x="501" y="785"/>
                    <a:pt x="471" y="818"/>
                  </a:cubicBezTo>
                  <a:cubicBezTo>
                    <a:pt x="463" y="826"/>
                    <a:pt x="455" y="834"/>
                    <a:pt x="446" y="841"/>
                  </a:cubicBezTo>
                  <a:cubicBezTo>
                    <a:pt x="363" y="911"/>
                    <a:pt x="280" y="981"/>
                    <a:pt x="197" y="1051"/>
                  </a:cubicBezTo>
                  <a:cubicBezTo>
                    <a:pt x="194" y="1054"/>
                    <a:pt x="191" y="1056"/>
                    <a:pt x="187" y="1058"/>
                  </a:cubicBezTo>
                  <a:cubicBezTo>
                    <a:pt x="200" y="1026"/>
                    <a:pt x="212" y="994"/>
                    <a:pt x="226" y="959"/>
                  </a:cubicBezTo>
                  <a:cubicBezTo>
                    <a:pt x="287" y="907"/>
                    <a:pt x="352" y="852"/>
                    <a:pt x="416" y="797"/>
                  </a:cubicBezTo>
                  <a:cubicBezTo>
                    <a:pt x="423" y="791"/>
                    <a:pt x="432" y="785"/>
                    <a:pt x="435" y="777"/>
                  </a:cubicBezTo>
                  <a:cubicBezTo>
                    <a:pt x="440" y="767"/>
                    <a:pt x="444" y="753"/>
                    <a:pt x="441" y="745"/>
                  </a:cubicBezTo>
                  <a:cubicBezTo>
                    <a:pt x="434" y="731"/>
                    <a:pt x="418" y="728"/>
                    <a:pt x="404" y="734"/>
                  </a:cubicBezTo>
                  <a:cubicBezTo>
                    <a:pt x="388" y="740"/>
                    <a:pt x="373" y="748"/>
                    <a:pt x="358" y="757"/>
                  </a:cubicBezTo>
                  <a:cubicBezTo>
                    <a:pt x="327" y="774"/>
                    <a:pt x="297" y="792"/>
                    <a:pt x="266" y="810"/>
                  </a:cubicBezTo>
                  <a:cubicBezTo>
                    <a:pt x="254" y="818"/>
                    <a:pt x="240" y="822"/>
                    <a:pt x="228" y="810"/>
                  </a:cubicBezTo>
                  <a:cubicBezTo>
                    <a:pt x="216" y="799"/>
                    <a:pt x="219" y="787"/>
                    <a:pt x="224" y="773"/>
                  </a:cubicBezTo>
                  <a:cubicBezTo>
                    <a:pt x="285" y="608"/>
                    <a:pt x="346" y="443"/>
                    <a:pt x="408" y="277"/>
                  </a:cubicBezTo>
                  <a:cubicBezTo>
                    <a:pt x="419" y="246"/>
                    <a:pt x="415" y="229"/>
                    <a:pt x="395" y="221"/>
                  </a:cubicBezTo>
                  <a:cubicBezTo>
                    <a:pt x="374" y="214"/>
                    <a:pt x="359" y="224"/>
                    <a:pt x="348" y="255"/>
                  </a:cubicBezTo>
                  <a:cubicBezTo>
                    <a:pt x="309" y="359"/>
                    <a:pt x="271" y="463"/>
                    <a:pt x="232" y="567"/>
                  </a:cubicBezTo>
                  <a:cubicBezTo>
                    <a:pt x="227" y="579"/>
                    <a:pt x="218" y="593"/>
                    <a:pt x="208" y="596"/>
                  </a:cubicBezTo>
                  <a:cubicBezTo>
                    <a:pt x="196" y="600"/>
                    <a:pt x="179" y="598"/>
                    <a:pt x="168" y="591"/>
                  </a:cubicBezTo>
                  <a:cubicBezTo>
                    <a:pt x="153" y="583"/>
                    <a:pt x="151" y="565"/>
                    <a:pt x="157" y="549"/>
                  </a:cubicBezTo>
                  <a:cubicBezTo>
                    <a:pt x="182" y="482"/>
                    <a:pt x="206" y="415"/>
                    <a:pt x="231" y="348"/>
                  </a:cubicBezTo>
                  <a:cubicBezTo>
                    <a:pt x="259" y="272"/>
                    <a:pt x="288" y="196"/>
                    <a:pt x="316" y="120"/>
                  </a:cubicBezTo>
                  <a:cubicBezTo>
                    <a:pt x="318" y="115"/>
                    <a:pt x="320" y="110"/>
                    <a:pt x="321" y="105"/>
                  </a:cubicBezTo>
                  <a:cubicBezTo>
                    <a:pt x="325" y="87"/>
                    <a:pt x="317" y="72"/>
                    <a:pt x="301" y="66"/>
                  </a:cubicBezTo>
                  <a:cubicBezTo>
                    <a:pt x="286" y="60"/>
                    <a:pt x="268" y="67"/>
                    <a:pt x="261" y="84"/>
                  </a:cubicBezTo>
                  <a:cubicBezTo>
                    <a:pt x="252" y="105"/>
                    <a:pt x="245" y="127"/>
                    <a:pt x="237" y="149"/>
                  </a:cubicBezTo>
                  <a:cubicBezTo>
                    <a:pt x="194" y="264"/>
                    <a:pt x="152" y="379"/>
                    <a:pt x="109" y="493"/>
                  </a:cubicBezTo>
                  <a:cubicBezTo>
                    <a:pt x="107" y="498"/>
                    <a:pt x="105" y="503"/>
                    <a:pt x="102" y="5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53" name="Freeform 55"/>
            <p:cNvSpPr>
              <a:spLocks/>
            </p:cNvSpPr>
            <p:nvPr/>
          </p:nvSpPr>
          <p:spPr bwMode="auto">
            <a:xfrm>
              <a:off x="7470378" y="1552741"/>
              <a:ext cx="19306" cy="45853"/>
            </a:xfrm>
            <a:custGeom>
              <a:avLst/>
              <a:gdLst>
                <a:gd name="T0" fmla="*/ 0 w 112"/>
                <a:gd name="T1" fmla="*/ 5 h 266"/>
                <a:gd name="T2" fmla="*/ 17 w 112"/>
                <a:gd name="T3" fmla="*/ 0 h 266"/>
                <a:gd name="T4" fmla="*/ 112 w 112"/>
                <a:gd name="T5" fmla="*/ 258 h 266"/>
                <a:gd name="T6" fmla="*/ 97 w 112"/>
                <a:gd name="T7" fmla="*/ 266 h 266"/>
                <a:gd name="T8" fmla="*/ 0 w 112"/>
                <a:gd name="T9" fmla="*/ 5 h 266"/>
              </a:gdLst>
              <a:ahLst/>
              <a:cxnLst>
                <a:cxn ang="0">
                  <a:pos x="T0" y="T1"/>
                </a:cxn>
                <a:cxn ang="0">
                  <a:pos x="T2" y="T3"/>
                </a:cxn>
                <a:cxn ang="0">
                  <a:pos x="T4" y="T5"/>
                </a:cxn>
                <a:cxn ang="0">
                  <a:pos x="T6" y="T7"/>
                </a:cxn>
                <a:cxn ang="0">
                  <a:pos x="T8" y="T9"/>
                </a:cxn>
              </a:cxnLst>
              <a:rect l="0" t="0" r="r" b="b"/>
              <a:pathLst>
                <a:path w="112" h="266">
                  <a:moveTo>
                    <a:pt x="0" y="5"/>
                  </a:moveTo>
                  <a:cubicBezTo>
                    <a:pt x="7" y="3"/>
                    <a:pt x="11" y="2"/>
                    <a:pt x="17" y="0"/>
                  </a:cubicBezTo>
                  <a:cubicBezTo>
                    <a:pt x="49" y="86"/>
                    <a:pt x="80" y="171"/>
                    <a:pt x="112" y="258"/>
                  </a:cubicBezTo>
                  <a:cubicBezTo>
                    <a:pt x="107" y="261"/>
                    <a:pt x="103" y="263"/>
                    <a:pt x="97" y="266"/>
                  </a:cubicBezTo>
                  <a:cubicBezTo>
                    <a:pt x="64" y="179"/>
                    <a:pt x="33" y="93"/>
                    <a:pt x="0" y="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54" name="Freeform 56"/>
            <p:cNvSpPr>
              <a:spLocks/>
            </p:cNvSpPr>
            <p:nvPr/>
          </p:nvSpPr>
          <p:spPr bwMode="auto">
            <a:xfrm>
              <a:off x="7574662" y="1552887"/>
              <a:ext cx="19526" cy="45707"/>
            </a:xfrm>
            <a:custGeom>
              <a:avLst/>
              <a:gdLst>
                <a:gd name="T0" fmla="*/ 96 w 113"/>
                <a:gd name="T1" fmla="*/ 0 h 265"/>
                <a:gd name="T2" fmla="*/ 113 w 113"/>
                <a:gd name="T3" fmla="*/ 4 h 265"/>
                <a:gd name="T4" fmla="*/ 17 w 113"/>
                <a:gd name="T5" fmla="*/ 265 h 265"/>
                <a:gd name="T6" fmla="*/ 0 w 113"/>
                <a:gd name="T7" fmla="*/ 258 h 265"/>
                <a:gd name="T8" fmla="*/ 96 w 113"/>
                <a:gd name="T9" fmla="*/ 0 h 265"/>
              </a:gdLst>
              <a:ahLst/>
              <a:cxnLst>
                <a:cxn ang="0">
                  <a:pos x="T0" y="T1"/>
                </a:cxn>
                <a:cxn ang="0">
                  <a:pos x="T2" y="T3"/>
                </a:cxn>
                <a:cxn ang="0">
                  <a:pos x="T4" y="T5"/>
                </a:cxn>
                <a:cxn ang="0">
                  <a:pos x="T6" y="T7"/>
                </a:cxn>
                <a:cxn ang="0">
                  <a:pos x="T8" y="T9"/>
                </a:cxn>
              </a:cxnLst>
              <a:rect l="0" t="0" r="r" b="b"/>
              <a:pathLst>
                <a:path w="113" h="265">
                  <a:moveTo>
                    <a:pt x="96" y="0"/>
                  </a:moveTo>
                  <a:cubicBezTo>
                    <a:pt x="102" y="1"/>
                    <a:pt x="106" y="2"/>
                    <a:pt x="113" y="4"/>
                  </a:cubicBezTo>
                  <a:cubicBezTo>
                    <a:pt x="81" y="91"/>
                    <a:pt x="49" y="178"/>
                    <a:pt x="17" y="265"/>
                  </a:cubicBezTo>
                  <a:cubicBezTo>
                    <a:pt x="11" y="262"/>
                    <a:pt x="7" y="261"/>
                    <a:pt x="0" y="258"/>
                  </a:cubicBezTo>
                  <a:cubicBezTo>
                    <a:pt x="32" y="172"/>
                    <a:pt x="64" y="86"/>
                    <a:pt x="9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55" name="Freeform 57"/>
            <p:cNvSpPr>
              <a:spLocks/>
            </p:cNvSpPr>
            <p:nvPr/>
          </p:nvSpPr>
          <p:spPr bwMode="auto">
            <a:xfrm>
              <a:off x="7378453" y="1628358"/>
              <a:ext cx="43440" cy="26400"/>
            </a:xfrm>
            <a:custGeom>
              <a:avLst/>
              <a:gdLst>
                <a:gd name="T0" fmla="*/ 252 w 252"/>
                <a:gd name="T1" fmla="*/ 138 h 153"/>
                <a:gd name="T2" fmla="*/ 243 w 252"/>
                <a:gd name="T3" fmla="*/ 153 h 153"/>
                <a:gd name="T4" fmla="*/ 0 w 252"/>
                <a:gd name="T5" fmla="*/ 15 h 153"/>
                <a:gd name="T6" fmla="*/ 8 w 252"/>
                <a:gd name="T7" fmla="*/ 0 h 153"/>
                <a:gd name="T8" fmla="*/ 252 w 252"/>
                <a:gd name="T9" fmla="*/ 138 h 153"/>
              </a:gdLst>
              <a:ahLst/>
              <a:cxnLst>
                <a:cxn ang="0">
                  <a:pos x="T0" y="T1"/>
                </a:cxn>
                <a:cxn ang="0">
                  <a:pos x="T2" y="T3"/>
                </a:cxn>
                <a:cxn ang="0">
                  <a:pos x="T4" y="T5"/>
                </a:cxn>
                <a:cxn ang="0">
                  <a:pos x="T6" y="T7"/>
                </a:cxn>
                <a:cxn ang="0">
                  <a:pos x="T8" y="T9"/>
                </a:cxn>
              </a:cxnLst>
              <a:rect l="0" t="0" r="r" b="b"/>
              <a:pathLst>
                <a:path w="252" h="153">
                  <a:moveTo>
                    <a:pt x="252" y="138"/>
                  </a:moveTo>
                  <a:cubicBezTo>
                    <a:pt x="249" y="144"/>
                    <a:pt x="247" y="147"/>
                    <a:pt x="243" y="153"/>
                  </a:cubicBezTo>
                  <a:cubicBezTo>
                    <a:pt x="162" y="107"/>
                    <a:pt x="82" y="61"/>
                    <a:pt x="0" y="15"/>
                  </a:cubicBezTo>
                  <a:cubicBezTo>
                    <a:pt x="3" y="10"/>
                    <a:pt x="5" y="6"/>
                    <a:pt x="8" y="0"/>
                  </a:cubicBezTo>
                  <a:cubicBezTo>
                    <a:pt x="90" y="46"/>
                    <a:pt x="170" y="91"/>
                    <a:pt x="252" y="13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56" name="Freeform 58"/>
            <p:cNvSpPr>
              <a:spLocks/>
            </p:cNvSpPr>
            <p:nvPr/>
          </p:nvSpPr>
          <p:spPr bwMode="auto">
            <a:xfrm>
              <a:off x="7642454" y="1628358"/>
              <a:ext cx="43732" cy="26254"/>
            </a:xfrm>
            <a:custGeom>
              <a:avLst/>
              <a:gdLst>
                <a:gd name="T0" fmla="*/ 244 w 254"/>
                <a:gd name="T1" fmla="*/ 0 h 152"/>
                <a:gd name="T2" fmla="*/ 254 w 254"/>
                <a:gd name="T3" fmla="*/ 14 h 152"/>
                <a:gd name="T4" fmla="*/ 11 w 254"/>
                <a:gd name="T5" fmla="*/ 152 h 152"/>
                <a:gd name="T6" fmla="*/ 0 w 254"/>
                <a:gd name="T7" fmla="*/ 138 h 152"/>
                <a:gd name="T8" fmla="*/ 244 w 254"/>
                <a:gd name="T9" fmla="*/ 0 h 152"/>
              </a:gdLst>
              <a:ahLst/>
              <a:cxnLst>
                <a:cxn ang="0">
                  <a:pos x="T0" y="T1"/>
                </a:cxn>
                <a:cxn ang="0">
                  <a:pos x="T2" y="T3"/>
                </a:cxn>
                <a:cxn ang="0">
                  <a:pos x="T4" y="T5"/>
                </a:cxn>
                <a:cxn ang="0">
                  <a:pos x="T6" y="T7"/>
                </a:cxn>
                <a:cxn ang="0">
                  <a:pos x="T8" y="T9"/>
                </a:cxn>
              </a:cxnLst>
              <a:rect l="0" t="0" r="r" b="b"/>
              <a:pathLst>
                <a:path w="254" h="152">
                  <a:moveTo>
                    <a:pt x="244" y="0"/>
                  </a:moveTo>
                  <a:cubicBezTo>
                    <a:pt x="248" y="5"/>
                    <a:pt x="250" y="9"/>
                    <a:pt x="254" y="14"/>
                  </a:cubicBezTo>
                  <a:cubicBezTo>
                    <a:pt x="172" y="60"/>
                    <a:pt x="92" y="106"/>
                    <a:pt x="11" y="152"/>
                  </a:cubicBezTo>
                  <a:cubicBezTo>
                    <a:pt x="7" y="148"/>
                    <a:pt x="4" y="144"/>
                    <a:pt x="0" y="138"/>
                  </a:cubicBezTo>
                  <a:cubicBezTo>
                    <a:pt x="82" y="92"/>
                    <a:pt x="162" y="47"/>
                    <a:pt x="24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57" name="Freeform 59"/>
            <p:cNvSpPr>
              <a:spLocks/>
            </p:cNvSpPr>
            <p:nvPr/>
          </p:nvSpPr>
          <p:spPr bwMode="auto">
            <a:xfrm>
              <a:off x="7357757" y="1736957"/>
              <a:ext cx="48339" cy="11189"/>
            </a:xfrm>
            <a:custGeom>
              <a:avLst/>
              <a:gdLst>
                <a:gd name="T0" fmla="*/ 5 w 280"/>
                <a:gd name="T1" fmla="*/ 65 h 65"/>
                <a:gd name="T2" fmla="*/ 0 w 280"/>
                <a:gd name="T3" fmla="*/ 48 h 65"/>
                <a:gd name="T4" fmla="*/ 277 w 280"/>
                <a:gd name="T5" fmla="*/ 0 h 65"/>
                <a:gd name="T6" fmla="*/ 280 w 280"/>
                <a:gd name="T7" fmla="*/ 17 h 65"/>
                <a:gd name="T8" fmla="*/ 5 w 280"/>
                <a:gd name="T9" fmla="*/ 65 h 65"/>
              </a:gdLst>
              <a:ahLst/>
              <a:cxnLst>
                <a:cxn ang="0">
                  <a:pos x="T0" y="T1"/>
                </a:cxn>
                <a:cxn ang="0">
                  <a:pos x="T2" y="T3"/>
                </a:cxn>
                <a:cxn ang="0">
                  <a:pos x="T4" y="T5"/>
                </a:cxn>
                <a:cxn ang="0">
                  <a:pos x="T6" y="T7"/>
                </a:cxn>
                <a:cxn ang="0">
                  <a:pos x="T8" y="T9"/>
                </a:cxn>
              </a:cxnLst>
              <a:rect l="0" t="0" r="r" b="b"/>
              <a:pathLst>
                <a:path w="280" h="65">
                  <a:moveTo>
                    <a:pt x="5" y="65"/>
                  </a:moveTo>
                  <a:cubicBezTo>
                    <a:pt x="3" y="59"/>
                    <a:pt x="2" y="54"/>
                    <a:pt x="0" y="48"/>
                  </a:cubicBezTo>
                  <a:cubicBezTo>
                    <a:pt x="93" y="32"/>
                    <a:pt x="184" y="16"/>
                    <a:pt x="277" y="0"/>
                  </a:cubicBezTo>
                  <a:cubicBezTo>
                    <a:pt x="278" y="6"/>
                    <a:pt x="279" y="10"/>
                    <a:pt x="280" y="17"/>
                  </a:cubicBezTo>
                  <a:cubicBezTo>
                    <a:pt x="188" y="33"/>
                    <a:pt x="98" y="49"/>
                    <a:pt x="5" y="6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58" name="Freeform 60"/>
            <p:cNvSpPr>
              <a:spLocks/>
            </p:cNvSpPr>
            <p:nvPr/>
          </p:nvSpPr>
          <p:spPr bwMode="auto">
            <a:xfrm>
              <a:off x="7658616" y="1736957"/>
              <a:ext cx="48120" cy="11189"/>
            </a:xfrm>
            <a:custGeom>
              <a:avLst/>
              <a:gdLst>
                <a:gd name="T0" fmla="*/ 279 w 279"/>
                <a:gd name="T1" fmla="*/ 48 h 65"/>
                <a:gd name="T2" fmla="*/ 274 w 279"/>
                <a:gd name="T3" fmla="*/ 65 h 65"/>
                <a:gd name="T4" fmla="*/ 0 w 279"/>
                <a:gd name="T5" fmla="*/ 17 h 65"/>
                <a:gd name="T6" fmla="*/ 0 w 279"/>
                <a:gd name="T7" fmla="*/ 0 h 65"/>
                <a:gd name="T8" fmla="*/ 279 w 279"/>
                <a:gd name="T9" fmla="*/ 48 h 65"/>
              </a:gdLst>
              <a:ahLst/>
              <a:cxnLst>
                <a:cxn ang="0">
                  <a:pos x="T0" y="T1"/>
                </a:cxn>
                <a:cxn ang="0">
                  <a:pos x="T2" y="T3"/>
                </a:cxn>
                <a:cxn ang="0">
                  <a:pos x="T4" y="T5"/>
                </a:cxn>
                <a:cxn ang="0">
                  <a:pos x="T6" y="T7"/>
                </a:cxn>
                <a:cxn ang="0">
                  <a:pos x="T8" y="T9"/>
                </a:cxn>
              </a:cxnLst>
              <a:rect l="0" t="0" r="r" b="b"/>
              <a:pathLst>
                <a:path w="279" h="65">
                  <a:moveTo>
                    <a:pt x="279" y="48"/>
                  </a:moveTo>
                  <a:cubicBezTo>
                    <a:pt x="277" y="55"/>
                    <a:pt x="276" y="59"/>
                    <a:pt x="274" y="65"/>
                  </a:cubicBezTo>
                  <a:cubicBezTo>
                    <a:pt x="183" y="49"/>
                    <a:pt x="92" y="33"/>
                    <a:pt x="0" y="17"/>
                  </a:cubicBezTo>
                  <a:cubicBezTo>
                    <a:pt x="0" y="12"/>
                    <a:pt x="0" y="7"/>
                    <a:pt x="0" y="0"/>
                  </a:cubicBezTo>
                  <a:cubicBezTo>
                    <a:pt x="94" y="16"/>
                    <a:pt x="186" y="32"/>
                    <a:pt x="279" y="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grpSp>
        <p:nvGrpSpPr>
          <p:cNvPr id="316" name="Group 315"/>
          <p:cNvGrpSpPr/>
          <p:nvPr/>
        </p:nvGrpSpPr>
        <p:grpSpPr>
          <a:xfrm>
            <a:off x="7410599" y="1399949"/>
            <a:ext cx="201773" cy="311564"/>
            <a:chOff x="10361423" y="1978992"/>
            <a:chExt cx="308182" cy="475873"/>
          </a:xfrm>
          <a:solidFill>
            <a:schemeClr val="bg1"/>
          </a:solidFill>
        </p:grpSpPr>
        <p:sp>
          <p:nvSpPr>
            <p:cNvPr id="449" name="Freeform 13"/>
            <p:cNvSpPr>
              <a:spLocks/>
            </p:cNvSpPr>
            <p:nvPr/>
          </p:nvSpPr>
          <p:spPr bwMode="auto">
            <a:xfrm>
              <a:off x="10437756" y="1978992"/>
              <a:ext cx="154639" cy="153433"/>
            </a:xfrm>
            <a:custGeom>
              <a:avLst/>
              <a:gdLst>
                <a:gd name="T0" fmla="*/ 288 w 918"/>
                <a:gd name="T1" fmla="*/ 344 h 912"/>
                <a:gd name="T2" fmla="*/ 564 w 918"/>
                <a:gd name="T3" fmla="*/ 200 h 912"/>
                <a:gd name="T4" fmla="*/ 575 w 918"/>
                <a:gd name="T5" fmla="*/ 175 h 912"/>
                <a:gd name="T6" fmla="*/ 668 w 918"/>
                <a:gd name="T7" fmla="*/ 28 h 912"/>
                <a:gd name="T8" fmla="*/ 839 w 918"/>
                <a:gd name="T9" fmla="*/ 49 h 912"/>
                <a:gd name="T10" fmla="*/ 867 w 918"/>
                <a:gd name="T11" fmla="*/ 270 h 912"/>
                <a:gd name="T12" fmla="*/ 644 w 918"/>
                <a:gd name="T13" fmla="*/ 306 h 912"/>
                <a:gd name="T14" fmla="*/ 611 w 918"/>
                <a:gd name="T15" fmla="*/ 305 h 912"/>
                <a:gd name="T16" fmla="*/ 347 w 918"/>
                <a:gd name="T17" fmla="*/ 443 h 912"/>
                <a:gd name="T18" fmla="*/ 332 w 918"/>
                <a:gd name="T19" fmla="*/ 477 h 912"/>
                <a:gd name="T20" fmla="*/ 347 w 918"/>
                <a:gd name="T21" fmla="*/ 494 h 912"/>
                <a:gd name="T22" fmla="*/ 601 w 918"/>
                <a:gd name="T23" fmla="*/ 620 h 912"/>
                <a:gd name="T24" fmla="*/ 629 w 918"/>
                <a:gd name="T25" fmla="*/ 616 h 912"/>
                <a:gd name="T26" fmla="*/ 815 w 918"/>
                <a:gd name="T27" fmla="*/ 595 h 912"/>
                <a:gd name="T28" fmla="*/ 897 w 918"/>
                <a:gd name="T29" fmla="*/ 758 h 912"/>
                <a:gd name="T30" fmla="*/ 765 w 918"/>
                <a:gd name="T31" fmla="*/ 895 h 912"/>
                <a:gd name="T32" fmla="*/ 578 w 918"/>
                <a:gd name="T33" fmla="*/ 765 h 912"/>
                <a:gd name="T34" fmla="*/ 546 w 918"/>
                <a:gd name="T35" fmla="*/ 720 h 912"/>
                <a:gd name="T36" fmla="*/ 288 w 918"/>
                <a:gd name="T37" fmla="*/ 593 h 912"/>
                <a:gd name="T38" fmla="*/ 255 w 918"/>
                <a:gd name="T39" fmla="*/ 594 h 912"/>
                <a:gd name="T40" fmla="*/ 79 w 918"/>
                <a:gd name="T41" fmla="*/ 589 h 912"/>
                <a:gd name="T42" fmla="*/ 12 w 918"/>
                <a:gd name="T43" fmla="*/ 429 h 912"/>
                <a:gd name="T44" fmla="*/ 136 w 918"/>
                <a:gd name="T45" fmla="*/ 300 h 912"/>
                <a:gd name="T46" fmla="*/ 271 w 918"/>
                <a:gd name="T47" fmla="*/ 330 h 912"/>
                <a:gd name="T48" fmla="*/ 288 w 918"/>
                <a:gd name="T49" fmla="*/ 344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8" h="912">
                  <a:moveTo>
                    <a:pt x="288" y="344"/>
                  </a:moveTo>
                  <a:cubicBezTo>
                    <a:pt x="380" y="296"/>
                    <a:pt x="472" y="247"/>
                    <a:pt x="564" y="200"/>
                  </a:cubicBezTo>
                  <a:cubicBezTo>
                    <a:pt x="577" y="194"/>
                    <a:pt x="575" y="185"/>
                    <a:pt x="575" y="175"/>
                  </a:cubicBezTo>
                  <a:cubicBezTo>
                    <a:pt x="577" y="108"/>
                    <a:pt x="607" y="57"/>
                    <a:pt x="668" y="28"/>
                  </a:cubicBezTo>
                  <a:cubicBezTo>
                    <a:pt x="728" y="0"/>
                    <a:pt x="787" y="8"/>
                    <a:pt x="839" y="49"/>
                  </a:cubicBezTo>
                  <a:cubicBezTo>
                    <a:pt x="906" y="102"/>
                    <a:pt x="918" y="201"/>
                    <a:pt x="867" y="270"/>
                  </a:cubicBezTo>
                  <a:cubicBezTo>
                    <a:pt x="815" y="340"/>
                    <a:pt x="716" y="357"/>
                    <a:pt x="644" y="306"/>
                  </a:cubicBezTo>
                  <a:cubicBezTo>
                    <a:pt x="632" y="297"/>
                    <a:pt x="624" y="298"/>
                    <a:pt x="611" y="305"/>
                  </a:cubicBezTo>
                  <a:cubicBezTo>
                    <a:pt x="523" y="351"/>
                    <a:pt x="436" y="398"/>
                    <a:pt x="347" y="443"/>
                  </a:cubicBezTo>
                  <a:cubicBezTo>
                    <a:pt x="330" y="451"/>
                    <a:pt x="331" y="464"/>
                    <a:pt x="332" y="477"/>
                  </a:cubicBezTo>
                  <a:cubicBezTo>
                    <a:pt x="332" y="483"/>
                    <a:pt x="341" y="490"/>
                    <a:pt x="347" y="494"/>
                  </a:cubicBezTo>
                  <a:cubicBezTo>
                    <a:pt x="432" y="536"/>
                    <a:pt x="517" y="577"/>
                    <a:pt x="601" y="620"/>
                  </a:cubicBezTo>
                  <a:cubicBezTo>
                    <a:pt x="612" y="625"/>
                    <a:pt x="619" y="624"/>
                    <a:pt x="629" y="616"/>
                  </a:cubicBezTo>
                  <a:cubicBezTo>
                    <a:pt x="682" y="570"/>
                    <a:pt x="756" y="562"/>
                    <a:pt x="815" y="595"/>
                  </a:cubicBezTo>
                  <a:cubicBezTo>
                    <a:pt x="873" y="627"/>
                    <a:pt x="907" y="694"/>
                    <a:pt x="897" y="758"/>
                  </a:cubicBezTo>
                  <a:cubicBezTo>
                    <a:pt x="886" y="829"/>
                    <a:pt x="836" y="881"/>
                    <a:pt x="765" y="895"/>
                  </a:cubicBezTo>
                  <a:cubicBezTo>
                    <a:pt x="679" y="912"/>
                    <a:pt x="591" y="851"/>
                    <a:pt x="578" y="765"/>
                  </a:cubicBezTo>
                  <a:cubicBezTo>
                    <a:pt x="575" y="741"/>
                    <a:pt x="567" y="730"/>
                    <a:pt x="546" y="720"/>
                  </a:cubicBezTo>
                  <a:cubicBezTo>
                    <a:pt x="459" y="679"/>
                    <a:pt x="373" y="636"/>
                    <a:pt x="288" y="593"/>
                  </a:cubicBezTo>
                  <a:cubicBezTo>
                    <a:pt x="276" y="586"/>
                    <a:pt x="267" y="587"/>
                    <a:pt x="255" y="594"/>
                  </a:cubicBezTo>
                  <a:cubicBezTo>
                    <a:pt x="196" y="629"/>
                    <a:pt x="135" y="628"/>
                    <a:pt x="79" y="589"/>
                  </a:cubicBezTo>
                  <a:cubicBezTo>
                    <a:pt x="23" y="551"/>
                    <a:pt x="0" y="495"/>
                    <a:pt x="12" y="429"/>
                  </a:cubicBezTo>
                  <a:cubicBezTo>
                    <a:pt x="25" y="360"/>
                    <a:pt x="67" y="316"/>
                    <a:pt x="136" y="300"/>
                  </a:cubicBezTo>
                  <a:cubicBezTo>
                    <a:pt x="185" y="288"/>
                    <a:pt x="231" y="299"/>
                    <a:pt x="271" y="330"/>
                  </a:cubicBezTo>
                  <a:cubicBezTo>
                    <a:pt x="277" y="334"/>
                    <a:pt x="282" y="339"/>
                    <a:pt x="288"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50" name="Freeform 14"/>
            <p:cNvSpPr>
              <a:spLocks/>
            </p:cNvSpPr>
            <p:nvPr/>
          </p:nvSpPr>
          <p:spPr bwMode="auto">
            <a:xfrm>
              <a:off x="10361423" y="2152386"/>
              <a:ext cx="308182" cy="302479"/>
            </a:xfrm>
            <a:custGeom>
              <a:avLst/>
              <a:gdLst>
                <a:gd name="T0" fmla="*/ 908 w 1829"/>
                <a:gd name="T1" fmla="*/ 0 h 1798"/>
                <a:gd name="T2" fmla="*/ 1699 w 1829"/>
                <a:gd name="T3" fmla="*/ 0 h 1798"/>
                <a:gd name="T4" fmla="*/ 1739 w 1829"/>
                <a:gd name="T5" fmla="*/ 2 h 1798"/>
                <a:gd name="T6" fmla="*/ 1788 w 1829"/>
                <a:gd name="T7" fmla="*/ 133 h 1798"/>
                <a:gd name="T8" fmla="*/ 1726 w 1829"/>
                <a:gd name="T9" fmla="*/ 197 h 1798"/>
                <a:gd name="T10" fmla="*/ 1176 w 1829"/>
                <a:gd name="T11" fmla="*/ 747 h 1798"/>
                <a:gd name="T12" fmla="*/ 1152 w 1829"/>
                <a:gd name="T13" fmla="*/ 805 h 1798"/>
                <a:gd name="T14" fmla="*/ 1153 w 1829"/>
                <a:gd name="T15" fmla="*/ 1705 h 1798"/>
                <a:gd name="T16" fmla="*/ 1084 w 1829"/>
                <a:gd name="T17" fmla="*/ 1797 h 1798"/>
                <a:gd name="T18" fmla="*/ 1013 w 1829"/>
                <a:gd name="T19" fmla="*/ 1773 h 1798"/>
                <a:gd name="T20" fmla="*/ 690 w 1829"/>
                <a:gd name="T21" fmla="*/ 1450 h 1798"/>
                <a:gd name="T22" fmla="*/ 663 w 1829"/>
                <a:gd name="T23" fmla="*/ 1373 h 1798"/>
                <a:gd name="T24" fmla="*/ 663 w 1829"/>
                <a:gd name="T25" fmla="*/ 816 h 1798"/>
                <a:gd name="T26" fmla="*/ 631 w 1829"/>
                <a:gd name="T27" fmla="*/ 739 h 1798"/>
                <a:gd name="T28" fmla="*/ 43 w 1829"/>
                <a:gd name="T29" fmla="*/ 152 h 1798"/>
                <a:gd name="T30" fmla="*/ 8 w 1829"/>
                <a:gd name="T31" fmla="*/ 68 h 1798"/>
                <a:gd name="T32" fmla="*/ 97 w 1829"/>
                <a:gd name="T33" fmla="*/ 0 h 1798"/>
                <a:gd name="T34" fmla="*/ 352 w 1829"/>
                <a:gd name="T35" fmla="*/ 0 h 1798"/>
                <a:gd name="T36" fmla="*/ 908 w 1829"/>
                <a:gd name="T37" fmla="*/ 0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9" h="1798">
                  <a:moveTo>
                    <a:pt x="908" y="0"/>
                  </a:moveTo>
                  <a:cubicBezTo>
                    <a:pt x="1172" y="0"/>
                    <a:pt x="1435" y="0"/>
                    <a:pt x="1699" y="0"/>
                  </a:cubicBezTo>
                  <a:cubicBezTo>
                    <a:pt x="1712" y="0"/>
                    <a:pt x="1726" y="0"/>
                    <a:pt x="1739" y="2"/>
                  </a:cubicBezTo>
                  <a:cubicBezTo>
                    <a:pt x="1801" y="12"/>
                    <a:pt x="1829" y="85"/>
                    <a:pt x="1788" y="133"/>
                  </a:cubicBezTo>
                  <a:cubicBezTo>
                    <a:pt x="1769" y="156"/>
                    <a:pt x="1747" y="176"/>
                    <a:pt x="1726" y="197"/>
                  </a:cubicBezTo>
                  <a:cubicBezTo>
                    <a:pt x="1543" y="381"/>
                    <a:pt x="1360" y="564"/>
                    <a:pt x="1176" y="747"/>
                  </a:cubicBezTo>
                  <a:cubicBezTo>
                    <a:pt x="1158" y="764"/>
                    <a:pt x="1152" y="781"/>
                    <a:pt x="1152" y="805"/>
                  </a:cubicBezTo>
                  <a:cubicBezTo>
                    <a:pt x="1153" y="1105"/>
                    <a:pt x="1153" y="1405"/>
                    <a:pt x="1153" y="1705"/>
                  </a:cubicBezTo>
                  <a:cubicBezTo>
                    <a:pt x="1152" y="1761"/>
                    <a:pt x="1132" y="1793"/>
                    <a:pt x="1084" y="1797"/>
                  </a:cubicBezTo>
                  <a:cubicBezTo>
                    <a:pt x="1060" y="1798"/>
                    <a:pt x="1029" y="1789"/>
                    <a:pt x="1013" y="1773"/>
                  </a:cubicBezTo>
                  <a:cubicBezTo>
                    <a:pt x="903" y="1668"/>
                    <a:pt x="795" y="1560"/>
                    <a:pt x="690" y="1450"/>
                  </a:cubicBezTo>
                  <a:cubicBezTo>
                    <a:pt x="672" y="1432"/>
                    <a:pt x="663" y="1399"/>
                    <a:pt x="663" y="1373"/>
                  </a:cubicBezTo>
                  <a:cubicBezTo>
                    <a:pt x="661" y="1187"/>
                    <a:pt x="661" y="1002"/>
                    <a:pt x="663" y="816"/>
                  </a:cubicBezTo>
                  <a:cubicBezTo>
                    <a:pt x="663" y="784"/>
                    <a:pt x="654" y="762"/>
                    <a:pt x="631" y="739"/>
                  </a:cubicBezTo>
                  <a:cubicBezTo>
                    <a:pt x="434" y="544"/>
                    <a:pt x="239" y="348"/>
                    <a:pt x="43" y="152"/>
                  </a:cubicBezTo>
                  <a:cubicBezTo>
                    <a:pt x="19" y="128"/>
                    <a:pt x="0" y="104"/>
                    <a:pt x="8" y="68"/>
                  </a:cubicBezTo>
                  <a:cubicBezTo>
                    <a:pt x="18" y="25"/>
                    <a:pt x="48" y="1"/>
                    <a:pt x="97" y="0"/>
                  </a:cubicBezTo>
                  <a:cubicBezTo>
                    <a:pt x="182" y="0"/>
                    <a:pt x="267" y="0"/>
                    <a:pt x="352" y="0"/>
                  </a:cubicBezTo>
                  <a:cubicBezTo>
                    <a:pt x="537" y="0"/>
                    <a:pt x="722" y="0"/>
                    <a:pt x="9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grpSp>
        <p:nvGrpSpPr>
          <p:cNvPr id="317" name="Group 316"/>
          <p:cNvGrpSpPr/>
          <p:nvPr/>
        </p:nvGrpSpPr>
        <p:grpSpPr>
          <a:xfrm>
            <a:off x="7338772" y="1968975"/>
            <a:ext cx="345430" cy="272721"/>
            <a:chOff x="3864641" y="1238250"/>
            <a:chExt cx="341347" cy="269498"/>
          </a:xfrm>
          <a:solidFill>
            <a:schemeClr val="bg1"/>
          </a:solidFill>
        </p:grpSpPr>
        <p:sp>
          <p:nvSpPr>
            <p:cNvPr id="446" name="Freeform 190"/>
            <p:cNvSpPr/>
            <p:nvPr/>
          </p:nvSpPr>
          <p:spPr>
            <a:xfrm>
              <a:off x="4100802" y="1238250"/>
              <a:ext cx="105186" cy="269498"/>
            </a:xfrm>
            <a:custGeom>
              <a:avLst/>
              <a:gdLst>
                <a:gd name="connsiteX0" fmla="*/ 139748 w 531885"/>
                <a:gd name="connsiteY0" fmla="*/ 251049 h 1362740"/>
                <a:gd name="connsiteX1" fmla="*/ 392136 w 531885"/>
                <a:gd name="connsiteY1" fmla="*/ 251049 h 1362740"/>
                <a:gd name="connsiteX2" fmla="*/ 523231 w 531885"/>
                <a:gd name="connsiteY2" fmla="*/ 337732 h 1362740"/>
                <a:gd name="connsiteX3" fmla="*/ 529310 w 531885"/>
                <a:gd name="connsiteY3" fmla="*/ 357137 h 1362740"/>
                <a:gd name="connsiteX4" fmla="*/ 531885 w 531885"/>
                <a:gd name="connsiteY4" fmla="*/ 382676 h 1362740"/>
                <a:gd name="connsiteX5" fmla="*/ 531885 w 531885"/>
                <a:gd name="connsiteY5" fmla="*/ 390797 h 1362740"/>
                <a:gd name="connsiteX6" fmla="*/ 531885 w 531885"/>
                <a:gd name="connsiteY6" fmla="*/ 429149 h 1362740"/>
                <a:gd name="connsiteX7" fmla="*/ 531885 w 531885"/>
                <a:gd name="connsiteY7" fmla="*/ 744942 h 1362740"/>
                <a:gd name="connsiteX8" fmla="*/ 481698 w 531885"/>
                <a:gd name="connsiteY8" fmla="*/ 795129 h 1362740"/>
                <a:gd name="connsiteX9" fmla="*/ 431512 w 531885"/>
                <a:gd name="connsiteY9" fmla="*/ 744942 h 1362740"/>
                <a:gd name="connsiteX10" fmla="*/ 431512 w 531885"/>
                <a:gd name="connsiteY10" fmla="*/ 562579 h 1362740"/>
                <a:gd name="connsiteX11" fmla="*/ 430980 w 531885"/>
                <a:gd name="connsiteY11" fmla="*/ 562711 h 1362740"/>
                <a:gd name="connsiteX12" fmla="*/ 430980 w 531885"/>
                <a:gd name="connsiteY12" fmla="*/ 427781 h 1362740"/>
                <a:gd name="connsiteX13" fmla="*/ 428856 w 531885"/>
                <a:gd name="connsiteY13" fmla="*/ 425657 h 1362740"/>
                <a:gd name="connsiteX14" fmla="*/ 407618 w 531885"/>
                <a:gd name="connsiteY14" fmla="*/ 425657 h 1362740"/>
                <a:gd name="connsiteX15" fmla="*/ 405495 w 531885"/>
                <a:gd name="connsiteY15" fmla="*/ 427781 h 1362740"/>
                <a:gd name="connsiteX16" fmla="*/ 405910 w 531885"/>
                <a:gd name="connsiteY16" fmla="*/ 552990 h 1362740"/>
                <a:gd name="connsiteX17" fmla="*/ 405910 w 531885"/>
                <a:gd name="connsiteY17" fmla="*/ 1300007 h 1362740"/>
                <a:gd name="connsiteX18" fmla="*/ 343177 w 531885"/>
                <a:gd name="connsiteY18" fmla="*/ 1362740 h 1362740"/>
                <a:gd name="connsiteX19" fmla="*/ 280443 w 531885"/>
                <a:gd name="connsiteY19" fmla="*/ 1300007 h 1362740"/>
                <a:gd name="connsiteX20" fmla="*/ 280443 w 531885"/>
                <a:gd name="connsiteY20" fmla="*/ 827961 h 1362740"/>
                <a:gd name="connsiteX21" fmla="*/ 280028 w 531885"/>
                <a:gd name="connsiteY21" fmla="*/ 791924 h 1362740"/>
                <a:gd name="connsiteX22" fmla="*/ 278164 w 531885"/>
                <a:gd name="connsiteY22" fmla="*/ 790060 h 1362740"/>
                <a:gd name="connsiteX23" fmla="*/ 255027 w 531885"/>
                <a:gd name="connsiteY23" fmla="*/ 790060 h 1362740"/>
                <a:gd name="connsiteX24" fmla="*/ 253164 w 531885"/>
                <a:gd name="connsiteY24" fmla="*/ 791924 h 1362740"/>
                <a:gd name="connsiteX25" fmla="*/ 253164 w 531885"/>
                <a:gd name="connsiteY25" fmla="*/ 827961 h 1362740"/>
                <a:gd name="connsiteX26" fmla="*/ 253008 w 531885"/>
                <a:gd name="connsiteY26" fmla="*/ 1300007 h 1362740"/>
                <a:gd name="connsiteX27" fmla="*/ 190274 w 531885"/>
                <a:gd name="connsiteY27" fmla="*/ 1362740 h 1362740"/>
                <a:gd name="connsiteX28" fmla="*/ 127541 w 531885"/>
                <a:gd name="connsiteY28" fmla="*/ 1300007 h 1362740"/>
                <a:gd name="connsiteX29" fmla="*/ 127541 w 531885"/>
                <a:gd name="connsiteY29" fmla="*/ 567971 h 1362740"/>
                <a:gd name="connsiteX30" fmla="*/ 125584 w 531885"/>
                <a:gd name="connsiteY30" fmla="*/ 427748 h 1362740"/>
                <a:gd name="connsiteX31" fmla="*/ 123493 w 531885"/>
                <a:gd name="connsiteY31" fmla="*/ 425657 h 1362740"/>
                <a:gd name="connsiteX32" fmla="*/ 102582 w 531885"/>
                <a:gd name="connsiteY32" fmla="*/ 425657 h 1362740"/>
                <a:gd name="connsiteX33" fmla="*/ 100491 w 531885"/>
                <a:gd name="connsiteY33" fmla="*/ 427748 h 1362740"/>
                <a:gd name="connsiteX34" fmla="*/ 100491 w 531885"/>
                <a:gd name="connsiteY34" fmla="*/ 562608 h 1362740"/>
                <a:gd name="connsiteX35" fmla="*/ 100373 w 531885"/>
                <a:gd name="connsiteY35" fmla="*/ 562579 h 1362740"/>
                <a:gd name="connsiteX36" fmla="*/ 100373 w 531885"/>
                <a:gd name="connsiteY36" fmla="*/ 744942 h 1362740"/>
                <a:gd name="connsiteX37" fmla="*/ 50187 w 531885"/>
                <a:gd name="connsiteY37" fmla="*/ 795129 h 1362740"/>
                <a:gd name="connsiteX38" fmla="*/ 0 w 531885"/>
                <a:gd name="connsiteY38" fmla="*/ 744942 h 1362740"/>
                <a:gd name="connsiteX39" fmla="*/ 0 w 531885"/>
                <a:gd name="connsiteY39" fmla="*/ 429149 h 1362740"/>
                <a:gd name="connsiteX40" fmla="*/ 0 w 531885"/>
                <a:gd name="connsiteY40" fmla="*/ 390797 h 1362740"/>
                <a:gd name="connsiteX41" fmla="*/ 0 w 531885"/>
                <a:gd name="connsiteY41" fmla="*/ 382676 h 1362740"/>
                <a:gd name="connsiteX42" fmla="*/ 4960 w 531885"/>
                <a:gd name="connsiteY42" fmla="*/ 348469 h 1362740"/>
                <a:gd name="connsiteX43" fmla="*/ 8000 w 531885"/>
                <a:gd name="connsiteY43" fmla="*/ 338385 h 1362740"/>
                <a:gd name="connsiteX44" fmla="*/ 139748 w 531885"/>
                <a:gd name="connsiteY44" fmla="*/ 251049 h 1362740"/>
                <a:gd name="connsiteX45" fmla="*/ 265942 w 531885"/>
                <a:gd name="connsiteY45" fmla="*/ 0 h 1362740"/>
                <a:gd name="connsiteX46" fmla="*/ 376613 w 531885"/>
                <a:gd name="connsiteY46" fmla="*/ 110671 h 1362740"/>
                <a:gd name="connsiteX47" fmla="*/ 265942 w 531885"/>
                <a:gd name="connsiteY47" fmla="*/ 221342 h 1362740"/>
                <a:gd name="connsiteX48" fmla="*/ 155271 w 531885"/>
                <a:gd name="connsiteY48" fmla="*/ 110671 h 1362740"/>
                <a:gd name="connsiteX49" fmla="*/ 265942 w 531885"/>
                <a:gd name="connsiteY49" fmla="*/ 0 h 136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31885" h="1362740">
                  <a:moveTo>
                    <a:pt x="139748" y="251049"/>
                  </a:moveTo>
                  <a:lnTo>
                    <a:pt x="392136" y="251049"/>
                  </a:lnTo>
                  <a:cubicBezTo>
                    <a:pt x="451239" y="251049"/>
                    <a:pt x="503078" y="285778"/>
                    <a:pt x="523231" y="337732"/>
                  </a:cubicBezTo>
                  <a:cubicBezTo>
                    <a:pt x="527105" y="344480"/>
                    <a:pt x="527753" y="351099"/>
                    <a:pt x="529310" y="357137"/>
                  </a:cubicBezTo>
                  <a:lnTo>
                    <a:pt x="531885" y="382676"/>
                  </a:lnTo>
                  <a:lnTo>
                    <a:pt x="531885" y="390797"/>
                  </a:lnTo>
                  <a:lnTo>
                    <a:pt x="531885" y="429149"/>
                  </a:lnTo>
                  <a:lnTo>
                    <a:pt x="531885" y="744942"/>
                  </a:lnTo>
                  <a:cubicBezTo>
                    <a:pt x="531885" y="772660"/>
                    <a:pt x="509415" y="795129"/>
                    <a:pt x="481698" y="795129"/>
                  </a:cubicBezTo>
                  <a:cubicBezTo>
                    <a:pt x="453981" y="795129"/>
                    <a:pt x="431512" y="772660"/>
                    <a:pt x="431512" y="744942"/>
                  </a:cubicBezTo>
                  <a:lnTo>
                    <a:pt x="431512" y="562579"/>
                  </a:lnTo>
                  <a:lnTo>
                    <a:pt x="430980" y="562711"/>
                  </a:lnTo>
                  <a:lnTo>
                    <a:pt x="430980" y="427781"/>
                  </a:lnTo>
                  <a:cubicBezTo>
                    <a:pt x="430980" y="426608"/>
                    <a:pt x="430029" y="425657"/>
                    <a:pt x="428856" y="425657"/>
                  </a:cubicBezTo>
                  <a:lnTo>
                    <a:pt x="407618" y="425657"/>
                  </a:lnTo>
                  <a:cubicBezTo>
                    <a:pt x="406445" y="425657"/>
                    <a:pt x="405495" y="426608"/>
                    <a:pt x="405495" y="427781"/>
                  </a:cubicBezTo>
                  <a:cubicBezTo>
                    <a:pt x="405633" y="469517"/>
                    <a:pt x="405771" y="511254"/>
                    <a:pt x="405910" y="552990"/>
                  </a:cubicBezTo>
                  <a:lnTo>
                    <a:pt x="405910" y="1300007"/>
                  </a:lnTo>
                  <a:cubicBezTo>
                    <a:pt x="405910" y="1334653"/>
                    <a:pt x="377823" y="1362740"/>
                    <a:pt x="343177" y="1362740"/>
                  </a:cubicBezTo>
                  <a:cubicBezTo>
                    <a:pt x="308530" y="1362740"/>
                    <a:pt x="280443" y="1334653"/>
                    <a:pt x="280443" y="1300007"/>
                  </a:cubicBezTo>
                  <a:lnTo>
                    <a:pt x="280443" y="827961"/>
                  </a:lnTo>
                  <a:cubicBezTo>
                    <a:pt x="280305" y="815949"/>
                    <a:pt x="280167" y="803937"/>
                    <a:pt x="280028" y="791924"/>
                  </a:cubicBezTo>
                  <a:cubicBezTo>
                    <a:pt x="280028" y="790894"/>
                    <a:pt x="279194" y="790060"/>
                    <a:pt x="278164" y="790060"/>
                  </a:cubicBezTo>
                  <a:lnTo>
                    <a:pt x="255027" y="790060"/>
                  </a:lnTo>
                  <a:cubicBezTo>
                    <a:pt x="253998" y="790060"/>
                    <a:pt x="253164" y="790894"/>
                    <a:pt x="253164" y="791924"/>
                  </a:cubicBezTo>
                  <a:lnTo>
                    <a:pt x="253164" y="827961"/>
                  </a:lnTo>
                  <a:cubicBezTo>
                    <a:pt x="253111" y="985310"/>
                    <a:pt x="253059" y="1142658"/>
                    <a:pt x="253008" y="1300007"/>
                  </a:cubicBezTo>
                  <a:cubicBezTo>
                    <a:pt x="253008" y="1334653"/>
                    <a:pt x="224921" y="1362740"/>
                    <a:pt x="190274" y="1362740"/>
                  </a:cubicBezTo>
                  <a:cubicBezTo>
                    <a:pt x="155628" y="1362740"/>
                    <a:pt x="127541" y="1334653"/>
                    <a:pt x="127541" y="1300007"/>
                  </a:cubicBezTo>
                  <a:lnTo>
                    <a:pt x="127541" y="567971"/>
                  </a:lnTo>
                  <a:cubicBezTo>
                    <a:pt x="126888" y="521230"/>
                    <a:pt x="126237" y="474489"/>
                    <a:pt x="125584" y="427748"/>
                  </a:cubicBezTo>
                  <a:cubicBezTo>
                    <a:pt x="125584" y="426593"/>
                    <a:pt x="124648" y="425657"/>
                    <a:pt x="123493" y="425657"/>
                  </a:cubicBezTo>
                  <a:lnTo>
                    <a:pt x="102582" y="425657"/>
                  </a:lnTo>
                  <a:cubicBezTo>
                    <a:pt x="101427" y="425657"/>
                    <a:pt x="100491" y="426593"/>
                    <a:pt x="100491" y="427748"/>
                  </a:cubicBezTo>
                  <a:lnTo>
                    <a:pt x="100491" y="562608"/>
                  </a:lnTo>
                  <a:cubicBezTo>
                    <a:pt x="100449" y="562605"/>
                    <a:pt x="100411" y="562592"/>
                    <a:pt x="100373" y="562579"/>
                  </a:cubicBezTo>
                  <a:lnTo>
                    <a:pt x="100373" y="744942"/>
                  </a:lnTo>
                  <a:cubicBezTo>
                    <a:pt x="100373" y="772660"/>
                    <a:pt x="77904" y="795129"/>
                    <a:pt x="50187" y="795129"/>
                  </a:cubicBezTo>
                  <a:cubicBezTo>
                    <a:pt x="22469" y="795129"/>
                    <a:pt x="0" y="772660"/>
                    <a:pt x="0" y="744942"/>
                  </a:cubicBezTo>
                  <a:lnTo>
                    <a:pt x="0" y="429149"/>
                  </a:lnTo>
                  <a:lnTo>
                    <a:pt x="0" y="390797"/>
                  </a:lnTo>
                  <a:lnTo>
                    <a:pt x="0" y="382676"/>
                  </a:lnTo>
                  <a:cubicBezTo>
                    <a:pt x="0" y="370804"/>
                    <a:pt x="1544" y="359293"/>
                    <a:pt x="4960" y="348469"/>
                  </a:cubicBezTo>
                  <a:cubicBezTo>
                    <a:pt x="5892" y="345137"/>
                    <a:pt x="5786" y="340973"/>
                    <a:pt x="8000" y="338385"/>
                  </a:cubicBezTo>
                  <a:cubicBezTo>
                    <a:pt x="28153" y="286431"/>
                    <a:pt x="80647" y="251049"/>
                    <a:pt x="139748" y="251049"/>
                  </a:cubicBezTo>
                  <a:close/>
                  <a:moveTo>
                    <a:pt x="265942" y="0"/>
                  </a:moveTo>
                  <a:cubicBezTo>
                    <a:pt x="327064" y="0"/>
                    <a:pt x="376613" y="49549"/>
                    <a:pt x="376613" y="110671"/>
                  </a:cubicBezTo>
                  <a:cubicBezTo>
                    <a:pt x="376613" y="171793"/>
                    <a:pt x="327064" y="221342"/>
                    <a:pt x="265942" y="221342"/>
                  </a:cubicBezTo>
                  <a:cubicBezTo>
                    <a:pt x="204821" y="221342"/>
                    <a:pt x="155271" y="171793"/>
                    <a:pt x="155271" y="110671"/>
                  </a:cubicBezTo>
                  <a:cubicBezTo>
                    <a:pt x="155271" y="49549"/>
                    <a:pt x="204821" y="0"/>
                    <a:pt x="265942" y="0"/>
                  </a:cubicBezTo>
                  <a:close/>
                </a:path>
              </a:pathLst>
            </a:custGeom>
            <a:gr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121903" rIns="121903" bIns="121903" numCol="1" spcCol="0" rtlCol="0" fromWordArt="0" anchor="b" anchorCtr="0" forceAA="0" compatLnSpc="1">
              <a:prstTxWarp prst="textNoShape">
                <a:avLst/>
              </a:prstTxWarp>
              <a:noAutofit/>
            </a:bodyPr>
            <a:lstStyle/>
            <a:p>
              <a:pPr marL="0" marR="0" lvl="0" indent="0" algn="r" defTabSz="121893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47" name="Freeform 192"/>
            <p:cNvSpPr/>
            <p:nvPr/>
          </p:nvSpPr>
          <p:spPr>
            <a:xfrm>
              <a:off x="3864641" y="1238250"/>
              <a:ext cx="105186" cy="269498"/>
            </a:xfrm>
            <a:custGeom>
              <a:avLst/>
              <a:gdLst>
                <a:gd name="connsiteX0" fmla="*/ 139748 w 531885"/>
                <a:gd name="connsiteY0" fmla="*/ 251049 h 1362740"/>
                <a:gd name="connsiteX1" fmla="*/ 392136 w 531885"/>
                <a:gd name="connsiteY1" fmla="*/ 251049 h 1362740"/>
                <a:gd name="connsiteX2" fmla="*/ 523231 w 531885"/>
                <a:gd name="connsiteY2" fmla="*/ 337732 h 1362740"/>
                <a:gd name="connsiteX3" fmla="*/ 529310 w 531885"/>
                <a:gd name="connsiteY3" fmla="*/ 357137 h 1362740"/>
                <a:gd name="connsiteX4" fmla="*/ 531885 w 531885"/>
                <a:gd name="connsiteY4" fmla="*/ 382676 h 1362740"/>
                <a:gd name="connsiteX5" fmla="*/ 531885 w 531885"/>
                <a:gd name="connsiteY5" fmla="*/ 390797 h 1362740"/>
                <a:gd name="connsiteX6" fmla="*/ 531885 w 531885"/>
                <a:gd name="connsiteY6" fmla="*/ 429149 h 1362740"/>
                <a:gd name="connsiteX7" fmla="*/ 531885 w 531885"/>
                <a:gd name="connsiteY7" fmla="*/ 744942 h 1362740"/>
                <a:gd name="connsiteX8" fmla="*/ 481698 w 531885"/>
                <a:gd name="connsiteY8" fmla="*/ 795129 h 1362740"/>
                <a:gd name="connsiteX9" fmla="*/ 431512 w 531885"/>
                <a:gd name="connsiteY9" fmla="*/ 744942 h 1362740"/>
                <a:gd name="connsiteX10" fmla="*/ 431512 w 531885"/>
                <a:gd name="connsiteY10" fmla="*/ 562579 h 1362740"/>
                <a:gd name="connsiteX11" fmla="*/ 430980 w 531885"/>
                <a:gd name="connsiteY11" fmla="*/ 562711 h 1362740"/>
                <a:gd name="connsiteX12" fmla="*/ 430980 w 531885"/>
                <a:gd name="connsiteY12" fmla="*/ 427781 h 1362740"/>
                <a:gd name="connsiteX13" fmla="*/ 428856 w 531885"/>
                <a:gd name="connsiteY13" fmla="*/ 425657 h 1362740"/>
                <a:gd name="connsiteX14" fmla="*/ 407618 w 531885"/>
                <a:gd name="connsiteY14" fmla="*/ 425657 h 1362740"/>
                <a:gd name="connsiteX15" fmla="*/ 405495 w 531885"/>
                <a:gd name="connsiteY15" fmla="*/ 427781 h 1362740"/>
                <a:gd name="connsiteX16" fmla="*/ 405910 w 531885"/>
                <a:gd name="connsiteY16" fmla="*/ 552990 h 1362740"/>
                <a:gd name="connsiteX17" fmla="*/ 405910 w 531885"/>
                <a:gd name="connsiteY17" fmla="*/ 1300007 h 1362740"/>
                <a:gd name="connsiteX18" fmla="*/ 343177 w 531885"/>
                <a:gd name="connsiteY18" fmla="*/ 1362740 h 1362740"/>
                <a:gd name="connsiteX19" fmla="*/ 280443 w 531885"/>
                <a:gd name="connsiteY19" fmla="*/ 1300007 h 1362740"/>
                <a:gd name="connsiteX20" fmla="*/ 280443 w 531885"/>
                <a:gd name="connsiteY20" fmla="*/ 827961 h 1362740"/>
                <a:gd name="connsiteX21" fmla="*/ 280028 w 531885"/>
                <a:gd name="connsiteY21" fmla="*/ 791924 h 1362740"/>
                <a:gd name="connsiteX22" fmla="*/ 278164 w 531885"/>
                <a:gd name="connsiteY22" fmla="*/ 790060 h 1362740"/>
                <a:gd name="connsiteX23" fmla="*/ 255027 w 531885"/>
                <a:gd name="connsiteY23" fmla="*/ 790060 h 1362740"/>
                <a:gd name="connsiteX24" fmla="*/ 253164 w 531885"/>
                <a:gd name="connsiteY24" fmla="*/ 791924 h 1362740"/>
                <a:gd name="connsiteX25" fmla="*/ 253164 w 531885"/>
                <a:gd name="connsiteY25" fmla="*/ 827961 h 1362740"/>
                <a:gd name="connsiteX26" fmla="*/ 253008 w 531885"/>
                <a:gd name="connsiteY26" fmla="*/ 1300007 h 1362740"/>
                <a:gd name="connsiteX27" fmla="*/ 190274 w 531885"/>
                <a:gd name="connsiteY27" fmla="*/ 1362740 h 1362740"/>
                <a:gd name="connsiteX28" fmla="*/ 127541 w 531885"/>
                <a:gd name="connsiteY28" fmla="*/ 1300007 h 1362740"/>
                <a:gd name="connsiteX29" fmla="*/ 127541 w 531885"/>
                <a:gd name="connsiteY29" fmla="*/ 567971 h 1362740"/>
                <a:gd name="connsiteX30" fmla="*/ 125584 w 531885"/>
                <a:gd name="connsiteY30" fmla="*/ 427748 h 1362740"/>
                <a:gd name="connsiteX31" fmla="*/ 123493 w 531885"/>
                <a:gd name="connsiteY31" fmla="*/ 425657 h 1362740"/>
                <a:gd name="connsiteX32" fmla="*/ 102582 w 531885"/>
                <a:gd name="connsiteY32" fmla="*/ 425657 h 1362740"/>
                <a:gd name="connsiteX33" fmla="*/ 100491 w 531885"/>
                <a:gd name="connsiteY33" fmla="*/ 427748 h 1362740"/>
                <a:gd name="connsiteX34" fmla="*/ 100491 w 531885"/>
                <a:gd name="connsiteY34" fmla="*/ 562608 h 1362740"/>
                <a:gd name="connsiteX35" fmla="*/ 100373 w 531885"/>
                <a:gd name="connsiteY35" fmla="*/ 562579 h 1362740"/>
                <a:gd name="connsiteX36" fmla="*/ 100373 w 531885"/>
                <a:gd name="connsiteY36" fmla="*/ 744942 h 1362740"/>
                <a:gd name="connsiteX37" fmla="*/ 50187 w 531885"/>
                <a:gd name="connsiteY37" fmla="*/ 795129 h 1362740"/>
                <a:gd name="connsiteX38" fmla="*/ 0 w 531885"/>
                <a:gd name="connsiteY38" fmla="*/ 744942 h 1362740"/>
                <a:gd name="connsiteX39" fmla="*/ 0 w 531885"/>
                <a:gd name="connsiteY39" fmla="*/ 429149 h 1362740"/>
                <a:gd name="connsiteX40" fmla="*/ 0 w 531885"/>
                <a:gd name="connsiteY40" fmla="*/ 390797 h 1362740"/>
                <a:gd name="connsiteX41" fmla="*/ 0 w 531885"/>
                <a:gd name="connsiteY41" fmla="*/ 382676 h 1362740"/>
                <a:gd name="connsiteX42" fmla="*/ 4960 w 531885"/>
                <a:gd name="connsiteY42" fmla="*/ 348469 h 1362740"/>
                <a:gd name="connsiteX43" fmla="*/ 8000 w 531885"/>
                <a:gd name="connsiteY43" fmla="*/ 338385 h 1362740"/>
                <a:gd name="connsiteX44" fmla="*/ 139748 w 531885"/>
                <a:gd name="connsiteY44" fmla="*/ 251049 h 1362740"/>
                <a:gd name="connsiteX45" fmla="*/ 265942 w 531885"/>
                <a:gd name="connsiteY45" fmla="*/ 0 h 1362740"/>
                <a:gd name="connsiteX46" fmla="*/ 376613 w 531885"/>
                <a:gd name="connsiteY46" fmla="*/ 110671 h 1362740"/>
                <a:gd name="connsiteX47" fmla="*/ 265942 w 531885"/>
                <a:gd name="connsiteY47" fmla="*/ 221342 h 1362740"/>
                <a:gd name="connsiteX48" fmla="*/ 155271 w 531885"/>
                <a:gd name="connsiteY48" fmla="*/ 110671 h 1362740"/>
                <a:gd name="connsiteX49" fmla="*/ 265942 w 531885"/>
                <a:gd name="connsiteY49" fmla="*/ 0 h 136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31885" h="1362740">
                  <a:moveTo>
                    <a:pt x="139748" y="251049"/>
                  </a:moveTo>
                  <a:lnTo>
                    <a:pt x="392136" y="251049"/>
                  </a:lnTo>
                  <a:cubicBezTo>
                    <a:pt x="451239" y="251049"/>
                    <a:pt x="503078" y="285778"/>
                    <a:pt x="523231" y="337732"/>
                  </a:cubicBezTo>
                  <a:cubicBezTo>
                    <a:pt x="527105" y="344480"/>
                    <a:pt x="527753" y="351099"/>
                    <a:pt x="529310" y="357137"/>
                  </a:cubicBezTo>
                  <a:lnTo>
                    <a:pt x="531885" y="382676"/>
                  </a:lnTo>
                  <a:lnTo>
                    <a:pt x="531885" y="390797"/>
                  </a:lnTo>
                  <a:lnTo>
                    <a:pt x="531885" y="429149"/>
                  </a:lnTo>
                  <a:lnTo>
                    <a:pt x="531885" y="744942"/>
                  </a:lnTo>
                  <a:cubicBezTo>
                    <a:pt x="531885" y="772660"/>
                    <a:pt x="509415" y="795129"/>
                    <a:pt x="481698" y="795129"/>
                  </a:cubicBezTo>
                  <a:cubicBezTo>
                    <a:pt x="453981" y="795129"/>
                    <a:pt x="431512" y="772660"/>
                    <a:pt x="431512" y="744942"/>
                  </a:cubicBezTo>
                  <a:lnTo>
                    <a:pt x="431512" y="562579"/>
                  </a:lnTo>
                  <a:lnTo>
                    <a:pt x="430980" y="562711"/>
                  </a:lnTo>
                  <a:lnTo>
                    <a:pt x="430980" y="427781"/>
                  </a:lnTo>
                  <a:cubicBezTo>
                    <a:pt x="430980" y="426608"/>
                    <a:pt x="430029" y="425657"/>
                    <a:pt x="428856" y="425657"/>
                  </a:cubicBezTo>
                  <a:lnTo>
                    <a:pt x="407618" y="425657"/>
                  </a:lnTo>
                  <a:cubicBezTo>
                    <a:pt x="406445" y="425657"/>
                    <a:pt x="405495" y="426608"/>
                    <a:pt x="405495" y="427781"/>
                  </a:cubicBezTo>
                  <a:cubicBezTo>
                    <a:pt x="405633" y="469517"/>
                    <a:pt x="405771" y="511254"/>
                    <a:pt x="405910" y="552990"/>
                  </a:cubicBezTo>
                  <a:lnTo>
                    <a:pt x="405910" y="1300007"/>
                  </a:lnTo>
                  <a:cubicBezTo>
                    <a:pt x="405910" y="1334653"/>
                    <a:pt x="377823" y="1362740"/>
                    <a:pt x="343177" y="1362740"/>
                  </a:cubicBezTo>
                  <a:cubicBezTo>
                    <a:pt x="308530" y="1362740"/>
                    <a:pt x="280443" y="1334653"/>
                    <a:pt x="280443" y="1300007"/>
                  </a:cubicBezTo>
                  <a:lnTo>
                    <a:pt x="280443" y="827961"/>
                  </a:lnTo>
                  <a:cubicBezTo>
                    <a:pt x="280305" y="815949"/>
                    <a:pt x="280167" y="803937"/>
                    <a:pt x="280028" y="791924"/>
                  </a:cubicBezTo>
                  <a:cubicBezTo>
                    <a:pt x="280028" y="790894"/>
                    <a:pt x="279194" y="790060"/>
                    <a:pt x="278164" y="790060"/>
                  </a:cubicBezTo>
                  <a:lnTo>
                    <a:pt x="255027" y="790060"/>
                  </a:lnTo>
                  <a:cubicBezTo>
                    <a:pt x="253998" y="790060"/>
                    <a:pt x="253164" y="790894"/>
                    <a:pt x="253164" y="791924"/>
                  </a:cubicBezTo>
                  <a:lnTo>
                    <a:pt x="253164" y="827961"/>
                  </a:lnTo>
                  <a:cubicBezTo>
                    <a:pt x="253111" y="985310"/>
                    <a:pt x="253059" y="1142658"/>
                    <a:pt x="253008" y="1300007"/>
                  </a:cubicBezTo>
                  <a:cubicBezTo>
                    <a:pt x="253008" y="1334653"/>
                    <a:pt x="224921" y="1362740"/>
                    <a:pt x="190274" y="1362740"/>
                  </a:cubicBezTo>
                  <a:cubicBezTo>
                    <a:pt x="155628" y="1362740"/>
                    <a:pt x="127541" y="1334653"/>
                    <a:pt x="127541" y="1300007"/>
                  </a:cubicBezTo>
                  <a:lnTo>
                    <a:pt x="127541" y="567971"/>
                  </a:lnTo>
                  <a:cubicBezTo>
                    <a:pt x="126888" y="521230"/>
                    <a:pt x="126237" y="474489"/>
                    <a:pt x="125584" y="427748"/>
                  </a:cubicBezTo>
                  <a:cubicBezTo>
                    <a:pt x="125584" y="426593"/>
                    <a:pt x="124648" y="425657"/>
                    <a:pt x="123493" y="425657"/>
                  </a:cubicBezTo>
                  <a:lnTo>
                    <a:pt x="102582" y="425657"/>
                  </a:lnTo>
                  <a:cubicBezTo>
                    <a:pt x="101427" y="425657"/>
                    <a:pt x="100491" y="426593"/>
                    <a:pt x="100491" y="427748"/>
                  </a:cubicBezTo>
                  <a:lnTo>
                    <a:pt x="100491" y="562608"/>
                  </a:lnTo>
                  <a:cubicBezTo>
                    <a:pt x="100449" y="562605"/>
                    <a:pt x="100411" y="562592"/>
                    <a:pt x="100373" y="562579"/>
                  </a:cubicBezTo>
                  <a:lnTo>
                    <a:pt x="100373" y="744942"/>
                  </a:lnTo>
                  <a:cubicBezTo>
                    <a:pt x="100373" y="772660"/>
                    <a:pt x="77904" y="795129"/>
                    <a:pt x="50187" y="795129"/>
                  </a:cubicBezTo>
                  <a:cubicBezTo>
                    <a:pt x="22469" y="795129"/>
                    <a:pt x="0" y="772660"/>
                    <a:pt x="0" y="744942"/>
                  </a:cubicBezTo>
                  <a:lnTo>
                    <a:pt x="0" y="429149"/>
                  </a:lnTo>
                  <a:lnTo>
                    <a:pt x="0" y="390797"/>
                  </a:lnTo>
                  <a:lnTo>
                    <a:pt x="0" y="382676"/>
                  </a:lnTo>
                  <a:cubicBezTo>
                    <a:pt x="0" y="370804"/>
                    <a:pt x="1544" y="359293"/>
                    <a:pt x="4960" y="348469"/>
                  </a:cubicBezTo>
                  <a:cubicBezTo>
                    <a:pt x="5892" y="345137"/>
                    <a:pt x="5786" y="340973"/>
                    <a:pt x="8000" y="338385"/>
                  </a:cubicBezTo>
                  <a:cubicBezTo>
                    <a:pt x="28153" y="286431"/>
                    <a:pt x="80647" y="251049"/>
                    <a:pt x="139748" y="251049"/>
                  </a:cubicBezTo>
                  <a:close/>
                  <a:moveTo>
                    <a:pt x="265942" y="0"/>
                  </a:moveTo>
                  <a:cubicBezTo>
                    <a:pt x="327064" y="0"/>
                    <a:pt x="376613" y="49549"/>
                    <a:pt x="376613" y="110671"/>
                  </a:cubicBezTo>
                  <a:cubicBezTo>
                    <a:pt x="376613" y="171793"/>
                    <a:pt x="327064" y="221342"/>
                    <a:pt x="265942" y="221342"/>
                  </a:cubicBezTo>
                  <a:cubicBezTo>
                    <a:pt x="204821" y="221342"/>
                    <a:pt x="155271" y="171793"/>
                    <a:pt x="155271" y="110671"/>
                  </a:cubicBezTo>
                  <a:cubicBezTo>
                    <a:pt x="155271" y="49549"/>
                    <a:pt x="204821" y="0"/>
                    <a:pt x="265942" y="0"/>
                  </a:cubicBezTo>
                  <a:close/>
                </a:path>
              </a:pathLst>
            </a:custGeom>
            <a:gr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121903" rIns="121903" bIns="121903" numCol="1" spcCol="0" rtlCol="0" fromWordArt="0" anchor="b" anchorCtr="0" forceAA="0" compatLnSpc="1">
              <a:prstTxWarp prst="textNoShape">
                <a:avLst/>
              </a:prstTxWarp>
              <a:noAutofit/>
            </a:bodyPr>
            <a:lstStyle/>
            <a:p>
              <a:pPr marL="0" marR="0" lvl="0" indent="0" algn="r" defTabSz="121893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48" name="Freeform 193"/>
            <p:cNvSpPr/>
            <p:nvPr/>
          </p:nvSpPr>
          <p:spPr>
            <a:xfrm>
              <a:off x="3981059" y="1238250"/>
              <a:ext cx="105186" cy="269498"/>
            </a:xfrm>
            <a:custGeom>
              <a:avLst/>
              <a:gdLst>
                <a:gd name="connsiteX0" fmla="*/ 139748 w 531885"/>
                <a:gd name="connsiteY0" fmla="*/ 251049 h 1362740"/>
                <a:gd name="connsiteX1" fmla="*/ 392136 w 531885"/>
                <a:gd name="connsiteY1" fmla="*/ 251049 h 1362740"/>
                <a:gd name="connsiteX2" fmla="*/ 523231 w 531885"/>
                <a:gd name="connsiteY2" fmla="*/ 337732 h 1362740"/>
                <a:gd name="connsiteX3" fmla="*/ 529310 w 531885"/>
                <a:gd name="connsiteY3" fmla="*/ 357137 h 1362740"/>
                <a:gd name="connsiteX4" fmla="*/ 531885 w 531885"/>
                <a:gd name="connsiteY4" fmla="*/ 382676 h 1362740"/>
                <a:gd name="connsiteX5" fmla="*/ 531885 w 531885"/>
                <a:gd name="connsiteY5" fmla="*/ 390797 h 1362740"/>
                <a:gd name="connsiteX6" fmla="*/ 531885 w 531885"/>
                <a:gd name="connsiteY6" fmla="*/ 429149 h 1362740"/>
                <a:gd name="connsiteX7" fmla="*/ 531885 w 531885"/>
                <a:gd name="connsiteY7" fmla="*/ 744942 h 1362740"/>
                <a:gd name="connsiteX8" fmla="*/ 481698 w 531885"/>
                <a:gd name="connsiteY8" fmla="*/ 795129 h 1362740"/>
                <a:gd name="connsiteX9" fmla="*/ 431512 w 531885"/>
                <a:gd name="connsiteY9" fmla="*/ 744942 h 1362740"/>
                <a:gd name="connsiteX10" fmla="*/ 431512 w 531885"/>
                <a:gd name="connsiteY10" fmla="*/ 562579 h 1362740"/>
                <a:gd name="connsiteX11" fmla="*/ 430980 w 531885"/>
                <a:gd name="connsiteY11" fmla="*/ 562711 h 1362740"/>
                <a:gd name="connsiteX12" fmla="*/ 430980 w 531885"/>
                <a:gd name="connsiteY12" fmla="*/ 427781 h 1362740"/>
                <a:gd name="connsiteX13" fmla="*/ 428856 w 531885"/>
                <a:gd name="connsiteY13" fmla="*/ 425657 h 1362740"/>
                <a:gd name="connsiteX14" fmla="*/ 407618 w 531885"/>
                <a:gd name="connsiteY14" fmla="*/ 425657 h 1362740"/>
                <a:gd name="connsiteX15" fmla="*/ 405495 w 531885"/>
                <a:gd name="connsiteY15" fmla="*/ 427781 h 1362740"/>
                <a:gd name="connsiteX16" fmla="*/ 405910 w 531885"/>
                <a:gd name="connsiteY16" fmla="*/ 552990 h 1362740"/>
                <a:gd name="connsiteX17" fmla="*/ 405910 w 531885"/>
                <a:gd name="connsiteY17" fmla="*/ 1300007 h 1362740"/>
                <a:gd name="connsiteX18" fmla="*/ 343177 w 531885"/>
                <a:gd name="connsiteY18" fmla="*/ 1362740 h 1362740"/>
                <a:gd name="connsiteX19" fmla="*/ 280443 w 531885"/>
                <a:gd name="connsiteY19" fmla="*/ 1300007 h 1362740"/>
                <a:gd name="connsiteX20" fmla="*/ 280443 w 531885"/>
                <a:gd name="connsiteY20" fmla="*/ 827961 h 1362740"/>
                <a:gd name="connsiteX21" fmla="*/ 280028 w 531885"/>
                <a:gd name="connsiteY21" fmla="*/ 791924 h 1362740"/>
                <a:gd name="connsiteX22" fmla="*/ 278164 w 531885"/>
                <a:gd name="connsiteY22" fmla="*/ 790060 h 1362740"/>
                <a:gd name="connsiteX23" fmla="*/ 255027 w 531885"/>
                <a:gd name="connsiteY23" fmla="*/ 790060 h 1362740"/>
                <a:gd name="connsiteX24" fmla="*/ 253164 w 531885"/>
                <a:gd name="connsiteY24" fmla="*/ 791924 h 1362740"/>
                <a:gd name="connsiteX25" fmla="*/ 253164 w 531885"/>
                <a:gd name="connsiteY25" fmla="*/ 827961 h 1362740"/>
                <a:gd name="connsiteX26" fmla="*/ 253008 w 531885"/>
                <a:gd name="connsiteY26" fmla="*/ 1300007 h 1362740"/>
                <a:gd name="connsiteX27" fmla="*/ 190274 w 531885"/>
                <a:gd name="connsiteY27" fmla="*/ 1362740 h 1362740"/>
                <a:gd name="connsiteX28" fmla="*/ 127541 w 531885"/>
                <a:gd name="connsiteY28" fmla="*/ 1300007 h 1362740"/>
                <a:gd name="connsiteX29" fmla="*/ 127541 w 531885"/>
                <a:gd name="connsiteY29" fmla="*/ 567971 h 1362740"/>
                <a:gd name="connsiteX30" fmla="*/ 125584 w 531885"/>
                <a:gd name="connsiteY30" fmla="*/ 427748 h 1362740"/>
                <a:gd name="connsiteX31" fmla="*/ 123493 w 531885"/>
                <a:gd name="connsiteY31" fmla="*/ 425657 h 1362740"/>
                <a:gd name="connsiteX32" fmla="*/ 102582 w 531885"/>
                <a:gd name="connsiteY32" fmla="*/ 425657 h 1362740"/>
                <a:gd name="connsiteX33" fmla="*/ 100491 w 531885"/>
                <a:gd name="connsiteY33" fmla="*/ 427748 h 1362740"/>
                <a:gd name="connsiteX34" fmla="*/ 100491 w 531885"/>
                <a:gd name="connsiteY34" fmla="*/ 562608 h 1362740"/>
                <a:gd name="connsiteX35" fmla="*/ 100373 w 531885"/>
                <a:gd name="connsiteY35" fmla="*/ 562579 h 1362740"/>
                <a:gd name="connsiteX36" fmla="*/ 100373 w 531885"/>
                <a:gd name="connsiteY36" fmla="*/ 744942 h 1362740"/>
                <a:gd name="connsiteX37" fmla="*/ 50187 w 531885"/>
                <a:gd name="connsiteY37" fmla="*/ 795129 h 1362740"/>
                <a:gd name="connsiteX38" fmla="*/ 0 w 531885"/>
                <a:gd name="connsiteY38" fmla="*/ 744942 h 1362740"/>
                <a:gd name="connsiteX39" fmla="*/ 0 w 531885"/>
                <a:gd name="connsiteY39" fmla="*/ 429149 h 1362740"/>
                <a:gd name="connsiteX40" fmla="*/ 0 w 531885"/>
                <a:gd name="connsiteY40" fmla="*/ 390797 h 1362740"/>
                <a:gd name="connsiteX41" fmla="*/ 0 w 531885"/>
                <a:gd name="connsiteY41" fmla="*/ 382676 h 1362740"/>
                <a:gd name="connsiteX42" fmla="*/ 4960 w 531885"/>
                <a:gd name="connsiteY42" fmla="*/ 348469 h 1362740"/>
                <a:gd name="connsiteX43" fmla="*/ 8000 w 531885"/>
                <a:gd name="connsiteY43" fmla="*/ 338385 h 1362740"/>
                <a:gd name="connsiteX44" fmla="*/ 139748 w 531885"/>
                <a:gd name="connsiteY44" fmla="*/ 251049 h 1362740"/>
                <a:gd name="connsiteX45" fmla="*/ 265942 w 531885"/>
                <a:gd name="connsiteY45" fmla="*/ 0 h 1362740"/>
                <a:gd name="connsiteX46" fmla="*/ 376613 w 531885"/>
                <a:gd name="connsiteY46" fmla="*/ 110671 h 1362740"/>
                <a:gd name="connsiteX47" fmla="*/ 265942 w 531885"/>
                <a:gd name="connsiteY47" fmla="*/ 221342 h 1362740"/>
                <a:gd name="connsiteX48" fmla="*/ 155271 w 531885"/>
                <a:gd name="connsiteY48" fmla="*/ 110671 h 1362740"/>
                <a:gd name="connsiteX49" fmla="*/ 265942 w 531885"/>
                <a:gd name="connsiteY49" fmla="*/ 0 h 136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31885" h="1362740">
                  <a:moveTo>
                    <a:pt x="139748" y="251049"/>
                  </a:moveTo>
                  <a:lnTo>
                    <a:pt x="392136" y="251049"/>
                  </a:lnTo>
                  <a:cubicBezTo>
                    <a:pt x="451239" y="251049"/>
                    <a:pt x="503078" y="285778"/>
                    <a:pt x="523231" y="337732"/>
                  </a:cubicBezTo>
                  <a:cubicBezTo>
                    <a:pt x="527105" y="344480"/>
                    <a:pt x="527753" y="351099"/>
                    <a:pt x="529310" y="357137"/>
                  </a:cubicBezTo>
                  <a:lnTo>
                    <a:pt x="531885" y="382676"/>
                  </a:lnTo>
                  <a:lnTo>
                    <a:pt x="531885" y="390797"/>
                  </a:lnTo>
                  <a:lnTo>
                    <a:pt x="531885" y="429149"/>
                  </a:lnTo>
                  <a:lnTo>
                    <a:pt x="531885" y="744942"/>
                  </a:lnTo>
                  <a:cubicBezTo>
                    <a:pt x="531885" y="772660"/>
                    <a:pt x="509415" y="795129"/>
                    <a:pt x="481698" y="795129"/>
                  </a:cubicBezTo>
                  <a:cubicBezTo>
                    <a:pt x="453981" y="795129"/>
                    <a:pt x="431512" y="772660"/>
                    <a:pt x="431512" y="744942"/>
                  </a:cubicBezTo>
                  <a:lnTo>
                    <a:pt x="431512" y="562579"/>
                  </a:lnTo>
                  <a:lnTo>
                    <a:pt x="430980" y="562711"/>
                  </a:lnTo>
                  <a:lnTo>
                    <a:pt x="430980" y="427781"/>
                  </a:lnTo>
                  <a:cubicBezTo>
                    <a:pt x="430980" y="426608"/>
                    <a:pt x="430029" y="425657"/>
                    <a:pt x="428856" y="425657"/>
                  </a:cubicBezTo>
                  <a:lnTo>
                    <a:pt x="407618" y="425657"/>
                  </a:lnTo>
                  <a:cubicBezTo>
                    <a:pt x="406445" y="425657"/>
                    <a:pt x="405495" y="426608"/>
                    <a:pt x="405495" y="427781"/>
                  </a:cubicBezTo>
                  <a:cubicBezTo>
                    <a:pt x="405633" y="469517"/>
                    <a:pt x="405771" y="511254"/>
                    <a:pt x="405910" y="552990"/>
                  </a:cubicBezTo>
                  <a:lnTo>
                    <a:pt x="405910" y="1300007"/>
                  </a:lnTo>
                  <a:cubicBezTo>
                    <a:pt x="405910" y="1334653"/>
                    <a:pt x="377823" y="1362740"/>
                    <a:pt x="343177" y="1362740"/>
                  </a:cubicBezTo>
                  <a:cubicBezTo>
                    <a:pt x="308530" y="1362740"/>
                    <a:pt x="280443" y="1334653"/>
                    <a:pt x="280443" y="1300007"/>
                  </a:cubicBezTo>
                  <a:lnTo>
                    <a:pt x="280443" y="827961"/>
                  </a:lnTo>
                  <a:cubicBezTo>
                    <a:pt x="280305" y="815949"/>
                    <a:pt x="280167" y="803937"/>
                    <a:pt x="280028" y="791924"/>
                  </a:cubicBezTo>
                  <a:cubicBezTo>
                    <a:pt x="280028" y="790894"/>
                    <a:pt x="279194" y="790060"/>
                    <a:pt x="278164" y="790060"/>
                  </a:cubicBezTo>
                  <a:lnTo>
                    <a:pt x="255027" y="790060"/>
                  </a:lnTo>
                  <a:cubicBezTo>
                    <a:pt x="253998" y="790060"/>
                    <a:pt x="253164" y="790894"/>
                    <a:pt x="253164" y="791924"/>
                  </a:cubicBezTo>
                  <a:lnTo>
                    <a:pt x="253164" y="827961"/>
                  </a:lnTo>
                  <a:cubicBezTo>
                    <a:pt x="253111" y="985310"/>
                    <a:pt x="253059" y="1142658"/>
                    <a:pt x="253008" y="1300007"/>
                  </a:cubicBezTo>
                  <a:cubicBezTo>
                    <a:pt x="253008" y="1334653"/>
                    <a:pt x="224921" y="1362740"/>
                    <a:pt x="190274" y="1362740"/>
                  </a:cubicBezTo>
                  <a:cubicBezTo>
                    <a:pt x="155628" y="1362740"/>
                    <a:pt x="127541" y="1334653"/>
                    <a:pt x="127541" y="1300007"/>
                  </a:cubicBezTo>
                  <a:lnTo>
                    <a:pt x="127541" y="567971"/>
                  </a:lnTo>
                  <a:cubicBezTo>
                    <a:pt x="126888" y="521230"/>
                    <a:pt x="126237" y="474489"/>
                    <a:pt x="125584" y="427748"/>
                  </a:cubicBezTo>
                  <a:cubicBezTo>
                    <a:pt x="125584" y="426593"/>
                    <a:pt x="124648" y="425657"/>
                    <a:pt x="123493" y="425657"/>
                  </a:cubicBezTo>
                  <a:lnTo>
                    <a:pt x="102582" y="425657"/>
                  </a:lnTo>
                  <a:cubicBezTo>
                    <a:pt x="101427" y="425657"/>
                    <a:pt x="100491" y="426593"/>
                    <a:pt x="100491" y="427748"/>
                  </a:cubicBezTo>
                  <a:lnTo>
                    <a:pt x="100491" y="562608"/>
                  </a:lnTo>
                  <a:cubicBezTo>
                    <a:pt x="100449" y="562605"/>
                    <a:pt x="100411" y="562592"/>
                    <a:pt x="100373" y="562579"/>
                  </a:cubicBezTo>
                  <a:lnTo>
                    <a:pt x="100373" y="744942"/>
                  </a:lnTo>
                  <a:cubicBezTo>
                    <a:pt x="100373" y="772660"/>
                    <a:pt x="77904" y="795129"/>
                    <a:pt x="50187" y="795129"/>
                  </a:cubicBezTo>
                  <a:cubicBezTo>
                    <a:pt x="22469" y="795129"/>
                    <a:pt x="0" y="772660"/>
                    <a:pt x="0" y="744942"/>
                  </a:cubicBezTo>
                  <a:lnTo>
                    <a:pt x="0" y="429149"/>
                  </a:lnTo>
                  <a:lnTo>
                    <a:pt x="0" y="390797"/>
                  </a:lnTo>
                  <a:lnTo>
                    <a:pt x="0" y="382676"/>
                  </a:lnTo>
                  <a:cubicBezTo>
                    <a:pt x="0" y="370804"/>
                    <a:pt x="1544" y="359293"/>
                    <a:pt x="4960" y="348469"/>
                  </a:cubicBezTo>
                  <a:cubicBezTo>
                    <a:pt x="5892" y="345137"/>
                    <a:pt x="5786" y="340973"/>
                    <a:pt x="8000" y="338385"/>
                  </a:cubicBezTo>
                  <a:cubicBezTo>
                    <a:pt x="28153" y="286431"/>
                    <a:pt x="80647" y="251049"/>
                    <a:pt x="139748" y="251049"/>
                  </a:cubicBezTo>
                  <a:close/>
                  <a:moveTo>
                    <a:pt x="265942" y="0"/>
                  </a:moveTo>
                  <a:cubicBezTo>
                    <a:pt x="327064" y="0"/>
                    <a:pt x="376613" y="49549"/>
                    <a:pt x="376613" y="110671"/>
                  </a:cubicBezTo>
                  <a:cubicBezTo>
                    <a:pt x="376613" y="171793"/>
                    <a:pt x="327064" y="221342"/>
                    <a:pt x="265942" y="221342"/>
                  </a:cubicBezTo>
                  <a:cubicBezTo>
                    <a:pt x="204821" y="221342"/>
                    <a:pt x="155271" y="171793"/>
                    <a:pt x="155271" y="110671"/>
                  </a:cubicBezTo>
                  <a:cubicBezTo>
                    <a:pt x="155271" y="49549"/>
                    <a:pt x="204821" y="0"/>
                    <a:pt x="265942" y="0"/>
                  </a:cubicBezTo>
                  <a:close/>
                </a:path>
              </a:pathLst>
            </a:custGeom>
            <a:gr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121903" rIns="121903" bIns="121903" numCol="1" spcCol="0" rtlCol="0" fromWordArt="0" anchor="b" anchorCtr="0" forceAA="0" compatLnSpc="1">
              <a:prstTxWarp prst="textNoShape">
                <a:avLst/>
              </a:prstTxWarp>
              <a:noAutofit/>
            </a:bodyPr>
            <a:lstStyle/>
            <a:p>
              <a:pPr marL="0" marR="0" lvl="0" indent="0" algn="r" defTabSz="121893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grpSp>
        <p:nvGrpSpPr>
          <p:cNvPr id="318" name="Group 317"/>
          <p:cNvGrpSpPr/>
          <p:nvPr/>
        </p:nvGrpSpPr>
        <p:grpSpPr>
          <a:xfrm>
            <a:off x="7338771" y="2556737"/>
            <a:ext cx="331990" cy="230305"/>
            <a:chOff x="1182726" y="2804865"/>
            <a:chExt cx="1940287" cy="1346002"/>
          </a:xfrm>
          <a:solidFill>
            <a:schemeClr val="bg1"/>
          </a:solidFill>
        </p:grpSpPr>
        <p:sp>
          <p:nvSpPr>
            <p:cNvPr id="437" name="Rectangle 26"/>
            <p:cNvSpPr/>
            <p:nvPr/>
          </p:nvSpPr>
          <p:spPr bwMode="auto">
            <a:xfrm>
              <a:off x="1622516" y="3487243"/>
              <a:ext cx="1055972" cy="650012"/>
            </a:xfrm>
            <a:custGeom>
              <a:avLst/>
              <a:gdLst/>
              <a:ahLst/>
              <a:cxnLst/>
              <a:rect l="l" t="t" r="r" b="b"/>
              <a:pathLst>
                <a:path w="1337039" h="823024">
                  <a:moveTo>
                    <a:pt x="1137527" y="122896"/>
                  </a:moveTo>
                  <a:lnTo>
                    <a:pt x="1254607" y="122896"/>
                  </a:lnTo>
                  <a:lnTo>
                    <a:pt x="1254607" y="758462"/>
                  </a:lnTo>
                  <a:lnTo>
                    <a:pt x="1254607" y="823024"/>
                  </a:lnTo>
                  <a:lnTo>
                    <a:pt x="1137527" y="823024"/>
                  </a:lnTo>
                  <a:close/>
                  <a:moveTo>
                    <a:pt x="213602" y="122896"/>
                  </a:moveTo>
                  <a:lnTo>
                    <a:pt x="1119239" y="122896"/>
                  </a:lnTo>
                  <a:lnTo>
                    <a:pt x="1119239" y="758462"/>
                  </a:lnTo>
                  <a:lnTo>
                    <a:pt x="213602" y="758462"/>
                  </a:lnTo>
                  <a:close/>
                  <a:moveTo>
                    <a:pt x="82433" y="122896"/>
                  </a:moveTo>
                  <a:lnTo>
                    <a:pt x="195314" y="122896"/>
                  </a:lnTo>
                  <a:lnTo>
                    <a:pt x="195314" y="823024"/>
                  </a:lnTo>
                  <a:lnTo>
                    <a:pt x="82433" y="823024"/>
                  </a:lnTo>
                  <a:lnTo>
                    <a:pt x="82433" y="758462"/>
                  </a:lnTo>
                  <a:close/>
                  <a:moveTo>
                    <a:pt x="0" y="0"/>
                  </a:moveTo>
                  <a:lnTo>
                    <a:pt x="1337039" y="0"/>
                  </a:lnTo>
                  <a:lnTo>
                    <a:pt x="1337039" y="104608"/>
                  </a:lnTo>
                  <a:lnTo>
                    <a:pt x="0" y="10460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38" name="Oval 13"/>
            <p:cNvSpPr/>
            <p:nvPr/>
          </p:nvSpPr>
          <p:spPr bwMode="auto">
            <a:xfrm>
              <a:off x="1182726"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39" name="Oval 438"/>
            <p:cNvSpPr/>
            <p:nvPr/>
          </p:nvSpPr>
          <p:spPr bwMode="auto">
            <a:xfrm>
              <a:off x="1360594"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40" name="Freeform 47"/>
            <p:cNvSpPr/>
            <p:nvPr/>
          </p:nvSpPr>
          <p:spPr bwMode="auto">
            <a:xfrm>
              <a:off x="1369784"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41" name="Oval 13"/>
            <p:cNvSpPr/>
            <p:nvPr/>
          </p:nvSpPr>
          <p:spPr bwMode="auto">
            <a:xfrm flipH="1">
              <a:off x="2652186" y="3318347"/>
              <a:ext cx="470827" cy="832520"/>
            </a:xfrm>
            <a:custGeom>
              <a:avLst/>
              <a:gdLst>
                <a:gd name="connsiteX0" fmla="*/ 59134 w 674291"/>
                <a:gd name="connsiteY0" fmla="*/ 28 h 1192290"/>
                <a:gd name="connsiteX1" fmla="*/ 0 w 674291"/>
                <a:gd name="connsiteY1" fmla="*/ 36144 h 1192290"/>
                <a:gd name="connsiteX2" fmla="*/ 79375 w 674291"/>
                <a:gd name="connsiteY2" fmla="*/ 718769 h 1192290"/>
                <a:gd name="connsiteX3" fmla="*/ 149225 w 674291"/>
                <a:gd name="connsiteY3" fmla="*/ 798144 h 1192290"/>
                <a:gd name="connsiteX4" fmla="*/ 319571 w 674291"/>
                <a:gd name="connsiteY4" fmla="*/ 796969 h 1192290"/>
                <a:gd name="connsiteX5" fmla="*/ 371474 w 674291"/>
                <a:gd name="connsiteY5" fmla="*/ 867994 h 1192290"/>
                <a:gd name="connsiteX6" fmla="*/ 374649 w 674291"/>
                <a:gd name="connsiteY6" fmla="*/ 925144 h 1192290"/>
                <a:gd name="connsiteX7" fmla="*/ 215899 w 674291"/>
                <a:gd name="connsiteY7" fmla="*/ 975944 h 1192290"/>
                <a:gd name="connsiteX8" fmla="*/ 203199 w 674291"/>
                <a:gd name="connsiteY8" fmla="*/ 1020394 h 1192290"/>
                <a:gd name="connsiteX9" fmla="*/ 184149 w 674291"/>
                <a:gd name="connsiteY9" fmla="*/ 1039444 h 1192290"/>
                <a:gd name="connsiteX10" fmla="*/ 157162 w 674291"/>
                <a:gd name="connsiteY10" fmla="*/ 1038650 h 1192290"/>
                <a:gd name="connsiteX11" fmla="*/ 98424 w 674291"/>
                <a:gd name="connsiteY11" fmla="*/ 1131519 h 1192290"/>
                <a:gd name="connsiteX12" fmla="*/ 219074 w 674291"/>
                <a:gd name="connsiteY12" fmla="*/ 1179144 h 1192290"/>
                <a:gd name="connsiteX13" fmla="*/ 222249 w 674291"/>
                <a:gd name="connsiteY13" fmla="*/ 1058494 h 1192290"/>
                <a:gd name="connsiteX14" fmla="*/ 247649 w 674291"/>
                <a:gd name="connsiteY14" fmla="*/ 1026744 h 1192290"/>
                <a:gd name="connsiteX15" fmla="*/ 371474 w 674291"/>
                <a:gd name="connsiteY15" fmla="*/ 972769 h 1192290"/>
                <a:gd name="connsiteX16" fmla="*/ 380999 w 674291"/>
                <a:gd name="connsiteY16" fmla="*/ 1020394 h 1192290"/>
                <a:gd name="connsiteX17" fmla="*/ 339724 w 674291"/>
                <a:gd name="connsiteY17" fmla="*/ 1039444 h 1192290"/>
                <a:gd name="connsiteX18" fmla="*/ 352424 w 674291"/>
                <a:gd name="connsiteY18" fmla="*/ 1175969 h 1192290"/>
                <a:gd name="connsiteX19" fmla="*/ 457199 w 674291"/>
                <a:gd name="connsiteY19" fmla="*/ 1169619 h 1192290"/>
                <a:gd name="connsiteX20" fmla="*/ 457199 w 674291"/>
                <a:gd name="connsiteY20" fmla="*/ 1068019 h 1192290"/>
                <a:gd name="connsiteX21" fmla="*/ 419099 w 674291"/>
                <a:gd name="connsiteY21" fmla="*/ 998169 h 1192290"/>
                <a:gd name="connsiteX22" fmla="*/ 434974 w 674291"/>
                <a:gd name="connsiteY22" fmla="*/ 972769 h 1192290"/>
                <a:gd name="connsiteX23" fmla="*/ 552449 w 674291"/>
                <a:gd name="connsiteY23" fmla="*/ 1036269 h 1192290"/>
                <a:gd name="connsiteX24" fmla="*/ 550886 w 674291"/>
                <a:gd name="connsiteY24" fmla="*/ 1081598 h 1192290"/>
                <a:gd name="connsiteX25" fmla="*/ 544909 w 674291"/>
                <a:gd name="connsiteY25" fmla="*/ 1108103 h 1192290"/>
                <a:gd name="connsiteX26" fmla="*/ 609600 w 674291"/>
                <a:gd name="connsiteY26" fmla="*/ 1172794 h 1192290"/>
                <a:gd name="connsiteX27" fmla="*/ 674291 w 674291"/>
                <a:gd name="connsiteY27" fmla="*/ 1108103 h 1192290"/>
                <a:gd name="connsiteX28" fmla="*/ 609600 w 674291"/>
                <a:gd name="connsiteY28" fmla="*/ 1043412 h 1192290"/>
                <a:gd name="connsiteX29" fmla="*/ 599600 w 674291"/>
                <a:gd name="connsiteY29" fmla="*/ 1045431 h 1192290"/>
                <a:gd name="connsiteX30" fmla="*/ 600074 w 674291"/>
                <a:gd name="connsiteY30" fmla="*/ 1033094 h 1192290"/>
                <a:gd name="connsiteX31" fmla="*/ 412749 w 674291"/>
                <a:gd name="connsiteY31" fmla="*/ 931494 h 1192290"/>
                <a:gd name="connsiteX32" fmla="*/ 412749 w 674291"/>
                <a:gd name="connsiteY32" fmla="*/ 877519 h 1192290"/>
                <a:gd name="connsiteX33" fmla="*/ 476891 w 674291"/>
                <a:gd name="connsiteY33" fmla="*/ 795884 h 1192290"/>
                <a:gd name="connsiteX34" fmla="*/ 609600 w 674291"/>
                <a:gd name="connsiteY34" fmla="*/ 794969 h 1192290"/>
                <a:gd name="connsiteX35" fmla="*/ 600075 w 674291"/>
                <a:gd name="connsiteY35" fmla="*/ 680669 h 1192290"/>
                <a:gd name="connsiteX36" fmla="*/ 203200 w 674291"/>
                <a:gd name="connsiteY36" fmla="*/ 674319 h 1192290"/>
                <a:gd name="connsiteX37" fmla="*/ 120650 w 674291"/>
                <a:gd name="connsiteY37" fmla="*/ 32969 h 1192290"/>
                <a:gd name="connsiteX38" fmla="*/ 59134 w 674291"/>
                <a:gd name="connsiteY38" fmla="*/ 28 h 119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4291" h="1192290">
                  <a:moveTo>
                    <a:pt x="59134" y="28"/>
                  </a:moveTo>
                  <a:cubicBezTo>
                    <a:pt x="37835" y="-633"/>
                    <a:pt x="16933" y="10215"/>
                    <a:pt x="0" y="36144"/>
                  </a:cubicBezTo>
                  <a:lnTo>
                    <a:pt x="79375" y="718769"/>
                  </a:lnTo>
                  <a:cubicBezTo>
                    <a:pt x="80433" y="761102"/>
                    <a:pt x="97367" y="784386"/>
                    <a:pt x="149225" y="798144"/>
                  </a:cubicBezTo>
                  <a:lnTo>
                    <a:pt x="319571" y="796969"/>
                  </a:lnTo>
                  <a:lnTo>
                    <a:pt x="371474" y="867994"/>
                  </a:lnTo>
                  <a:lnTo>
                    <a:pt x="374649" y="925144"/>
                  </a:lnTo>
                  <a:cubicBezTo>
                    <a:pt x="309826" y="920646"/>
                    <a:pt x="259291" y="932817"/>
                    <a:pt x="215899" y="975944"/>
                  </a:cubicBezTo>
                  <a:lnTo>
                    <a:pt x="203199" y="1020394"/>
                  </a:lnTo>
                  <a:lnTo>
                    <a:pt x="184149" y="1039444"/>
                  </a:lnTo>
                  <a:cubicBezTo>
                    <a:pt x="176741" y="1035211"/>
                    <a:pt x="164570" y="1042883"/>
                    <a:pt x="157162" y="1038650"/>
                  </a:cubicBezTo>
                  <a:cubicBezTo>
                    <a:pt x="109801" y="1064050"/>
                    <a:pt x="95779" y="1094213"/>
                    <a:pt x="98424" y="1131519"/>
                  </a:cubicBezTo>
                  <a:cubicBezTo>
                    <a:pt x="133878" y="1180731"/>
                    <a:pt x="171713" y="1184700"/>
                    <a:pt x="219074" y="1179144"/>
                  </a:cubicBezTo>
                  <a:cubicBezTo>
                    <a:pt x="272519" y="1127020"/>
                    <a:pt x="233097" y="1077280"/>
                    <a:pt x="222249" y="1058494"/>
                  </a:cubicBezTo>
                  <a:lnTo>
                    <a:pt x="247649" y="1026744"/>
                  </a:lnTo>
                  <a:cubicBezTo>
                    <a:pt x="260349" y="987321"/>
                    <a:pt x="313531" y="969330"/>
                    <a:pt x="371474" y="972769"/>
                  </a:cubicBezTo>
                  <a:lnTo>
                    <a:pt x="380999" y="1020394"/>
                  </a:lnTo>
                  <a:lnTo>
                    <a:pt x="339724" y="1039444"/>
                  </a:lnTo>
                  <a:cubicBezTo>
                    <a:pt x="322526" y="1099239"/>
                    <a:pt x="326760" y="1142367"/>
                    <a:pt x="352424" y="1175969"/>
                  </a:cubicBezTo>
                  <a:cubicBezTo>
                    <a:pt x="387349" y="1204809"/>
                    <a:pt x="429418" y="1190786"/>
                    <a:pt x="457199" y="1169619"/>
                  </a:cubicBezTo>
                  <a:cubicBezTo>
                    <a:pt x="473868" y="1130990"/>
                    <a:pt x="476249" y="1106648"/>
                    <a:pt x="457199" y="1068019"/>
                  </a:cubicBezTo>
                  <a:cubicBezTo>
                    <a:pt x="458786" y="1035211"/>
                    <a:pt x="431799" y="1021452"/>
                    <a:pt x="419099" y="998169"/>
                  </a:cubicBezTo>
                  <a:lnTo>
                    <a:pt x="434974" y="972769"/>
                  </a:lnTo>
                  <a:cubicBezTo>
                    <a:pt x="462226" y="972505"/>
                    <a:pt x="518053" y="993671"/>
                    <a:pt x="552449" y="1036269"/>
                  </a:cubicBezTo>
                  <a:lnTo>
                    <a:pt x="550886" y="1081598"/>
                  </a:lnTo>
                  <a:cubicBezTo>
                    <a:pt x="546953" y="1089599"/>
                    <a:pt x="544909" y="1098612"/>
                    <a:pt x="544909" y="1108103"/>
                  </a:cubicBezTo>
                  <a:cubicBezTo>
                    <a:pt x="544909" y="1143831"/>
                    <a:pt x="573872" y="1172794"/>
                    <a:pt x="609600" y="1172794"/>
                  </a:cubicBezTo>
                  <a:cubicBezTo>
                    <a:pt x="645328" y="1172794"/>
                    <a:pt x="674291" y="1143831"/>
                    <a:pt x="674291" y="1108103"/>
                  </a:cubicBezTo>
                  <a:cubicBezTo>
                    <a:pt x="674291" y="1072375"/>
                    <a:pt x="645328" y="1043412"/>
                    <a:pt x="609600" y="1043412"/>
                  </a:cubicBezTo>
                  <a:cubicBezTo>
                    <a:pt x="606132" y="1043412"/>
                    <a:pt x="602727" y="1043685"/>
                    <a:pt x="599600" y="1045431"/>
                  </a:cubicBezTo>
                  <a:lnTo>
                    <a:pt x="600074" y="1033094"/>
                  </a:lnTo>
                  <a:cubicBezTo>
                    <a:pt x="580495" y="980177"/>
                    <a:pt x="537103" y="929642"/>
                    <a:pt x="412749" y="931494"/>
                  </a:cubicBezTo>
                  <a:lnTo>
                    <a:pt x="412749" y="877519"/>
                  </a:lnTo>
                  <a:lnTo>
                    <a:pt x="476891" y="795884"/>
                  </a:lnTo>
                  <a:lnTo>
                    <a:pt x="609600" y="794969"/>
                  </a:lnTo>
                  <a:cubicBezTo>
                    <a:pt x="622300" y="756869"/>
                    <a:pt x="619125" y="712419"/>
                    <a:pt x="600075" y="680669"/>
                  </a:cubicBezTo>
                  <a:lnTo>
                    <a:pt x="203200" y="674319"/>
                  </a:lnTo>
                  <a:lnTo>
                    <a:pt x="120650" y="32969"/>
                  </a:lnTo>
                  <a:cubicBezTo>
                    <a:pt x="102129" y="12860"/>
                    <a:pt x="80433" y="690"/>
                    <a:pt x="59134" y="2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42" name="Oval 441"/>
            <p:cNvSpPr/>
            <p:nvPr/>
          </p:nvSpPr>
          <p:spPr bwMode="auto">
            <a:xfrm flipH="1">
              <a:off x="2700637" y="2804865"/>
              <a:ext cx="244508" cy="24450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43" name="Freeform 50"/>
            <p:cNvSpPr/>
            <p:nvPr/>
          </p:nvSpPr>
          <p:spPr bwMode="auto">
            <a:xfrm flipH="1">
              <a:off x="2339293" y="3112970"/>
              <a:ext cx="596662" cy="642967"/>
            </a:xfrm>
            <a:custGeom>
              <a:avLst/>
              <a:gdLst>
                <a:gd name="connsiteX0" fmla="*/ 23813 w 800100"/>
                <a:gd name="connsiteY0" fmla="*/ 66675 h 895350"/>
                <a:gd name="connsiteX1" fmla="*/ 247650 w 800100"/>
                <a:gd name="connsiteY1" fmla="*/ 0 h 895350"/>
                <a:gd name="connsiteX2" fmla="*/ 485775 w 800100"/>
                <a:gd name="connsiteY2" fmla="*/ 285750 h 895350"/>
                <a:gd name="connsiteX3" fmla="*/ 776288 w 800100"/>
                <a:gd name="connsiteY3" fmla="*/ 280988 h 895350"/>
                <a:gd name="connsiteX4" fmla="*/ 800100 w 800100"/>
                <a:gd name="connsiteY4" fmla="*/ 452438 h 895350"/>
                <a:gd name="connsiteX5" fmla="*/ 404813 w 800100"/>
                <a:gd name="connsiteY5" fmla="*/ 452438 h 895350"/>
                <a:gd name="connsiteX6" fmla="*/ 314325 w 800100"/>
                <a:gd name="connsiteY6" fmla="*/ 347663 h 895350"/>
                <a:gd name="connsiteX7" fmla="*/ 300038 w 800100"/>
                <a:gd name="connsiteY7" fmla="*/ 447675 h 895350"/>
                <a:gd name="connsiteX8" fmla="*/ 280988 w 800100"/>
                <a:gd name="connsiteY8" fmla="*/ 661988 h 895350"/>
                <a:gd name="connsiteX9" fmla="*/ 361950 w 800100"/>
                <a:gd name="connsiteY9" fmla="*/ 681038 h 895350"/>
                <a:gd name="connsiteX10" fmla="*/ 361950 w 800100"/>
                <a:gd name="connsiteY10" fmla="*/ 895350 h 895350"/>
                <a:gd name="connsiteX11" fmla="*/ 90488 w 800100"/>
                <a:gd name="connsiteY11" fmla="*/ 890588 h 895350"/>
                <a:gd name="connsiteX12" fmla="*/ 0 w 800100"/>
                <a:gd name="connsiteY12" fmla="*/ 771525 h 895350"/>
                <a:gd name="connsiteX13" fmla="*/ 23813 w 800100"/>
                <a:gd name="connsiteY13" fmla="*/ 66675 h 895350"/>
                <a:gd name="connsiteX0" fmla="*/ 23813 w 800100"/>
                <a:gd name="connsiteY0" fmla="*/ 69094 h 897769"/>
                <a:gd name="connsiteX1" fmla="*/ 247650 w 800100"/>
                <a:gd name="connsiteY1" fmla="*/ 2419 h 897769"/>
                <a:gd name="connsiteX2" fmla="*/ 485775 w 800100"/>
                <a:gd name="connsiteY2" fmla="*/ 288169 h 897769"/>
                <a:gd name="connsiteX3" fmla="*/ 776288 w 800100"/>
                <a:gd name="connsiteY3" fmla="*/ 283407 h 897769"/>
                <a:gd name="connsiteX4" fmla="*/ 800100 w 800100"/>
                <a:gd name="connsiteY4" fmla="*/ 454857 h 897769"/>
                <a:gd name="connsiteX5" fmla="*/ 404813 w 800100"/>
                <a:gd name="connsiteY5" fmla="*/ 454857 h 897769"/>
                <a:gd name="connsiteX6" fmla="*/ 314325 w 800100"/>
                <a:gd name="connsiteY6" fmla="*/ 350082 h 897769"/>
                <a:gd name="connsiteX7" fmla="*/ 300038 w 800100"/>
                <a:gd name="connsiteY7" fmla="*/ 450094 h 897769"/>
                <a:gd name="connsiteX8" fmla="*/ 280988 w 800100"/>
                <a:gd name="connsiteY8" fmla="*/ 664407 h 897769"/>
                <a:gd name="connsiteX9" fmla="*/ 361950 w 800100"/>
                <a:gd name="connsiteY9" fmla="*/ 683457 h 897769"/>
                <a:gd name="connsiteX10" fmla="*/ 361950 w 800100"/>
                <a:gd name="connsiteY10" fmla="*/ 897769 h 897769"/>
                <a:gd name="connsiteX11" fmla="*/ 90488 w 800100"/>
                <a:gd name="connsiteY11" fmla="*/ 893007 h 897769"/>
                <a:gd name="connsiteX12" fmla="*/ 0 w 800100"/>
                <a:gd name="connsiteY12" fmla="*/ 773944 h 897769"/>
                <a:gd name="connsiteX13" fmla="*/ 23813 w 800100"/>
                <a:gd name="connsiteY13" fmla="*/ 69094 h 897769"/>
                <a:gd name="connsiteX0" fmla="*/ 23813 w 800100"/>
                <a:gd name="connsiteY0" fmla="*/ 92148 h 920823"/>
                <a:gd name="connsiteX1" fmla="*/ 247650 w 800100"/>
                <a:gd name="connsiteY1" fmla="*/ 25473 h 920823"/>
                <a:gd name="connsiteX2" fmla="*/ 485775 w 800100"/>
                <a:gd name="connsiteY2" fmla="*/ 311223 h 920823"/>
                <a:gd name="connsiteX3" fmla="*/ 776288 w 800100"/>
                <a:gd name="connsiteY3" fmla="*/ 306461 h 920823"/>
                <a:gd name="connsiteX4" fmla="*/ 800100 w 800100"/>
                <a:gd name="connsiteY4" fmla="*/ 477911 h 920823"/>
                <a:gd name="connsiteX5" fmla="*/ 404813 w 800100"/>
                <a:gd name="connsiteY5" fmla="*/ 477911 h 920823"/>
                <a:gd name="connsiteX6" fmla="*/ 314325 w 800100"/>
                <a:gd name="connsiteY6" fmla="*/ 373136 h 920823"/>
                <a:gd name="connsiteX7" fmla="*/ 300038 w 800100"/>
                <a:gd name="connsiteY7" fmla="*/ 473148 h 920823"/>
                <a:gd name="connsiteX8" fmla="*/ 280988 w 800100"/>
                <a:gd name="connsiteY8" fmla="*/ 687461 h 920823"/>
                <a:gd name="connsiteX9" fmla="*/ 361950 w 800100"/>
                <a:gd name="connsiteY9" fmla="*/ 706511 h 920823"/>
                <a:gd name="connsiteX10" fmla="*/ 361950 w 800100"/>
                <a:gd name="connsiteY10" fmla="*/ 920823 h 920823"/>
                <a:gd name="connsiteX11" fmla="*/ 90488 w 800100"/>
                <a:gd name="connsiteY11" fmla="*/ 916061 h 920823"/>
                <a:gd name="connsiteX12" fmla="*/ 0 w 800100"/>
                <a:gd name="connsiteY12" fmla="*/ 796998 h 920823"/>
                <a:gd name="connsiteX13" fmla="*/ 23813 w 800100"/>
                <a:gd name="connsiteY13" fmla="*/ 92148 h 920823"/>
                <a:gd name="connsiteX0" fmla="*/ 23813 w 843857"/>
                <a:gd name="connsiteY0" fmla="*/ 92148 h 920823"/>
                <a:gd name="connsiteX1" fmla="*/ 247650 w 843857"/>
                <a:gd name="connsiteY1" fmla="*/ 25473 h 920823"/>
                <a:gd name="connsiteX2" fmla="*/ 485775 w 843857"/>
                <a:gd name="connsiteY2" fmla="*/ 311223 h 920823"/>
                <a:gd name="connsiteX3" fmla="*/ 776288 w 843857"/>
                <a:gd name="connsiteY3" fmla="*/ 306461 h 920823"/>
                <a:gd name="connsiteX4" fmla="*/ 800100 w 843857"/>
                <a:gd name="connsiteY4" fmla="*/ 477911 h 920823"/>
                <a:gd name="connsiteX5" fmla="*/ 404813 w 843857"/>
                <a:gd name="connsiteY5" fmla="*/ 477911 h 920823"/>
                <a:gd name="connsiteX6" fmla="*/ 314325 w 843857"/>
                <a:gd name="connsiteY6" fmla="*/ 373136 h 920823"/>
                <a:gd name="connsiteX7" fmla="*/ 300038 w 843857"/>
                <a:gd name="connsiteY7" fmla="*/ 473148 h 920823"/>
                <a:gd name="connsiteX8" fmla="*/ 280988 w 843857"/>
                <a:gd name="connsiteY8" fmla="*/ 687461 h 920823"/>
                <a:gd name="connsiteX9" fmla="*/ 361950 w 843857"/>
                <a:gd name="connsiteY9" fmla="*/ 706511 h 920823"/>
                <a:gd name="connsiteX10" fmla="*/ 361950 w 843857"/>
                <a:gd name="connsiteY10" fmla="*/ 920823 h 920823"/>
                <a:gd name="connsiteX11" fmla="*/ 90488 w 843857"/>
                <a:gd name="connsiteY11" fmla="*/ 916061 h 920823"/>
                <a:gd name="connsiteX12" fmla="*/ 0 w 843857"/>
                <a:gd name="connsiteY12" fmla="*/ 796998 h 920823"/>
                <a:gd name="connsiteX13" fmla="*/ 23813 w 843857"/>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 name="connsiteX0" fmla="*/ 23813 w 854506"/>
                <a:gd name="connsiteY0" fmla="*/ 92148 h 920823"/>
                <a:gd name="connsiteX1" fmla="*/ 247650 w 854506"/>
                <a:gd name="connsiteY1" fmla="*/ 25473 h 920823"/>
                <a:gd name="connsiteX2" fmla="*/ 485775 w 854506"/>
                <a:gd name="connsiteY2" fmla="*/ 311223 h 920823"/>
                <a:gd name="connsiteX3" fmla="*/ 776288 w 854506"/>
                <a:gd name="connsiteY3" fmla="*/ 306461 h 920823"/>
                <a:gd name="connsiteX4" fmla="*/ 800100 w 854506"/>
                <a:gd name="connsiteY4" fmla="*/ 477911 h 920823"/>
                <a:gd name="connsiteX5" fmla="*/ 404813 w 854506"/>
                <a:gd name="connsiteY5" fmla="*/ 477911 h 920823"/>
                <a:gd name="connsiteX6" fmla="*/ 314325 w 854506"/>
                <a:gd name="connsiteY6" fmla="*/ 373136 h 920823"/>
                <a:gd name="connsiteX7" fmla="*/ 300038 w 854506"/>
                <a:gd name="connsiteY7" fmla="*/ 473148 h 920823"/>
                <a:gd name="connsiteX8" fmla="*/ 280988 w 854506"/>
                <a:gd name="connsiteY8" fmla="*/ 687461 h 920823"/>
                <a:gd name="connsiteX9" fmla="*/ 361950 w 854506"/>
                <a:gd name="connsiteY9" fmla="*/ 706511 h 920823"/>
                <a:gd name="connsiteX10" fmla="*/ 361950 w 854506"/>
                <a:gd name="connsiteY10" fmla="*/ 920823 h 920823"/>
                <a:gd name="connsiteX11" fmla="*/ 90488 w 854506"/>
                <a:gd name="connsiteY11" fmla="*/ 916061 h 920823"/>
                <a:gd name="connsiteX12" fmla="*/ 0 w 854506"/>
                <a:gd name="connsiteY12" fmla="*/ 796998 h 920823"/>
                <a:gd name="connsiteX13" fmla="*/ 23813 w 854506"/>
                <a:gd name="connsiteY13" fmla="*/ 92148 h 9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4506" h="920823">
                  <a:moveTo>
                    <a:pt x="23813" y="92148"/>
                  </a:moveTo>
                  <a:cubicBezTo>
                    <a:pt x="69850" y="-25327"/>
                    <a:pt x="182563" y="-9452"/>
                    <a:pt x="247650" y="25473"/>
                  </a:cubicBezTo>
                  <a:lnTo>
                    <a:pt x="485775" y="311223"/>
                  </a:lnTo>
                  <a:lnTo>
                    <a:pt x="776288" y="306461"/>
                  </a:lnTo>
                  <a:cubicBezTo>
                    <a:pt x="917575" y="377899"/>
                    <a:pt x="830263" y="454098"/>
                    <a:pt x="800100" y="477911"/>
                  </a:cubicBezTo>
                  <a:lnTo>
                    <a:pt x="404813" y="477911"/>
                  </a:lnTo>
                  <a:lnTo>
                    <a:pt x="314325" y="373136"/>
                  </a:lnTo>
                  <a:lnTo>
                    <a:pt x="300038" y="473148"/>
                  </a:lnTo>
                  <a:lnTo>
                    <a:pt x="280988" y="687461"/>
                  </a:lnTo>
                  <a:lnTo>
                    <a:pt x="361950" y="706511"/>
                  </a:lnTo>
                  <a:lnTo>
                    <a:pt x="361950" y="920823"/>
                  </a:lnTo>
                  <a:lnTo>
                    <a:pt x="90488" y="916061"/>
                  </a:lnTo>
                  <a:cubicBezTo>
                    <a:pt x="17462" y="895423"/>
                    <a:pt x="15875" y="841449"/>
                    <a:pt x="0" y="796998"/>
                  </a:cubicBezTo>
                  <a:lnTo>
                    <a:pt x="23813" y="9214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44" name="Rectangle 443"/>
            <p:cNvSpPr/>
            <p:nvPr/>
          </p:nvSpPr>
          <p:spPr bwMode="auto">
            <a:xfrm>
              <a:off x="1668115"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445" name="Rectangle 444"/>
            <p:cNvSpPr/>
            <p:nvPr/>
          </p:nvSpPr>
          <p:spPr bwMode="auto">
            <a:xfrm>
              <a:off x="2253435" y="3434454"/>
              <a:ext cx="384188" cy="527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grpSp>
        <p:nvGrpSpPr>
          <p:cNvPr id="319" name="Group 318"/>
          <p:cNvGrpSpPr/>
          <p:nvPr/>
        </p:nvGrpSpPr>
        <p:grpSpPr>
          <a:xfrm>
            <a:off x="7393828" y="3066339"/>
            <a:ext cx="235315" cy="276413"/>
            <a:chOff x="4561086" y="4964643"/>
            <a:chExt cx="1333138" cy="1565976"/>
          </a:xfrm>
          <a:solidFill>
            <a:schemeClr val="bg1"/>
          </a:solidFill>
        </p:grpSpPr>
        <p:sp>
          <p:nvSpPr>
            <p:cNvPr id="427" name="Freeform 243"/>
            <p:cNvSpPr>
              <a:spLocks/>
            </p:cNvSpPr>
            <p:nvPr/>
          </p:nvSpPr>
          <p:spPr bwMode="auto">
            <a:xfrm>
              <a:off x="4561086" y="6140091"/>
              <a:ext cx="1333138" cy="390528"/>
            </a:xfrm>
            <a:custGeom>
              <a:avLst/>
              <a:gdLst>
                <a:gd name="connsiteX0" fmla="*/ 0 w 6654800"/>
                <a:gd name="connsiteY0" fmla="*/ 136525 h 1949450"/>
                <a:gd name="connsiteX1" fmla="*/ 736600 w 6654800"/>
                <a:gd name="connsiteY1" fmla="*/ 136525 h 1949450"/>
                <a:gd name="connsiteX2" fmla="*/ 736600 w 6654800"/>
                <a:gd name="connsiteY2" fmla="*/ 1654175 h 1949450"/>
                <a:gd name="connsiteX3" fmla="*/ 0 w 6654800"/>
                <a:gd name="connsiteY3" fmla="*/ 1654175 h 1949450"/>
                <a:gd name="connsiteX4" fmla="*/ 2120900 w 6654800"/>
                <a:gd name="connsiteY4" fmla="*/ 0 h 1949450"/>
                <a:gd name="connsiteX5" fmla="*/ 2235200 w 6654800"/>
                <a:gd name="connsiteY5" fmla="*/ 0 h 1949450"/>
                <a:gd name="connsiteX6" fmla="*/ 2349500 w 6654800"/>
                <a:gd name="connsiteY6" fmla="*/ 6350 h 1949450"/>
                <a:gd name="connsiteX7" fmla="*/ 2463800 w 6654800"/>
                <a:gd name="connsiteY7" fmla="*/ 15875 h 1949450"/>
                <a:gd name="connsiteX8" fmla="*/ 2578100 w 6654800"/>
                <a:gd name="connsiteY8" fmla="*/ 34925 h 1949450"/>
                <a:gd name="connsiteX9" fmla="*/ 2695575 w 6654800"/>
                <a:gd name="connsiteY9" fmla="*/ 60325 h 1949450"/>
                <a:gd name="connsiteX10" fmla="*/ 2813050 w 6654800"/>
                <a:gd name="connsiteY10" fmla="*/ 92075 h 1949450"/>
                <a:gd name="connsiteX11" fmla="*/ 2889250 w 6654800"/>
                <a:gd name="connsiteY11" fmla="*/ 114300 h 1949450"/>
                <a:gd name="connsiteX12" fmla="*/ 2968625 w 6654800"/>
                <a:gd name="connsiteY12" fmla="*/ 136525 h 1949450"/>
                <a:gd name="connsiteX13" fmla="*/ 3048000 w 6654800"/>
                <a:gd name="connsiteY13" fmla="*/ 152400 h 1949450"/>
                <a:gd name="connsiteX14" fmla="*/ 3133725 w 6654800"/>
                <a:gd name="connsiteY14" fmla="*/ 168275 h 1949450"/>
                <a:gd name="connsiteX15" fmla="*/ 3225800 w 6654800"/>
                <a:gd name="connsiteY15" fmla="*/ 174625 h 1949450"/>
                <a:gd name="connsiteX16" fmla="*/ 3327400 w 6654800"/>
                <a:gd name="connsiteY16" fmla="*/ 177800 h 1949450"/>
                <a:gd name="connsiteX17" fmla="*/ 3438525 w 6654800"/>
                <a:gd name="connsiteY17" fmla="*/ 171450 h 1949450"/>
                <a:gd name="connsiteX18" fmla="*/ 3559175 w 6654800"/>
                <a:gd name="connsiteY18" fmla="*/ 158750 h 1949450"/>
                <a:gd name="connsiteX19" fmla="*/ 3660775 w 6654800"/>
                <a:gd name="connsiteY19" fmla="*/ 146050 h 1949450"/>
                <a:gd name="connsiteX20" fmla="*/ 3752850 w 6654800"/>
                <a:gd name="connsiteY20" fmla="*/ 130175 h 1949450"/>
                <a:gd name="connsiteX21" fmla="*/ 3835400 w 6654800"/>
                <a:gd name="connsiteY21" fmla="*/ 114300 h 1949450"/>
                <a:gd name="connsiteX22" fmla="*/ 3921125 w 6654800"/>
                <a:gd name="connsiteY22" fmla="*/ 92075 h 1949450"/>
                <a:gd name="connsiteX23" fmla="*/ 4006850 w 6654800"/>
                <a:gd name="connsiteY23" fmla="*/ 76200 h 1949450"/>
                <a:gd name="connsiteX24" fmla="*/ 4105275 w 6654800"/>
                <a:gd name="connsiteY24" fmla="*/ 60325 h 1949450"/>
                <a:gd name="connsiteX25" fmla="*/ 4159250 w 6654800"/>
                <a:gd name="connsiteY25" fmla="*/ 53975 h 1949450"/>
                <a:gd name="connsiteX26" fmla="*/ 4216400 w 6654800"/>
                <a:gd name="connsiteY26" fmla="*/ 47625 h 1949450"/>
                <a:gd name="connsiteX27" fmla="*/ 4279900 w 6654800"/>
                <a:gd name="connsiteY27" fmla="*/ 47625 h 1949450"/>
                <a:gd name="connsiteX28" fmla="*/ 4349750 w 6654800"/>
                <a:gd name="connsiteY28" fmla="*/ 44450 h 1949450"/>
                <a:gd name="connsiteX29" fmla="*/ 4441825 w 6654800"/>
                <a:gd name="connsiteY29" fmla="*/ 47625 h 1949450"/>
                <a:gd name="connsiteX30" fmla="*/ 4527550 w 6654800"/>
                <a:gd name="connsiteY30" fmla="*/ 50800 h 1949450"/>
                <a:gd name="connsiteX31" fmla="*/ 4572000 w 6654800"/>
                <a:gd name="connsiteY31" fmla="*/ 57150 h 1949450"/>
                <a:gd name="connsiteX32" fmla="*/ 4610100 w 6654800"/>
                <a:gd name="connsiteY32" fmla="*/ 63500 h 1949450"/>
                <a:gd name="connsiteX33" fmla="*/ 4648200 w 6654800"/>
                <a:gd name="connsiteY33" fmla="*/ 76200 h 1949450"/>
                <a:gd name="connsiteX34" fmla="*/ 4679950 w 6654800"/>
                <a:gd name="connsiteY34" fmla="*/ 88900 h 1949450"/>
                <a:gd name="connsiteX35" fmla="*/ 4711700 w 6654800"/>
                <a:gd name="connsiteY35" fmla="*/ 104775 h 1949450"/>
                <a:gd name="connsiteX36" fmla="*/ 4740275 w 6654800"/>
                <a:gd name="connsiteY36" fmla="*/ 123825 h 1949450"/>
                <a:gd name="connsiteX37" fmla="*/ 4765675 w 6654800"/>
                <a:gd name="connsiteY37" fmla="*/ 146050 h 1949450"/>
                <a:gd name="connsiteX38" fmla="*/ 4784725 w 6654800"/>
                <a:gd name="connsiteY38" fmla="*/ 174625 h 1949450"/>
                <a:gd name="connsiteX39" fmla="*/ 4803775 w 6654800"/>
                <a:gd name="connsiteY39" fmla="*/ 209550 h 1949450"/>
                <a:gd name="connsiteX40" fmla="*/ 4813300 w 6654800"/>
                <a:gd name="connsiteY40" fmla="*/ 247650 h 1949450"/>
                <a:gd name="connsiteX41" fmla="*/ 4822825 w 6654800"/>
                <a:gd name="connsiteY41" fmla="*/ 288925 h 1949450"/>
                <a:gd name="connsiteX42" fmla="*/ 4826000 w 6654800"/>
                <a:gd name="connsiteY42" fmla="*/ 339725 h 1949450"/>
                <a:gd name="connsiteX43" fmla="*/ 4819650 w 6654800"/>
                <a:gd name="connsiteY43" fmla="*/ 390525 h 1949450"/>
                <a:gd name="connsiteX44" fmla="*/ 4816475 w 6654800"/>
                <a:gd name="connsiteY44" fmla="*/ 415925 h 1949450"/>
                <a:gd name="connsiteX45" fmla="*/ 4810125 w 6654800"/>
                <a:gd name="connsiteY45" fmla="*/ 441325 h 1949450"/>
                <a:gd name="connsiteX46" fmla="*/ 4800600 w 6654800"/>
                <a:gd name="connsiteY46" fmla="*/ 466725 h 1949450"/>
                <a:gd name="connsiteX47" fmla="*/ 4787900 w 6654800"/>
                <a:gd name="connsiteY47" fmla="*/ 492125 h 1949450"/>
                <a:gd name="connsiteX48" fmla="*/ 4772025 w 6654800"/>
                <a:gd name="connsiteY48" fmla="*/ 514350 h 1949450"/>
                <a:gd name="connsiteX49" fmla="*/ 4749800 w 6654800"/>
                <a:gd name="connsiteY49" fmla="*/ 539750 h 1949450"/>
                <a:gd name="connsiteX50" fmla="*/ 4727575 w 6654800"/>
                <a:gd name="connsiteY50" fmla="*/ 558800 h 1949450"/>
                <a:gd name="connsiteX51" fmla="*/ 4699000 w 6654800"/>
                <a:gd name="connsiteY51" fmla="*/ 577850 h 1949450"/>
                <a:gd name="connsiteX52" fmla="*/ 4664075 w 6654800"/>
                <a:gd name="connsiteY52" fmla="*/ 596900 h 1949450"/>
                <a:gd name="connsiteX53" fmla="*/ 4625975 w 6654800"/>
                <a:gd name="connsiteY53" fmla="*/ 612775 h 1949450"/>
                <a:gd name="connsiteX54" fmla="*/ 4581525 w 6654800"/>
                <a:gd name="connsiteY54" fmla="*/ 625475 h 1949450"/>
                <a:gd name="connsiteX55" fmla="*/ 4530725 w 6654800"/>
                <a:gd name="connsiteY55" fmla="*/ 638175 h 1949450"/>
                <a:gd name="connsiteX56" fmla="*/ 4476750 w 6654800"/>
                <a:gd name="connsiteY56" fmla="*/ 644525 h 1949450"/>
                <a:gd name="connsiteX57" fmla="*/ 4413250 w 6654800"/>
                <a:gd name="connsiteY57" fmla="*/ 650875 h 1949450"/>
                <a:gd name="connsiteX58" fmla="*/ 4295775 w 6654800"/>
                <a:gd name="connsiteY58" fmla="*/ 657225 h 1949450"/>
                <a:gd name="connsiteX59" fmla="*/ 4213225 w 6654800"/>
                <a:gd name="connsiteY59" fmla="*/ 660400 h 1949450"/>
                <a:gd name="connsiteX60" fmla="*/ 4149725 w 6654800"/>
                <a:gd name="connsiteY60" fmla="*/ 660400 h 1949450"/>
                <a:gd name="connsiteX61" fmla="*/ 4095750 w 6654800"/>
                <a:gd name="connsiteY61" fmla="*/ 660400 h 1949450"/>
                <a:gd name="connsiteX62" fmla="*/ 3984625 w 6654800"/>
                <a:gd name="connsiteY62" fmla="*/ 654050 h 1949450"/>
                <a:gd name="connsiteX63" fmla="*/ 3905250 w 6654800"/>
                <a:gd name="connsiteY63" fmla="*/ 650875 h 1949450"/>
                <a:gd name="connsiteX64" fmla="*/ 3797300 w 6654800"/>
                <a:gd name="connsiteY64" fmla="*/ 650875 h 1949450"/>
                <a:gd name="connsiteX65" fmla="*/ 3660775 w 6654800"/>
                <a:gd name="connsiteY65" fmla="*/ 654050 h 1949450"/>
                <a:gd name="connsiteX66" fmla="*/ 3562350 w 6654800"/>
                <a:gd name="connsiteY66" fmla="*/ 660400 h 1949450"/>
                <a:gd name="connsiteX67" fmla="*/ 3482975 w 6654800"/>
                <a:gd name="connsiteY67" fmla="*/ 669925 h 1949450"/>
                <a:gd name="connsiteX68" fmla="*/ 3451225 w 6654800"/>
                <a:gd name="connsiteY68" fmla="*/ 676275 h 1949450"/>
                <a:gd name="connsiteX69" fmla="*/ 3422650 w 6654800"/>
                <a:gd name="connsiteY69" fmla="*/ 685800 h 1949450"/>
                <a:gd name="connsiteX70" fmla="*/ 3368675 w 6654800"/>
                <a:gd name="connsiteY70" fmla="*/ 704850 h 1949450"/>
                <a:gd name="connsiteX71" fmla="*/ 3314700 w 6654800"/>
                <a:gd name="connsiteY71" fmla="*/ 733425 h 1949450"/>
                <a:gd name="connsiteX72" fmla="*/ 3251200 w 6654800"/>
                <a:gd name="connsiteY72" fmla="*/ 765175 h 1949450"/>
                <a:gd name="connsiteX73" fmla="*/ 3168650 w 6654800"/>
                <a:gd name="connsiteY73" fmla="*/ 803275 h 1949450"/>
                <a:gd name="connsiteX74" fmla="*/ 3340100 w 6654800"/>
                <a:gd name="connsiteY74" fmla="*/ 847725 h 1949450"/>
                <a:gd name="connsiteX75" fmla="*/ 3419475 w 6654800"/>
                <a:gd name="connsiteY75" fmla="*/ 869950 h 1949450"/>
                <a:gd name="connsiteX76" fmla="*/ 3498850 w 6654800"/>
                <a:gd name="connsiteY76" fmla="*/ 895350 h 1949450"/>
                <a:gd name="connsiteX77" fmla="*/ 3584575 w 6654800"/>
                <a:gd name="connsiteY77" fmla="*/ 923925 h 1949450"/>
                <a:gd name="connsiteX78" fmla="*/ 3676650 w 6654800"/>
                <a:gd name="connsiteY78" fmla="*/ 962025 h 1949450"/>
                <a:gd name="connsiteX79" fmla="*/ 3781425 w 6654800"/>
                <a:gd name="connsiteY79" fmla="*/ 1009650 h 1949450"/>
                <a:gd name="connsiteX80" fmla="*/ 3898900 w 6654800"/>
                <a:gd name="connsiteY80" fmla="*/ 1069975 h 1949450"/>
                <a:gd name="connsiteX81" fmla="*/ 3965575 w 6654800"/>
                <a:gd name="connsiteY81" fmla="*/ 1063625 h 1949450"/>
                <a:gd name="connsiteX82" fmla="*/ 4035425 w 6654800"/>
                <a:gd name="connsiteY82" fmla="*/ 1057275 h 1949450"/>
                <a:gd name="connsiteX83" fmla="*/ 4102100 w 6654800"/>
                <a:gd name="connsiteY83" fmla="*/ 1054100 h 1949450"/>
                <a:gd name="connsiteX84" fmla="*/ 4168775 w 6654800"/>
                <a:gd name="connsiteY84" fmla="*/ 1054100 h 1949450"/>
                <a:gd name="connsiteX85" fmla="*/ 4298950 w 6654800"/>
                <a:gd name="connsiteY85" fmla="*/ 1057275 h 1949450"/>
                <a:gd name="connsiteX86" fmla="*/ 4429125 w 6654800"/>
                <a:gd name="connsiteY86" fmla="*/ 1063625 h 1949450"/>
                <a:gd name="connsiteX87" fmla="*/ 4559300 w 6654800"/>
                <a:gd name="connsiteY87" fmla="*/ 1073150 h 1949450"/>
                <a:gd name="connsiteX88" fmla="*/ 4683125 w 6654800"/>
                <a:gd name="connsiteY88" fmla="*/ 1085850 h 1949450"/>
                <a:gd name="connsiteX89" fmla="*/ 4806950 w 6654800"/>
                <a:gd name="connsiteY89" fmla="*/ 1098550 h 1949450"/>
                <a:gd name="connsiteX90" fmla="*/ 4927600 w 6654800"/>
                <a:gd name="connsiteY90" fmla="*/ 1108075 h 1949450"/>
                <a:gd name="connsiteX91" fmla="*/ 5022850 w 6654800"/>
                <a:gd name="connsiteY91" fmla="*/ 1082675 h 1949450"/>
                <a:gd name="connsiteX92" fmla="*/ 5108575 w 6654800"/>
                <a:gd name="connsiteY92" fmla="*/ 1057275 h 1949450"/>
                <a:gd name="connsiteX93" fmla="*/ 5267325 w 6654800"/>
                <a:gd name="connsiteY93" fmla="*/ 1012825 h 1949450"/>
                <a:gd name="connsiteX94" fmla="*/ 5346700 w 6654800"/>
                <a:gd name="connsiteY94" fmla="*/ 993775 h 1949450"/>
                <a:gd name="connsiteX95" fmla="*/ 5432425 w 6654800"/>
                <a:gd name="connsiteY95" fmla="*/ 974725 h 1949450"/>
                <a:gd name="connsiteX96" fmla="*/ 5527675 w 6654800"/>
                <a:gd name="connsiteY96" fmla="*/ 962025 h 1949450"/>
                <a:gd name="connsiteX97" fmla="*/ 5638800 w 6654800"/>
                <a:gd name="connsiteY97" fmla="*/ 952500 h 1949450"/>
                <a:gd name="connsiteX98" fmla="*/ 5803900 w 6654800"/>
                <a:gd name="connsiteY98" fmla="*/ 822325 h 1949450"/>
                <a:gd name="connsiteX99" fmla="*/ 5892800 w 6654800"/>
                <a:gd name="connsiteY99" fmla="*/ 755650 h 1949450"/>
                <a:gd name="connsiteX100" fmla="*/ 5937250 w 6654800"/>
                <a:gd name="connsiteY100" fmla="*/ 723900 h 1949450"/>
                <a:gd name="connsiteX101" fmla="*/ 5984875 w 6654800"/>
                <a:gd name="connsiteY101" fmla="*/ 692150 h 1949450"/>
                <a:gd name="connsiteX102" fmla="*/ 6029325 w 6654800"/>
                <a:gd name="connsiteY102" fmla="*/ 666750 h 1949450"/>
                <a:gd name="connsiteX103" fmla="*/ 6076950 w 6654800"/>
                <a:gd name="connsiteY103" fmla="*/ 641350 h 1949450"/>
                <a:gd name="connsiteX104" fmla="*/ 6124575 w 6654800"/>
                <a:gd name="connsiteY104" fmla="*/ 622300 h 1949450"/>
                <a:gd name="connsiteX105" fmla="*/ 6172200 w 6654800"/>
                <a:gd name="connsiteY105" fmla="*/ 603250 h 1949450"/>
                <a:gd name="connsiteX106" fmla="*/ 6219825 w 6654800"/>
                <a:gd name="connsiteY106" fmla="*/ 590550 h 1949450"/>
                <a:gd name="connsiteX107" fmla="*/ 6267450 w 6654800"/>
                <a:gd name="connsiteY107" fmla="*/ 584200 h 1949450"/>
                <a:gd name="connsiteX108" fmla="*/ 6315075 w 6654800"/>
                <a:gd name="connsiteY108" fmla="*/ 584200 h 1949450"/>
                <a:gd name="connsiteX109" fmla="*/ 6362700 w 6654800"/>
                <a:gd name="connsiteY109" fmla="*/ 587375 h 1949450"/>
                <a:gd name="connsiteX110" fmla="*/ 6388100 w 6654800"/>
                <a:gd name="connsiteY110" fmla="*/ 593725 h 1949450"/>
                <a:gd name="connsiteX111" fmla="*/ 6413500 w 6654800"/>
                <a:gd name="connsiteY111" fmla="*/ 603250 h 1949450"/>
                <a:gd name="connsiteX112" fmla="*/ 6438900 w 6654800"/>
                <a:gd name="connsiteY112" fmla="*/ 612775 h 1949450"/>
                <a:gd name="connsiteX113" fmla="*/ 6464300 w 6654800"/>
                <a:gd name="connsiteY113" fmla="*/ 625475 h 1949450"/>
                <a:gd name="connsiteX114" fmla="*/ 6515100 w 6654800"/>
                <a:gd name="connsiteY114" fmla="*/ 657225 h 1949450"/>
                <a:gd name="connsiteX115" fmla="*/ 6559550 w 6654800"/>
                <a:gd name="connsiteY115" fmla="*/ 688975 h 1949450"/>
                <a:gd name="connsiteX116" fmla="*/ 6597650 w 6654800"/>
                <a:gd name="connsiteY116" fmla="*/ 717550 h 1949450"/>
                <a:gd name="connsiteX117" fmla="*/ 6629400 w 6654800"/>
                <a:gd name="connsiteY117" fmla="*/ 746125 h 1949450"/>
                <a:gd name="connsiteX118" fmla="*/ 6654800 w 6654800"/>
                <a:gd name="connsiteY118" fmla="*/ 771525 h 1949450"/>
                <a:gd name="connsiteX119" fmla="*/ 6613525 w 6654800"/>
                <a:gd name="connsiteY119" fmla="*/ 803275 h 1949450"/>
                <a:gd name="connsiteX120" fmla="*/ 6530975 w 6654800"/>
                <a:gd name="connsiteY120" fmla="*/ 866775 h 1949450"/>
                <a:gd name="connsiteX121" fmla="*/ 6384925 w 6654800"/>
                <a:gd name="connsiteY121" fmla="*/ 974725 h 1949450"/>
                <a:gd name="connsiteX122" fmla="*/ 6359525 w 6654800"/>
                <a:gd name="connsiteY122" fmla="*/ 1019175 h 1949450"/>
                <a:gd name="connsiteX123" fmla="*/ 6337300 w 6654800"/>
                <a:gd name="connsiteY123" fmla="*/ 1050925 h 1949450"/>
                <a:gd name="connsiteX124" fmla="*/ 6324600 w 6654800"/>
                <a:gd name="connsiteY124" fmla="*/ 1060450 h 1949450"/>
                <a:gd name="connsiteX125" fmla="*/ 6318250 w 6654800"/>
                <a:gd name="connsiteY125" fmla="*/ 1063625 h 1949450"/>
                <a:gd name="connsiteX126" fmla="*/ 6229350 w 6654800"/>
                <a:gd name="connsiteY126" fmla="*/ 1136650 h 1949450"/>
                <a:gd name="connsiteX127" fmla="*/ 6137275 w 6654800"/>
                <a:gd name="connsiteY127" fmla="*/ 1219200 h 1949450"/>
                <a:gd name="connsiteX128" fmla="*/ 6022975 w 6654800"/>
                <a:gd name="connsiteY128" fmla="*/ 1317625 h 1949450"/>
                <a:gd name="connsiteX129" fmla="*/ 5886450 w 6654800"/>
                <a:gd name="connsiteY129" fmla="*/ 1425575 h 1949450"/>
                <a:gd name="connsiteX130" fmla="*/ 5845175 w 6654800"/>
                <a:gd name="connsiteY130" fmla="*/ 1431925 h 1949450"/>
                <a:gd name="connsiteX131" fmla="*/ 5800725 w 6654800"/>
                <a:gd name="connsiteY131" fmla="*/ 1444625 h 1949450"/>
                <a:gd name="connsiteX132" fmla="*/ 5753100 w 6654800"/>
                <a:gd name="connsiteY132" fmla="*/ 1457325 h 1949450"/>
                <a:gd name="connsiteX133" fmla="*/ 5699125 w 6654800"/>
                <a:gd name="connsiteY133" fmla="*/ 1473200 h 1949450"/>
                <a:gd name="connsiteX134" fmla="*/ 5588000 w 6654800"/>
                <a:gd name="connsiteY134" fmla="*/ 1514475 h 1949450"/>
                <a:gd name="connsiteX135" fmla="*/ 5470525 w 6654800"/>
                <a:gd name="connsiteY135" fmla="*/ 1562100 h 1949450"/>
                <a:gd name="connsiteX136" fmla="*/ 5349875 w 6654800"/>
                <a:gd name="connsiteY136" fmla="*/ 1616075 h 1949450"/>
                <a:gd name="connsiteX137" fmla="*/ 5238750 w 6654800"/>
                <a:gd name="connsiteY137" fmla="*/ 1670050 h 1949450"/>
                <a:gd name="connsiteX138" fmla="*/ 5137150 w 6654800"/>
                <a:gd name="connsiteY138" fmla="*/ 1720850 h 1949450"/>
                <a:gd name="connsiteX139" fmla="*/ 5051425 w 6654800"/>
                <a:gd name="connsiteY139" fmla="*/ 1765300 h 1949450"/>
                <a:gd name="connsiteX140" fmla="*/ 4975225 w 6654800"/>
                <a:gd name="connsiteY140" fmla="*/ 1765300 h 1949450"/>
                <a:gd name="connsiteX141" fmla="*/ 4899025 w 6654800"/>
                <a:gd name="connsiteY141" fmla="*/ 1762125 h 1949450"/>
                <a:gd name="connsiteX142" fmla="*/ 4816475 w 6654800"/>
                <a:gd name="connsiteY142" fmla="*/ 1765300 h 1949450"/>
                <a:gd name="connsiteX143" fmla="*/ 4733925 w 6654800"/>
                <a:gd name="connsiteY143" fmla="*/ 1768475 h 1949450"/>
                <a:gd name="connsiteX144" fmla="*/ 4559300 w 6654800"/>
                <a:gd name="connsiteY144" fmla="*/ 1784350 h 1949450"/>
                <a:gd name="connsiteX145" fmla="*/ 4381500 w 6654800"/>
                <a:gd name="connsiteY145" fmla="*/ 1806575 h 1949450"/>
                <a:gd name="connsiteX146" fmla="*/ 4200525 w 6654800"/>
                <a:gd name="connsiteY146" fmla="*/ 1835150 h 1949450"/>
                <a:gd name="connsiteX147" fmla="*/ 4022725 w 6654800"/>
                <a:gd name="connsiteY147" fmla="*/ 1870075 h 1949450"/>
                <a:gd name="connsiteX148" fmla="*/ 3854450 w 6654800"/>
                <a:gd name="connsiteY148" fmla="*/ 1908175 h 1949450"/>
                <a:gd name="connsiteX149" fmla="*/ 3695700 w 6654800"/>
                <a:gd name="connsiteY149" fmla="*/ 1949450 h 1949450"/>
                <a:gd name="connsiteX150" fmla="*/ 3590925 w 6654800"/>
                <a:gd name="connsiteY150" fmla="*/ 1933575 h 1949450"/>
                <a:gd name="connsiteX151" fmla="*/ 3492500 w 6654800"/>
                <a:gd name="connsiteY151" fmla="*/ 1924050 h 1949450"/>
                <a:gd name="connsiteX152" fmla="*/ 3311525 w 6654800"/>
                <a:gd name="connsiteY152" fmla="*/ 1908175 h 1949450"/>
                <a:gd name="connsiteX153" fmla="*/ 3117850 w 6654800"/>
                <a:gd name="connsiteY153" fmla="*/ 1892300 h 1949450"/>
                <a:gd name="connsiteX154" fmla="*/ 3006725 w 6654800"/>
                <a:gd name="connsiteY154" fmla="*/ 1882775 h 1949450"/>
                <a:gd name="connsiteX155" fmla="*/ 2882900 w 6654800"/>
                <a:gd name="connsiteY155" fmla="*/ 1870075 h 1949450"/>
                <a:gd name="connsiteX156" fmla="*/ 2740025 w 6654800"/>
                <a:gd name="connsiteY156" fmla="*/ 1847850 h 1949450"/>
                <a:gd name="connsiteX157" fmla="*/ 2578100 w 6654800"/>
                <a:gd name="connsiteY157" fmla="*/ 1822450 h 1949450"/>
                <a:gd name="connsiteX158" fmla="*/ 2387600 w 6654800"/>
                <a:gd name="connsiteY158" fmla="*/ 1787525 h 1949450"/>
                <a:gd name="connsiteX159" fmla="*/ 2171700 w 6654800"/>
                <a:gd name="connsiteY159" fmla="*/ 1743075 h 1949450"/>
                <a:gd name="connsiteX160" fmla="*/ 1920875 w 6654800"/>
                <a:gd name="connsiteY160" fmla="*/ 1689100 h 1949450"/>
                <a:gd name="connsiteX161" fmla="*/ 1635125 w 6654800"/>
                <a:gd name="connsiteY161" fmla="*/ 1622425 h 1949450"/>
                <a:gd name="connsiteX162" fmla="*/ 1308100 w 6654800"/>
                <a:gd name="connsiteY162" fmla="*/ 1543050 h 1949450"/>
                <a:gd name="connsiteX163" fmla="*/ 936625 w 6654800"/>
                <a:gd name="connsiteY163" fmla="*/ 1450975 h 1949450"/>
                <a:gd name="connsiteX164" fmla="*/ 812800 w 6654800"/>
                <a:gd name="connsiteY164" fmla="*/ 1450975 h 1949450"/>
                <a:gd name="connsiteX165" fmla="*/ 812800 w 6654800"/>
                <a:gd name="connsiteY165" fmla="*/ 428625 h 1949450"/>
                <a:gd name="connsiteX166" fmla="*/ 948267 w 6654800"/>
                <a:gd name="connsiteY166" fmla="*/ 428625 h 1949450"/>
                <a:gd name="connsiteX167" fmla="*/ 1006475 w 6654800"/>
                <a:gd name="connsiteY167" fmla="*/ 412750 h 1949450"/>
                <a:gd name="connsiteX168" fmla="*/ 1069975 w 6654800"/>
                <a:gd name="connsiteY168" fmla="*/ 390525 h 1949450"/>
                <a:gd name="connsiteX169" fmla="*/ 1127125 w 6654800"/>
                <a:gd name="connsiteY169" fmla="*/ 365125 h 1949450"/>
                <a:gd name="connsiteX170" fmla="*/ 1184275 w 6654800"/>
                <a:gd name="connsiteY170" fmla="*/ 336550 h 1949450"/>
                <a:gd name="connsiteX171" fmla="*/ 1235075 w 6654800"/>
                <a:gd name="connsiteY171" fmla="*/ 307975 h 1949450"/>
                <a:gd name="connsiteX172" fmla="*/ 1285875 w 6654800"/>
                <a:gd name="connsiteY172" fmla="*/ 279400 h 1949450"/>
                <a:gd name="connsiteX173" fmla="*/ 1384300 w 6654800"/>
                <a:gd name="connsiteY173" fmla="*/ 219075 h 1949450"/>
                <a:gd name="connsiteX174" fmla="*/ 1489075 w 6654800"/>
                <a:gd name="connsiteY174" fmla="*/ 158750 h 1949450"/>
                <a:gd name="connsiteX175" fmla="*/ 1543050 w 6654800"/>
                <a:gd name="connsiteY175" fmla="*/ 130175 h 1949450"/>
                <a:gd name="connsiteX176" fmla="*/ 1600200 w 6654800"/>
                <a:gd name="connsiteY176" fmla="*/ 101600 h 1949450"/>
                <a:gd name="connsiteX177" fmla="*/ 1663700 w 6654800"/>
                <a:gd name="connsiteY177" fmla="*/ 76200 h 1949450"/>
                <a:gd name="connsiteX178" fmla="*/ 1730375 w 6654800"/>
                <a:gd name="connsiteY178" fmla="*/ 57150 h 1949450"/>
                <a:gd name="connsiteX179" fmla="*/ 1803400 w 6654800"/>
                <a:gd name="connsiteY179" fmla="*/ 38100 h 1949450"/>
                <a:gd name="connsiteX180" fmla="*/ 1885950 w 6654800"/>
                <a:gd name="connsiteY180" fmla="*/ 22225 h 1949450"/>
                <a:gd name="connsiteX181" fmla="*/ 2003425 w 6654800"/>
                <a:gd name="connsiteY181" fmla="*/ 9525 h 194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6654800" h="1949450">
                  <a:moveTo>
                    <a:pt x="0" y="136525"/>
                  </a:moveTo>
                  <a:lnTo>
                    <a:pt x="736600" y="136525"/>
                  </a:lnTo>
                  <a:lnTo>
                    <a:pt x="736600" y="1654175"/>
                  </a:lnTo>
                  <a:lnTo>
                    <a:pt x="0" y="1654175"/>
                  </a:lnTo>
                  <a:close/>
                  <a:moveTo>
                    <a:pt x="2120900" y="0"/>
                  </a:moveTo>
                  <a:lnTo>
                    <a:pt x="2235200" y="0"/>
                  </a:lnTo>
                  <a:lnTo>
                    <a:pt x="2349500" y="6350"/>
                  </a:lnTo>
                  <a:lnTo>
                    <a:pt x="2463800" y="15875"/>
                  </a:lnTo>
                  <a:lnTo>
                    <a:pt x="2578100" y="34925"/>
                  </a:lnTo>
                  <a:lnTo>
                    <a:pt x="2695575" y="60325"/>
                  </a:lnTo>
                  <a:lnTo>
                    <a:pt x="2813050" y="92075"/>
                  </a:lnTo>
                  <a:lnTo>
                    <a:pt x="2889250" y="114300"/>
                  </a:lnTo>
                  <a:lnTo>
                    <a:pt x="2968625" y="136525"/>
                  </a:lnTo>
                  <a:lnTo>
                    <a:pt x="3048000" y="152400"/>
                  </a:lnTo>
                  <a:lnTo>
                    <a:pt x="3133725" y="168275"/>
                  </a:lnTo>
                  <a:lnTo>
                    <a:pt x="3225800" y="174625"/>
                  </a:lnTo>
                  <a:lnTo>
                    <a:pt x="3327400" y="177800"/>
                  </a:lnTo>
                  <a:lnTo>
                    <a:pt x="3438525" y="171450"/>
                  </a:lnTo>
                  <a:lnTo>
                    <a:pt x="3559175" y="158750"/>
                  </a:lnTo>
                  <a:lnTo>
                    <a:pt x="3660775" y="146050"/>
                  </a:lnTo>
                  <a:lnTo>
                    <a:pt x="3752850" y="130175"/>
                  </a:lnTo>
                  <a:lnTo>
                    <a:pt x="3835400" y="114300"/>
                  </a:lnTo>
                  <a:lnTo>
                    <a:pt x="3921125" y="92075"/>
                  </a:lnTo>
                  <a:lnTo>
                    <a:pt x="4006850" y="76200"/>
                  </a:lnTo>
                  <a:lnTo>
                    <a:pt x="4105275" y="60325"/>
                  </a:lnTo>
                  <a:lnTo>
                    <a:pt x="4159250" y="53975"/>
                  </a:lnTo>
                  <a:lnTo>
                    <a:pt x="4216400" y="47625"/>
                  </a:lnTo>
                  <a:lnTo>
                    <a:pt x="4279900" y="47625"/>
                  </a:lnTo>
                  <a:lnTo>
                    <a:pt x="4349750" y="44450"/>
                  </a:lnTo>
                  <a:lnTo>
                    <a:pt x="4441825" y="47625"/>
                  </a:lnTo>
                  <a:lnTo>
                    <a:pt x="4527550" y="50800"/>
                  </a:lnTo>
                  <a:lnTo>
                    <a:pt x="4572000" y="57150"/>
                  </a:lnTo>
                  <a:lnTo>
                    <a:pt x="4610100" y="63500"/>
                  </a:lnTo>
                  <a:lnTo>
                    <a:pt x="4648200" y="76200"/>
                  </a:lnTo>
                  <a:lnTo>
                    <a:pt x="4679950" y="88900"/>
                  </a:lnTo>
                  <a:lnTo>
                    <a:pt x="4711700" y="104775"/>
                  </a:lnTo>
                  <a:lnTo>
                    <a:pt x="4740275" y="123825"/>
                  </a:lnTo>
                  <a:lnTo>
                    <a:pt x="4765675" y="146050"/>
                  </a:lnTo>
                  <a:lnTo>
                    <a:pt x="4784725" y="174625"/>
                  </a:lnTo>
                  <a:lnTo>
                    <a:pt x="4803775" y="209550"/>
                  </a:lnTo>
                  <a:lnTo>
                    <a:pt x="4813300" y="247650"/>
                  </a:lnTo>
                  <a:lnTo>
                    <a:pt x="4822825" y="288925"/>
                  </a:lnTo>
                  <a:lnTo>
                    <a:pt x="4826000" y="339725"/>
                  </a:lnTo>
                  <a:lnTo>
                    <a:pt x="4819650" y="390525"/>
                  </a:lnTo>
                  <a:lnTo>
                    <a:pt x="4816475" y="415925"/>
                  </a:lnTo>
                  <a:lnTo>
                    <a:pt x="4810125" y="441325"/>
                  </a:lnTo>
                  <a:lnTo>
                    <a:pt x="4800600" y="466725"/>
                  </a:lnTo>
                  <a:lnTo>
                    <a:pt x="4787900" y="492125"/>
                  </a:lnTo>
                  <a:lnTo>
                    <a:pt x="4772025" y="514350"/>
                  </a:lnTo>
                  <a:lnTo>
                    <a:pt x="4749800" y="539750"/>
                  </a:lnTo>
                  <a:lnTo>
                    <a:pt x="4727575" y="558800"/>
                  </a:lnTo>
                  <a:lnTo>
                    <a:pt x="4699000" y="577850"/>
                  </a:lnTo>
                  <a:lnTo>
                    <a:pt x="4664075" y="596900"/>
                  </a:lnTo>
                  <a:lnTo>
                    <a:pt x="4625975" y="612775"/>
                  </a:lnTo>
                  <a:lnTo>
                    <a:pt x="4581525" y="625475"/>
                  </a:lnTo>
                  <a:lnTo>
                    <a:pt x="4530725" y="638175"/>
                  </a:lnTo>
                  <a:lnTo>
                    <a:pt x="4476750" y="644525"/>
                  </a:lnTo>
                  <a:lnTo>
                    <a:pt x="4413250" y="650875"/>
                  </a:lnTo>
                  <a:lnTo>
                    <a:pt x="4295775" y="657225"/>
                  </a:lnTo>
                  <a:lnTo>
                    <a:pt x="4213225" y="660400"/>
                  </a:lnTo>
                  <a:lnTo>
                    <a:pt x="4149725" y="660400"/>
                  </a:lnTo>
                  <a:lnTo>
                    <a:pt x="4095750" y="660400"/>
                  </a:lnTo>
                  <a:lnTo>
                    <a:pt x="3984625" y="654050"/>
                  </a:lnTo>
                  <a:lnTo>
                    <a:pt x="3905250" y="650875"/>
                  </a:lnTo>
                  <a:lnTo>
                    <a:pt x="3797300" y="650875"/>
                  </a:lnTo>
                  <a:lnTo>
                    <a:pt x="3660775" y="654050"/>
                  </a:lnTo>
                  <a:lnTo>
                    <a:pt x="3562350" y="660400"/>
                  </a:lnTo>
                  <a:lnTo>
                    <a:pt x="3482975" y="669925"/>
                  </a:lnTo>
                  <a:lnTo>
                    <a:pt x="3451225" y="676275"/>
                  </a:lnTo>
                  <a:lnTo>
                    <a:pt x="3422650" y="685800"/>
                  </a:lnTo>
                  <a:lnTo>
                    <a:pt x="3368675" y="704850"/>
                  </a:lnTo>
                  <a:lnTo>
                    <a:pt x="3314700" y="733425"/>
                  </a:lnTo>
                  <a:lnTo>
                    <a:pt x="3251200" y="765175"/>
                  </a:lnTo>
                  <a:lnTo>
                    <a:pt x="3168650" y="803275"/>
                  </a:lnTo>
                  <a:lnTo>
                    <a:pt x="3340100" y="847725"/>
                  </a:lnTo>
                  <a:lnTo>
                    <a:pt x="3419475" y="869950"/>
                  </a:lnTo>
                  <a:lnTo>
                    <a:pt x="3498850" y="895350"/>
                  </a:lnTo>
                  <a:lnTo>
                    <a:pt x="3584575" y="923925"/>
                  </a:lnTo>
                  <a:lnTo>
                    <a:pt x="3676650" y="962025"/>
                  </a:lnTo>
                  <a:lnTo>
                    <a:pt x="3781425" y="1009650"/>
                  </a:lnTo>
                  <a:lnTo>
                    <a:pt x="3898900" y="1069975"/>
                  </a:lnTo>
                  <a:lnTo>
                    <a:pt x="3965575" y="1063625"/>
                  </a:lnTo>
                  <a:lnTo>
                    <a:pt x="4035425" y="1057275"/>
                  </a:lnTo>
                  <a:lnTo>
                    <a:pt x="4102100" y="1054100"/>
                  </a:lnTo>
                  <a:lnTo>
                    <a:pt x="4168775" y="1054100"/>
                  </a:lnTo>
                  <a:lnTo>
                    <a:pt x="4298950" y="1057275"/>
                  </a:lnTo>
                  <a:lnTo>
                    <a:pt x="4429125" y="1063625"/>
                  </a:lnTo>
                  <a:lnTo>
                    <a:pt x="4559300" y="1073150"/>
                  </a:lnTo>
                  <a:lnTo>
                    <a:pt x="4683125" y="1085850"/>
                  </a:lnTo>
                  <a:lnTo>
                    <a:pt x="4806950" y="1098550"/>
                  </a:lnTo>
                  <a:lnTo>
                    <a:pt x="4927600" y="1108075"/>
                  </a:lnTo>
                  <a:lnTo>
                    <a:pt x="5022850" y="1082675"/>
                  </a:lnTo>
                  <a:lnTo>
                    <a:pt x="5108575" y="1057275"/>
                  </a:lnTo>
                  <a:lnTo>
                    <a:pt x="5267325" y="1012825"/>
                  </a:lnTo>
                  <a:lnTo>
                    <a:pt x="5346700" y="993775"/>
                  </a:lnTo>
                  <a:lnTo>
                    <a:pt x="5432425" y="974725"/>
                  </a:lnTo>
                  <a:lnTo>
                    <a:pt x="5527675" y="962025"/>
                  </a:lnTo>
                  <a:lnTo>
                    <a:pt x="5638800" y="952500"/>
                  </a:lnTo>
                  <a:lnTo>
                    <a:pt x="5803900" y="822325"/>
                  </a:lnTo>
                  <a:lnTo>
                    <a:pt x="5892800" y="755650"/>
                  </a:lnTo>
                  <a:lnTo>
                    <a:pt x="5937250" y="723900"/>
                  </a:lnTo>
                  <a:lnTo>
                    <a:pt x="5984875" y="692150"/>
                  </a:lnTo>
                  <a:lnTo>
                    <a:pt x="6029325" y="666750"/>
                  </a:lnTo>
                  <a:lnTo>
                    <a:pt x="6076950" y="641350"/>
                  </a:lnTo>
                  <a:lnTo>
                    <a:pt x="6124575" y="622300"/>
                  </a:lnTo>
                  <a:lnTo>
                    <a:pt x="6172200" y="603250"/>
                  </a:lnTo>
                  <a:lnTo>
                    <a:pt x="6219825" y="590550"/>
                  </a:lnTo>
                  <a:lnTo>
                    <a:pt x="6267450" y="584200"/>
                  </a:lnTo>
                  <a:lnTo>
                    <a:pt x="6315075" y="584200"/>
                  </a:lnTo>
                  <a:lnTo>
                    <a:pt x="6362700" y="587375"/>
                  </a:lnTo>
                  <a:lnTo>
                    <a:pt x="6388100" y="593725"/>
                  </a:lnTo>
                  <a:lnTo>
                    <a:pt x="6413500" y="603250"/>
                  </a:lnTo>
                  <a:lnTo>
                    <a:pt x="6438900" y="612775"/>
                  </a:lnTo>
                  <a:lnTo>
                    <a:pt x="6464300" y="625475"/>
                  </a:lnTo>
                  <a:lnTo>
                    <a:pt x="6515100" y="657225"/>
                  </a:lnTo>
                  <a:lnTo>
                    <a:pt x="6559550" y="688975"/>
                  </a:lnTo>
                  <a:lnTo>
                    <a:pt x="6597650" y="717550"/>
                  </a:lnTo>
                  <a:lnTo>
                    <a:pt x="6629400" y="746125"/>
                  </a:lnTo>
                  <a:lnTo>
                    <a:pt x="6654800" y="771525"/>
                  </a:lnTo>
                  <a:lnTo>
                    <a:pt x="6613525" y="803275"/>
                  </a:lnTo>
                  <a:lnTo>
                    <a:pt x="6530975" y="866775"/>
                  </a:lnTo>
                  <a:lnTo>
                    <a:pt x="6384925" y="974725"/>
                  </a:lnTo>
                  <a:lnTo>
                    <a:pt x="6359525" y="1019175"/>
                  </a:lnTo>
                  <a:lnTo>
                    <a:pt x="6337300" y="1050925"/>
                  </a:lnTo>
                  <a:lnTo>
                    <a:pt x="6324600" y="1060450"/>
                  </a:lnTo>
                  <a:lnTo>
                    <a:pt x="6318250" y="1063625"/>
                  </a:lnTo>
                  <a:lnTo>
                    <a:pt x="6229350" y="1136650"/>
                  </a:lnTo>
                  <a:lnTo>
                    <a:pt x="6137275" y="1219200"/>
                  </a:lnTo>
                  <a:lnTo>
                    <a:pt x="6022975" y="1317625"/>
                  </a:lnTo>
                  <a:lnTo>
                    <a:pt x="5886450" y="1425575"/>
                  </a:lnTo>
                  <a:lnTo>
                    <a:pt x="5845175" y="1431925"/>
                  </a:lnTo>
                  <a:lnTo>
                    <a:pt x="5800725" y="1444625"/>
                  </a:lnTo>
                  <a:lnTo>
                    <a:pt x="5753100" y="1457325"/>
                  </a:lnTo>
                  <a:lnTo>
                    <a:pt x="5699125" y="1473200"/>
                  </a:lnTo>
                  <a:lnTo>
                    <a:pt x="5588000" y="1514475"/>
                  </a:lnTo>
                  <a:lnTo>
                    <a:pt x="5470525" y="1562100"/>
                  </a:lnTo>
                  <a:lnTo>
                    <a:pt x="5349875" y="1616075"/>
                  </a:lnTo>
                  <a:lnTo>
                    <a:pt x="5238750" y="1670050"/>
                  </a:lnTo>
                  <a:lnTo>
                    <a:pt x="5137150" y="1720850"/>
                  </a:lnTo>
                  <a:lnTo>
                    <a:pt x="5051425" y="1765300"/>
                  </a:lnTo>
                  <a:lnTo>
                    <a:pt x="4975225" y="1765300"/>
                  </a:lnTo>
                  <a:lnTo>
                    <a:pt x="4899025" y="1762125"/>
                  </a:lnTo>
                  <a:lnTo>
                    <a:pt x="4816475" y="1765300"/>
                  </a:lnTo>
                  <a:lnTo>
                    <a:pt x="4733925" y="1768475"/>
                  </a:lnTo>
                  <a:lnTo>
                    <a:pt x="4559300" y="1784350"/>
                  </a:lnTo>
                  <a:lnTo>
                    <a:pt x="4381500" y="1806575"/>
                  </a:lnTo>
                  <a:lnTo>
                    <a:pt x="4200525" y="1835150"/>
                  </a:lnTo>
                  <a:lnTo>
                    <a:pt x="4022725" y="1870075"/>
                  </a:lnTo>
                  <a:lnTo>
                    <a:pt x="3854450" y="1908175"/>
                  </a:lnTo>
                  <a:lnTo>
                    <a:pt x="3695700" y="1949450"/>
                  </a:lnTo>
                  <a:lnTo>
                    <a:pt x="3590925" y="1933575"/>
                  </a:lnTo>
                  <a:lnTo>
                    <a:pt x="3492500" y="1924050"/>
                  </a:lnTo>
                  <a:lnTo>
                    <a:pt x="3311525" y="1908175"/>
                  </a:lnTo>
                  <a:lnTo>
                    <a:pt x="3117850" y="1892300"/>
                  </a:lnTo>
                  <a:lnTo>
                    <a:pt x="3006725" y="1882775"/>
                  </a:lnTo>
                  <a:lnTo>
                    <a:pt x="2882900" y="1870075"/>
                  </a:lnTo>
                  <a:lnTo>
                    <a:pt x="2740025" y="1847850"/>
                  </a:lnTo>
                  <a:lnTo>
                    <a:pt x="2578100" y="1822450"/>
                  </a:lnTo>
                  <a:lnTo>
                    <a:pt x="2387600" y="1787525"/>
                  </a:lnTo>
                  <a:lnTo>
                    <a:pt x="2171700" y="1743075"/>
                  </a:lnTo>
                  <a:lnTo>
                    <a:pt x="1920875" y="1689100"/>
                  </a:lnTo>
                  <a:lnTo>
                    <a:pt x="1635125" y="1622425"/>
                  </a:lnTo>
                  <a:lnTo>
                    <a:pt x="1308100" y="1543050"/>
                  </a:lnTo>
                  <a:lnTo>
                    <a:pt x="936625" y="1450975"/>
                  </a:lnTo>
                  <a:lnTo>
                    <a:pt x="812800" y="1450975"/>
                  </a:lnTo>
                  <a:lnTo>
                    <a:pt x="812800" y="428625"/>
                  </a:lnTo>
                  <a:lnTo>
                    <a:pt x="948267" y="428625"/>
                  </a:lnTo>
                  <a:lnTo>
                    <a:pt x="1006475" y="412750"/>
                  </a:lnTo>
                  <a:lnTo>
                    <a:pt x="1069975" y="390525"/>
                  </a:lnTo>
                  <a:lnTo>
                    <a:pt x="1127125" y="365125"/>
                  </a:lnTo>
                  <a:lnTo>
                    <a:pt x="1184275" y="336550"/>
                  </a:lnTo>
                  <a:lnTo>
                    <a:pt x="1235075" y="307975"/>
                  </a:lnTo>
                  <a:lnTo>
                    <a:pt x="1285875" y="279400"/>
                  </a:lnTo>
                  <a:lnTo>
                    <a:pt x="1384300" y="219075"/>
                  </a:lnTo>
                  <a:lnTo>
                    <a:pt x="1489075" y="158750"/>
                  </a:lnTo>
                  <a:lnTo>
                    <a:pt x="1543050" y="130175"/>
                  </a:lnTo>
                  <a:lnTo>
                    <a:pt x="1600200" y="101600"/>
                  </a:lnTo>
                  <a:lnTo>
                    <a:pt x="1663700" y="76200"/>
                  </a:lnTo>
                  <a:lnTo>
                    <a:pt x="1730375" y="57150"/>
                  </a:lnTo>
                  <a:lnTo>
                    <a:pt x="1803400" y="38100"/>
                  </a:lnTo>
                  <a:lnTo>
                    <a:pt x="1885950" y="22225"/>
                  </a:lnTo>
                  <a:lnTo>
                    <a:pt x="2003425" y="9525"/>
                  </a:lnTo>
                  <a:close/>
                </a:path>
              </a:pathLst>
            </a:custGeom>
            <a:grpFill/>
            <a:ln>
              <a:noFill/>
            </a:ln>
          </p:spPr>
          <p:txBody>
            <a:bodyPr vert="horz" wrap="square" lIns="91427" tIns="45713" rIns="91427" bIns="45713" numCol="1" anchor="t" anchorCtr="0" compatLnSpc="1">
              <a:prstTxWarp prst="textNoShape">
                <a:avLst/>
              </a:prstTxWarp>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428" name="Group 427"/>
            <p:cNvGrpSpPr/>
            <p:nvPr/>
          </p:nvGrpSpPr>
          <p:grpSpPr>
            <a:xfrm>
              <a:off x="5244818" y="4964643"/>
              <a:ext cx="365760" cy="365760"/>
              <a:chOff x="5257794" y="4806969"/>
              <a:chExt cx="365760" cy="365760"/>
            </a:xfrm>
            <a:grpFill/>
          </p:grpSpPr>
          <p:sp>
            <p:nvSpPr>
              <p:cNvPr id="435" name="Oval 434"/>
              <p:cNvSpPr/>
              <p:nvPr/>
            </p:nvSpPr>
            <p:spPr bwMode="auto">
              <a:xfrm>
                <a:off x="5257794" y="4806969"/>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436" name="Freeform: Shape 435"/>
              <p:cNvSpPr/>
              <p:nvPr/>
            </p:nvSpPr>
            <p:spPr bwMode="auto">
              <a:xfrm>
                <a:off x="5390744" y="4865332"/>
                <a:ext cx="99860" cy="249035"/>
              </a:xfrm>
              <a:custGeom>
                <a:avLst/>
                <a:gdLst>
                  <a:gd name="connsiteX0" fmla="*/ 99831 w 180189"/>
                  <a:gd name="connsiteY0" fmla="*/ 241320 h 449363"/>
                  <a:gd name="connsiteX1" fmla="*/ 99831 w 180189"/>
                  <a:gd name="connsiteY1" fmla="*/ 376647 h 449363"/>
                  <a:gd name="connsiteX2" fmla="*/ 142229 w 180189"/>
                  <a:gd name="connsiteY2" fmla="*/ 355078 h 449363"/>
                  <a:gd name="connsiteX3" fmla="*/ 156526 w 180189"/>
                  <a:gd name="connsiteY3" fmla="*/ 314529 h 449363"/>
                  <a:gd name="connsiteX4" fmla="*/ 144570 w 180189"/>
                  <a:gd name="connsiteY4" fmla="*/ 276076 h 449363"/>
                  <a:gd name="connsiteX5" fmla="*/ 99831 w 180189"/>
                  <a:gd name="connsiteY5" fmla="*/ 241320 h 449363"/>
                  <a:gd name="connsiteX6" fmla="*/ 80605 w 180189"/>
                  <a:gd name="connsiteY6" fmla="*/ 66061 h 449363"/>
                  <a:gd name="connsiteX7" fmla="*/ 38947 w 180189"/>
                  <a:gd name="connsiteY7" fmla="*/ 87753 h 449363"/>
                  <a:gd name="connsiteX8" fmla="*/ 23664 w 180189"/>
                  <a:gd name="connsiteY8" fmla="*/ 130889 h 449363"/>
                  <a:gd name="connsiteX9" fmla="*/ 35003 w 180189"/>
                  <a:gd name="connsiteY9" fmla="*/ 168480 h 449363"/>
                  <a:gd name="connsiteX10" fmla="*/ 80605 w 180189"/>
                  <a:gd name="connsiteY10" fmla="*/ 204099 h 449363"/>
                  <a:gd name="connsiteX11" fmla="*/ 80605 w 180189"/>
                  <a:gd name="connsiteY11" fmla="*/ 0 h 449363"/>
                  <a:gd name="connsiteX12" fmla="*/ 99831 w 180189"/>
                  <a:gd name="connsiteY12" fmla="*/ 0 h 449363"/>
                  <a:gd name="connsiteX13" fmla="*/ 99831 w 180189"/>
                  <a:gd name="connsiteY13" fmla="*/ 44369 h 449363"/>
                  <a:gd name="connsiteX14" fmla="*/ 163920 w 180189"/>
                  <a:gd name="connsiteY14" fmla="*/ 54968 h 449363"/>
                  <a:gd name="connsiteX15" fmla="*/ 163920 w 180189"/>
                  <a:gd name="connsiteY15" fmla="*/ 80358 h 449363"/>
                  <a:gd name="connsiteX16" fmla="*/ 99831 w 180189"/>
                  <a:gd name="connsiteY16" fmla="*/ 65568 h 449363"/>
                  <a:gd name="connsiteX17" fmla="*/ 99831 w 180189"/>
                  <a:gd name="connsiteY17" fmla="*/ 215191 h 449363"/>
                  <a:gd name="connsiteX18" fmla="*/ 162688 w 180189"/>
                  <a:gd name="connsiteY18" fmla="*/ 260916 h 449363"/>
                  <a:gd name="connsiteX19" fmla="*/ 180189 w 180189"/>
                  <a:gd name="connsiteY19" fmla="*/ 310092 h 449363"/>
                  <a:gd name="connsiteX20" fmla="*/ 159114 w 180189"/>
                  <a:gd name="connsiteY20" fmla="*/ 368019 h 449363"/>
                  <a:gd name="connsiteX21" fmla="*/ 99831 w 180189"/>
                  <a:gd name="connsiteY21" fmla="*/ 396859 h 449363"/>
                  <a:gd name="connsiteX22" fmla="*/ 99831 w 180189"/>
                  <a:gd name="connsiteY22" fmla="*/ 449363 h 449363"/>
                  <a:gd name="connsiteX23" fmla="*/ 80605 w 180189"/>
                  <a:gd name="connsiteY23" fmla="*/ 449363 h 449363"/>
                  <a:gd name="connsiteX24" fmla="*/ 80605 w 180189"/>
                  <a:gd name="connsiteY24" fmla="*/ 397845 h 449363"/>
                  <a:gd name="connsiteX25" fmla="*/ 0 w 180189"/>
                  <a:gd name="connsiteY25" fmla="*/ 378126 h 449363"/>
                  <a:gd name="connsiteX26" fmla="*/ 0 w 180189"/>
                  <a:gd name="connsiteY26" fmla="*/ 352983 h 449363"/>
                  <a:gd name="connsiteX27" fmla="*/ 80605 w 180189"/>
                  <a:gd name="connsiteY27" fmla="*/ 377140 h 449363"/>
                  <a:gd name="connsiteX28" fmla="*/ 80605 w 180189"/>
                  <a:gd name="connsiteY28" fmla="*/ 229735 h 449363"/>
                  <a:gd name="connsiteX29" fmla="*/ 16022 w 180189"/>
                  <a:gd name="connsiteY29" fmla="*/ 181791 h 449363"/>
                  <a:gd name="connsiteX30" fmla="*/ 0 w 180189"/>
                  <a:gd name="connsiteY30" fmla="*/ 133847 h 449363"/>
                  <a:gd name="connsiteX31" fmla="*/ 21692 w 180189"/>
                  <a:gd name="connsiteY31" fmla="*/ 75428 h 449363"/>
                  <a:gd name="connsiteX32" fmla="*/ 80605 w 180189"/>
                  <a:gd name="connsiteY32" fmla="*/ 44862 h 44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0189" h="449363">
                    <a:moveTo>
                      <a:pt x="99831" y="241320"/>
                    </a:moveTo>
                    <a:lnTo>
                      <a:pt x="99831" y="376647"/>
                    </a:lnTo>
                    <a:cubicBezTo>
                      <a:pt x="118565" y="373360"/>
                      <a:pt x="132698" y="366170"/>
                      <a:pt x="142229" y="355078"/>
                    </a:cubicBezTo>
                    <a:cubicBezTo>
                      <a:pt x="151760" y="343986"/>
                      <a:pt x="156526" y="330470"/>
                      <a:pt x="156526" y="314529"/>
                    </a:cubicBezTo>
                    <a:cubicBezTo>
                      <a:pt x="156526" y="299411"/>
                      <a:pt x="152540" y="286593"/>
                      <a:pt x="144570" y="276076"/>
                    </a:cubicBezTo>
                    <a:cubicBezTo>
                      <a:pt x="136600" y="265559"/>
                      <a:pt x="121687" y="253973"/>
                      <a:pt x="99831" y="241320"/>
                    </a:cubicBezTo>
                    <a:close/>
                    <a:moveTo>
                      <a:pt x="80605" y="66061"/>
                    </a:moveTo>
                    <a:cubicBezTo>
                      <a:pt x="63021" y="68854"/>
                      <a:pt x="49135" y="76085"/>
                      <a:pt x="38947" y="87753"/>
                    </a:cubicBezTo>
                    <a:cubicBezTo>
                      <a:pt x="28758" y="99420"/>
                      <a:pt x="23664" y="113799"/>
                      <a:pt x="23664" y="130889"/>
                    </a:cubicBezTo>
                    <a:cubicBezTo>
                      <a:pt x="23664" y="145351"/>
                      <a:pt x="27443" y="157881"/>
                      <a:pt x="35003" y="168480"/>
                    </a:cubicBezTo>
                    <a:cubicBezTo>
                      <a:pt x="42562" y="179080"/>
                      <a:pt x="57763" y="190952"/>
                      <a:pt x="80605" y="204099"/>
                    </a:cubicBezTo>
                    <a:close/>
                    <a:moveTo>
                      <a:pt x="80605" y="0"/>
                    </a:moveTo>
                    <a:lnTo>
                      <a:pt x="99831" y="0"/>
                    </a:lnTo>
                    <a:lnTo>
                      <a:pt x="99831" y="44369"/>
                    </a:lnTo>
                    <a:cubicBezTo>
                      <a:pt x="124810" y="44369"/>
                      <a:pt x="146173" y="47902"/>
                      <a:pt x="163920" y="54968"/>
                    </a:cubicBezTo>
                    <a:lnTo>
                      <a:pt x="163920" y="80358"/>
                    </a:lnTo>
                    <a:cubicBezTo>
                      <a:pt x="146994" y="70498"/>
                      <a:pt x="125631" y="65568"/>
                      <a:pt x="99831" y="65568"/>
                    </a:cubicBezTo>
                    <a:lnTo>
                      <a:pt x="99831" y="215191"/>
                    </a:lnTo>
                    <a:cubicBezTo>
                      <a:pt x="130068" y="231789"/>
                      <a:pt x="151020" y="247030"/>
                      <a:pt x="162688" y="260916"/>
                    </a:cubicBezTo>
                    <a:cubicBezTo>
                      <a:pt x="174355" y="274802"/>
                      <a:pt x="180189" y="291194"/>
                      <a:pt x="180189" y="310092"/>
                    </a:cubicBezTo>
                    <a:cubicBezTo>
                      <a:pt x="180189" y="333099"/>
                      <a:pt x="173164" y="352408"/>
                      <a:pt x="159114" y="368019"/>
                    </a:cubicBezTo>
                    <a:cubicBezTo>
                      <a:pt x="145063" y="383631"/>
                      <a:pt x="125303" y="393244"/>
                      <a:pt x="99831" y="396859"/>
                    </a:cubicBezTo>
                    <a:lnTo>
                      <a:pt x="99831" y="449363"/>
                    </a:lnTo>
                    <a:lnTo>
                      <a:pt x="80605" y="449363"/>
                    </a:lnTo>
                    <a:lnTo>
                      <a:pt x="80605" y="397845"/>
                    </a:lnTo>
                    <a:cubicBezTo>
                      <a:pt x="49710" y="397845"/>
                      <a:pt x="22842" y="391272"/>
                      <a:pt x="0" y="378126"/>
                    </a:cubicBezTo>
                    <a:lnTo>
                      <a:pt x="0" y="352983"/>
                    </a:lnTo>
                    <a:cubicBezTo>
                      <a:pt x="24979" y="369087"/>
                      <a:pt x="51847" y="377140"/>
                      <a:pt x="80605" y="377140"/>
                    </a:cubicBezTo>
                    <a:lnTo>
                      <a:pt x="80605" y="229735"/>
                    </a:lnTo>
                    <a:cubicBezTo>
                      <a:pt x="48231" y="211165"/>
                      <a:pt x="26704" y="195184"/>
                      <a:pt x="16022" y="181791"/>
                    </a:cubicBezTo>
                    <a:cubicBezTo>
                      <a:pt x="5341" y="168398"/>
                      <a:pt x="0" y="152417"/>
                      <a:pt x="0" y="133847"/>
                    </a:cubicBezTo>
                    <a:cubicBezTo>
                      <a:pt x="0" y="111498"/>
                      <a:pt x="7231" y="92025"/>
                      <a:pt x="21692" y="75428"/>
                    </a:cubicBezTo>
                    <a:cubicBezTo>
                      <a:pt x="36153" y="58830"/>
                      <a:pt x="55791" y="48642"/>
                      <a:pt x="80605" y="44862"/>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grpSp>
        <p:grpSp>
          <p:nvGrpSpPr>
            <p:cNvPr id="429" name="Group 428"/>
            <p:cNvGrpSpPr/>
            <p:nvPr/>
          </p:nvGrpSpPr>
          <p:grpSpPr>
            <a:xfrm>
              <a:off x="4861895" y="5320451"/>
              <a:ext cx="365760" cy="365760"/>
              <a:chOff x="5257794" y="4806969"/>
              <a:chExt cx="365760" cy="365760"/>
            </a:xfrm>
            <a:grpFill/>
          </p:grpSpPr>
          <p:sp>
            <p:nvSpPr>
              <p:cNvPr id="433" name="Oval 432"/>
              <p:cNvSpPr/>
              <p:nvPr/>
            </p:nvSpPr>
            <p:spPr bwMode="auto">
              <a:xfrm>
                <a:off x="5257794" y="4806969"/>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434" name="Freeform: Shape 433"/>
              <p:cNvSpPr/>
              <p:nvPr/>
            </p:nvSpPr>
            <p:spPr bwMode="auto">
              <a:xfrm>
                <a:off x="5390744" y="4865332"/>
                <a:ext cx="99860" cy="249035"/>
              </a:xfrm>
              <a:custGeom>
                <a:avLst/>
                <a:gdLst>
                  <a:gd name="connsiteX0" fmla="*/ 99831 w 180189"/>
                  <a:gd name="connsiteY0" fmla="*/ 241320 h 449363"/>
                  <a:gd name="connsiteX1" fmla="*/ 99831 w 180189"/>
                  <a:gd name="connsiteY1" fmla="*/ 376647 h 449363"/>
                  <a:gd name="connsiteX2" fmla="*/ 142229 w 180189"/>
                  <a:gd name="connsiteY2" fmla="*/ 355078 h 449363"/>
                  <a:gd name="connsiteX3" fmla="*/ 156526 w 180189"/>
                  <a:gd name="connsiteY3" fmla="*/ 314529 h 449363"/>
                  <a:gd name="connsiteX4" fmla="*/ 144570 w 180189"/>
                  <a:gd name="connsiteY4" fmla="*/ 276076 h 449363"/>
                  <a:gd name="connsiteX5" fmla="*/ 99831 w 180189"/>
                  <a:gd name="connsiteY5" fmla="*/ 241320 h 449363"/>
                  <a:gd name="connsiteX6" fmla="*/ 80605 w 180189"/>
                  <a:gd name="connsiteY6" fmla="*/ 66061 h 449363"/>
                  <a:gd name="connsiteX7" fmla="*/ 38947 w 180189"/>
                  <a:gd name="connsiteY7" fmla="*/ 87753 h 449363"/>
                  <a:gd name="connsiteX8" fmla="*/ 23664 w 180189"/>
                  <a:gd name="connsiteY8" fmla="*/ 130889 h 449363"/>
                  <a:gd name="connsiteX9" fmla="*/ 35003 w 180189"/>
                  <a:gd name="connsiteY9" fmla="*/ 168480 h 449363"/>
                  <a:gd name="connsiteX10" fmla="*/ 80605 w 180189"/>
                  <a:gd name="connsiteY10" fmla="*/ 204099 h 449363"/>
                  <a:gd name="connsiteX11" fmla="*/ 80605 w 180189"/>
                  <a:gd name="connsiteY11" fmla="*/ 0 h 449363"/>
                  <a:gd name="connsiteX12" fmla="*/ 99831 w 180189"/>
                  <a:gd name="connsiteY12" fmla="*/ 0 h 449363"/>
                  <a:gd name="connsiteX13" fmla="*/ 99831 w 180189"/>
                  <a:gd name="connsiteY13" fmla="*/ 44369 h 449363"/>
                  <a:gd name="connsiteX14" fmla="*/ 163920 w 180189"/>
                  <a:gd name="connsiteY14" fmla="*/ 54968 h 449363"/>
                  <a:gd name="connsiteX15" fmla="*/ 163920 w 180189"/>
                  <a:gd name="connsiteY15" fmla="*/ 80358 h 449363"/>
                  <a:gd name="connsiteX16" fmla="*/ 99831 w 180189"/>
                  <a:gd name="connsiteY16" fmla="*/ 65568 h 449363"/>
                  <a:gd name="connsiteX17" fmla="*/ 99831 w 180189"/>
                  <a:gd name="connsiteY17" fmla="*/ 215191 h 449363"/>
                  <a:gd name="connsiteX18" fmla="*/ 162688 w 180189"/>
                  <a:gd name="connsiteY18" fmla="*/ 260916 h 449363"/>
                  <a:gd name="connsiteX19" fmla="*/ 180189 w 180189"/>
                  <a:gd name="connsiteY19" fmla="*/ 310092 h 449363"/>
                  <a:gd name="connsiteX20" fmla="*/ 159114 w 180189"/>
                  <a:gd name="connsiteY20" fmla="*/ 368019 h 449363"/>
                  <a:gd name="connsiteX21" fmla="*/ 99831 w 180189"/>
                  <a:gd name="connsiteY21" fmla="*/ 396859 h 449363"/>
                  <a:gd name="connsiteX22" fmla="*/ 99831 w 180189"/>
                  <a:gd name="connsiteY22" fmla="*/ 449363 h 449363"/>
                  <a:gd name="connsiteX23" fmla="*/ 80605 w 180189"/>
                  <a:gd name="connsiteY23" fmla="*/ 449363 h 449363"/>
                  <a:gd name="connsiteX24" fmla="*/ 80605 w 180189"/>
                  <a:gd name="connsiteY24" fmla="*/ 397845 h 449363"/>
                  <a:gd name="connsiteX25" fmla="*/ 0 w 180189"/>
                  <a:gd name="connsiteY25" fmla="*/ 378126 h 449363"/>
                  <a:gd name="connsiteX26" fmla="*/ 0 w 180189"/>
                  <a:gd name="connsiteY26" fmla="*/ 352983 h 449363"/>
                  <a:gd name="connsiteX27" fmla="*/ 80605 w 180189"/>
                  <a:gd name="connsiteY27" fmla="*/ 377140 h 449363"/>
                  <a:gd name="connsiteX28" fmla="*/ 80605 w 180189"/>
                  <a:gd name="connsiteY28" fmla="*/ 229735 h 449363"/>
                  <a:gd name="connsiteX29" fmla="*/ 16022 w 180189"/>
                  <a:gd name="connsiteY29" fmla="*/ 181791 h 449363"/>
                  <a:gd name="connsiteX30" fmla="*/ 0 w 180189"/>
                  <a:gd name="connsiteY30" fmla="*/ 133847 h 449363"/>
                  <a:gd name="connsiteX31" fmla="*/ 21692 w 180189"/>
                  <a:gd name="connsiteY31" fmla="*/ 75428 h 449363"/>
                  <a:gd name="connsiteX32" fmla="*/ 80605 w 180189"/>
                  <a:gd name="connsiteY32" fmla="*/ 44862 h 44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0189" h="449363">
                    <a:moveTo>
                      <a:pt x="99831" y="241320"/>
                    </a:moveTo>
                    <a:lnTo>
                      <a:pt x="99831" y="376647"/>
                    </a:lnTo>
                    <a:cubicBezTo>
                      <a:pt x="118565" y="373360"/>
                      <a:pt x="132698" y="366170"/>
                      <a:pt x="142229" y="355078"/>
                    </a:cubicBezTo>
                    <a:cubicBezTo>
                      <a:pt x="151760" y="343986"/>
                      <a:pt x="156526" y="330470"/>
                      <a:pt x="156526" y="314529"/>
                    </a:cubicBezTo>
                    <a:cubicBezTo>
                      <a:pt x="156526" y="299411"/>
                      <a:pt x="152540" y="286593"/>
                      <a:pt x="144570" y="276076"/>
                    </a:cubicBezTo>
                    <a:cubicBezTo>
                      <a:pt x="136600" y="265559"/>
                      <a:pt x="121687" y="253973"/>
                      <a:pt x="99831" y="241320"/>
                    </a:cubicBezTo>
                    <a:close/>
                    <a:moveTo>
                      <a:pt x="80605" y="66061"/>
                    </a:moveTo>
                    <a:cubicBezTo>
                      <a:pt x="63021" y="68854"/>
                      <a:pt x="49135" y="76085"/>
                      <a:pt x="38947" y="87753"/>
                    </a:cubicBezTo>
                    <a:cubicBezTo>
                      <a:pt x="28758" y="99420"/>
                      <a:pt x="23664" y="113799"/>
                      <a:pt x="23664" y="130889"/>
                    </a:cubicBezTo>
                    <a:cubicBezTo>
                      <a:pt x="23664" y="145351"/>
                      <a:pt x="27443" y="157881"/>
                      <a:pt x="35003" y="168480"/>
                    </a:cubicBezTo>
                    <a:cubicBezTo>
                      <a:pt x="42562" y="179080"/>
                      <a:pt x="57763" y="190952"/>
                      <a:pt x="80605" y="204099"/>
                    </a:cubicBezTo>
                    <a:close/>
                    <a:moveTo>
                      <a:pt x="80605" y="0"/>
                    </a:moveTo>
                    <a:lnTo>
                      <a:pt x="99831" y="0"/>
                    </a:lnTo>
                    <a:lnTo>
                      <a:pt x="99831" y="44369"/>
                    </a:lnTo>
                    <a:cubicBezTo>
                      <a:pt x="124810" y="44369"/>
                      <a:pt x="146173" y="47902"/>
                      <a:pt x="163920" y="54968"/>
                    </a:cubicBezTo>
                    <a:lnTo>
                      <a:pt x="163920" y="80358"/>
                    </a:lnTo>
                    <a:cubicBezTo>
                      <a:pt x="146994" y="70498"/>
                      <a:pt x="125631" y="65568"/>
                      <a:pt x="99831" y="65568"/>
                    </a:cubicBezTo>
                    <a:lnTo>
                      <a:pt x="99831" y="215191"/>
                    </a:lnTo>
                    <a:cubicBezTo>
                      <a:pt x="130068" y="231789"/>
                      <a:pt x="151020" y="247030"/>
                      <a:pt x="162688" y="260916"/>
                    </a:cubicBezTo>
                    <a:cubicBezTo>
                      <a:pt x="174355" y="274802"/>
                      <a:pt x="180189" y="291194"/>
                      <a:pt x="180189" y="310092"/>
                    </a:cubicBezTo>
                    <a:cubicBezTo>
                      <a:pt x="180189" y="333099"/>
                      <a:pt x="173164" y="352408"/>
                      <a:pt x="159114" y="368019"/>
                    </a:cubicBezTo>
                    <a:cubicBezTo>
                      <a:pt x="145063" y="383631"/>
                      <a:pt x="125303" y="393244"/>
                      <a:pt x="99831" y="396859"/>
                    </a:cubicBezTo>
                    <a:lnTo>
                      <a:pt x="99831" y="449363"/>
                    </a:lnTo>
                    <a:lnTo>
                      <a:pt x="80605" y="449363"/>
                    </a:lnTo>
                    <a:lnTo>
                      <a:pt x="80605" y="397845"/>
                    </a:lnTo>
                    <a:cubicBezTo>
                      <a:pt x="49710" y="397845"/>
                      <a:pt x="22842" y="391272"/>
                      <a:pt x="0" y="378126"/>
                    </a:cubicBezTo>
                    <a:lnTo>
                      <a:pt x="0" y="352983"/>
                    </a:lnTo>
                    <a:cubicBezTo>
                      <a:pt x="24979" y="369087"/>
                      <a:pt x="51847" y="377140"/>
                      <a:pt x="80605" y="377140"/>
                    </a:cubicBezTo>
                    <a:lnTo>
                      <a:pt x="80605" y="229735"/>
                    </a:lnTo>
                    <a:cubicBezTo>
                      <a:pt x="48231" y="211165"/>
                      <a:pt x="26704" y="195184"/>
                      <a:pt x="16022" y="181791"/>
                    </a:cubicBezTo>
                    <a:cubicBezTo>
                      <a:pt x="5341" y="168398"/>
                      <a:pt x="0" y="152417"/>
                      <a:pt x="0" y="133847"/>
                    </a:cubicBezTo>
                    <a:cubicBezTo>
                      <a:pt x="0" y="111498"/>
                      <a:pt x="7231" y="92025"/>
                      <a:pt x="21692" y="75428"/>
                    </a:cubicBezTo>
                    <a:cubicBezTo>
                      <a:pt x="36153" y="58830"/>
                      <a:pt x="55791" y="48642"/>
                      <a:pt x="80605" y="44862"/>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grpSp>
        <p:grpSp>
          <p:nvGrpSpPr>
            <p:cNvPr id="430" name="Group 429"/>
            <p:cNvGrpSpPr/>
            <p:nvPr/>
          </p:nvGrpSpPr>
          <p:grpSpPr>
            <a:xfrm>
              <a:off x="5222259" y="5660108"/>
              <a:ext cx="365760" cy="365760"/>
              <a:chOff x="5257794" y="4806969"/>
              <a:chExt cx="365760" cy="365760"/>
            </a:xfrm>
            <a:grpFill/>
          </p:grpSpPr>
          <p:sp>
            <p:nvSpPr>
              <p:cNvPr id="431" name="Oval 430"/>
              <p:cNvSpPr/>
              <p:nvPr/>
            </p:nvSpPr>
            <p:spPr bwMode="auto">
              <a:xfrm>
                <a:off x="5257794" y="4806969"/>
                <a:ext cx="365760" cy="36576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sp>
            <p:nvSpPr>
              <p:cNvPr id="432" name="Freeform: Shape 431"/>
              <p:cNvSpPr/>
              <p:nvPr/>
            </p:nvSpPr>
            <p:spPr bwMode="auto">
              <a:xfrm>
                <a:off x="5390744" y="4865332"/>
                <a:ext cx="99860" cy="249035"/>
              </a:xfrm>
              <a:custGeom>
                <a:avLst/>
                <a:gdLst>
                  <a:gd name="connsiteX0" fmla="*/ 99831 w 180189"/>
                  <a:gd name="connsiteY0" fmla="*/ 241320 h 449363"/>
                  <a:gd name="connsiteX1" fmla="*/ 99831 w 180189"/>
                  <a:gd name="connsiteY1" fmla="*/ 376647 h 449363"/>
                  <a:gd name="connsiteX2" fmla="*/ 142229 w 180189"/>
                  <a:gd name="connsiteY2" fmla="*/ 355078 h 449363"/>
                  <a:gd name="connsiteX3" fmla="*/ 156526 w 180189"/>
                  <a:gd name="connsiteY3" fmla="*/ 314529 h 449363"/>
                  <a:gd name="connsiteX4" fmla="*/ 144570 w 180189"/>
                  <a:gd name="connsiteY4" fmla="*/ 276076 h 449363"/>
                  <a:gd name="connsiteX5" fmla="*/ 99831 w 180189"/>
                  <a:gd name="connsiteY5" fmla="*/ 241320 h 449363"/>
                  <a:gd name="connsiteX6" fmla="*/ 80605 w 180189"/>
                  <a:gd name="connsiteY6" fmla="*/ 66061 h 449363"/>
                  <a:gd name="connsiteX7" fmla="*/ 38947 w 180189"/>
                  <a:gd name="connsiteY7" fmla="*/ 87753 h 449363"/>
                  <a:gd name="connsiteX8" fmla="*/ 23664 w 180189"/>
                  <a:gd name="connsiteY8" fmla="*/ 130889 h 449363"/>
                  <a:gd name="connsiteX9" fmla="*/ 35003 w 180189"/>
                  <a:gd name="connsiteY9" fmla="*/ 168480 h 449363"/>
                  <a:gd name="connsiteX10" fmla="*/ 80605 w 180189"/>
                  <a:gd name="connsiteY10" fmla="*/ 204099 h 449363"/>
                  <a:gd name="connsiteX11" fmla="*/ 80605 w 180189"/>
                  <a:gd name="connsiteY11" fmla="*/ 0 h 449363"/>
                  <a:gd name="connsiteX12" fmla="*/ 99831 w 180189"/>
                  <a:gd name="connsiteY12" fmla="*/ 0 h 449363"/>
                  <a:gd name="connsiteX13" fmla="*/ 99831 w 180189"/>
                  <a:gd name="connsiteY13" fmla="*/ 44369 h 449363"/>
                  <a:gd name="connsiteX14" fmla="*/ 163920 w 180189"/>
                  <a:gd name="connsiteY14" fmla="*/ 54968 h 449363"/>
                  <a:gd name="connsiteX15" fmla="*/ 163920 w 180189"/>
                  <a:gd name="connsiteY15" fmla="*/ 80358 h 449363"/>
                  <a:gd name="connsiteX16" fmla="*/ 99831 w 180189"/>
                  <a:gd name="connsiteY16" fmla="*/ 65568 h 449363"/>
                  <a:gd name="connsiteX17" fmla="*/ 99831 w 180189"/>
                  <a:gd name="connsiteY17" fmla="*/ 215191 h 449363"/>
                  <a:gd name="connsiteX18" fmla="*/ 162688 w 180189"/>
                  <a:gd name="connsiteY18" fmla="*/ 260916 h 449363"/>
                  <a:gd name="connsiteX19" fmla="*/ 180189 w 180189"/>
                  <a:gd name="connsiteY19" fmla="*/ 310092 h 449363"/>
                  <a:gd name="connsiteX20" fmla="*/ 159114 w 180189"/>
                  <a:gd name="connsiteY20" fmla="*/ 368019 h 449363"/>
                  <a:gd name="connsiteX21" fmla="*/ 99831 w 180189"/>
                  <a:gd name="connsiteY21" fmla="*/ 396859 h 449363"/>
                  <a:gd name="connsiteX22" fmla="*/ 99831 w 180189"/>
                  <a:gd name="connsiteY22" fmla="*/ 449363 h 449363"/>
                  <a:gd name="connsiteX23" fmla="*/ 80605 w 180189"/>
                  <a:gd name="connsiteY23" fmla="*/ 449363 h 449363"/>
                  <a:gd name="connsiteX24" fmla="*/ 80605 w 180189"/>
                  <a:gd name="connsiteY24" fmla="*/ 397845 h 449363"/>
                  <a:gd name="connsiteX25" fmla="*/ 0 w 180189"/>
                  <a:gd name="connsiteY25" fmla="*/ 378126 h 449363"/>
                  <a:gd name="connsiteX26" fmla="*/ 0 w 180189"/>
                  <a:gd name="connsiteY26" fmla="*/ 352983 h 449363"/>
                  <a:gd name="connsiteX27" fmla="*/ 80605 w 180189"/>
                  <a:gd name="connsiteY27" fmla="*/ 377140 h 449363"/>
                  <a:gd name="connsiteX28" fmla="*/ 80605 w 180189"/>
                  <a:gd name="connsiteY28" fmla="*/ 229735 h 449363"/>
                  <a:gd name="connsiteX29" fmla="*/ 16022 w 180189"/>
                  <a:gd name="connsiteY29" fmla="*/ 181791 h 449363"/>
                  <a:gd name="connsiteX30" fmla="*/ 0 w 180189"/>
                  <a:gd name="connsiteY30" fmla="*/ 133847 h 449363"/>
                  <a:gd name="connsiteX31" fmla="*/ 21692 w 180189"/>
                  <a:gd name="connsiteY31" fmla="*/ 75428 h 449363"/>
                  <a:gd name="connsiteX32" fmla="*/ 80605 w 180189"/>
                  <a:gd name="connsiteY32" fmla="*/ 44862 h 44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0189" h="449363">
                    <a:moveTo>
                      <a:pt x="99831" y="241320"/>
                    </a:moveTo>
                    <a:lnTo>
                      <a:pt x="99831" y="376647"/>
                    </a:lnTo>
                    <a:cubicBezTo>
                      <a:pt x="118565" y="373360"/>
                      <a:pt x="132698" y="366170"/>
                      <a:pt x="142229" y="355078"/>
                    </a:cubicBezTo>
                    <a:cubicBezTo>
                      <a:pt x="151760" y="343986"/>
                      <a:pt x="156526" y="330470"/>
                      <a:pt x="156526" y="314529"/>
                    </a:cubicBezTo>
                    <a:cubicBezTo>
                      <a:pt x="156526" y="299411"/>
                      <a:pt x="152540" y="286593"/>
                      <a:pt x="144570" y="276076"/>
                    </a:cubicBezTo>
                    <a:cubicBezTo>
                      <a:pt x="136600" y="265559"/>
                      <a:pt x="121687" y="253973"/>
                      <a:pt x="99831" y="241320"/>
                    </a:cubicBezTo>
                    <a:close/>
                    <a:moveTo>
                      <a:pt x="80605" y="66061"/>
                    </a:moveTo>
                    <a:cubicBezTo>
                      <a:pt x="63021" y="68854"/>
                      <a:pt x="49135" y="76085"/>
                      <a:pt x="38947" y="87753"/>
                    </a:cubicBezTo>
                    <a:cubicBezTo>
                      <a:pt x="28758" y="99420"/>
                      <a:pt x="23664" y="113799"/>
                      <a:pt x="23664" y="130889"/>
                    </a:cubicBezTo>
                    <a:cubicBezTo>
                      <a:pt x="23664" y="145351"/>
                      <a:pt x="27443" y="157881"/>
                      <a:pt x="35003" y="168480"/>
                    </a:cubicBezTo>
                    <a:cubicBezTo>
                      <a:pt x="42562" y="179080"/>
                      <a:pt x="57763" y="190952"/>
                      <a:pt x="80605" y="204099"/>
                    </a:cubicBezTo>
                    <a:close/>
                    <a:moveTo>
                      <a:pt x="80605" y="0"/>
                    </a:moveTo>
                    <a:lnTo>
                      <a:pt x="99831" y="0"/>
                    </a:lnTo>
                    <a:lnTo>
                      <a:pt x="99831" y="44369"/>
                    </a:lnTo>
                    <a:cubicBezTo>
                      <a:pt x="124810" y="44369"/>
                      <a:pt x="146173" y="47902"/>
                      <a:pt x="163920" y="54968"/>
                    </a:cubicBezTo>
                    <a:lnTo>
                      <a:pt x="163920" y="80358"/>
                    </a:lnTo>
                    <a:cubicBezTo>
                      <a:pt x="146994" y="70498"/>
                      <a:pt x="125631" y="65568"/>
                      <a:pt x="99831" y="65568"/>
                    </a:cubicBezTo>
                    <a:lnTo>
                      <a:pt x="99831" y="215191"/>
                    </a:lnTo>
                    <a:cubicBezTo>
                      <a:pt x="130068" y="231789"/>
                      <a:pt x="151020" y="247030"/>
                      <a:pt x="162688" y="260916"/>
                    </a:cubicBezTo>
                    <a:cubicBezTo>
                      <a:pt x="174355" y="274802"/>
                      <a:pt x="180189" y="291194"/>
                      <a:pt x="180189" y="310092"/>
                    </a:cubicBezTo>
                    <a:cubicBezTo>
                      <a:pt x="180189" y="333099"/>
                      <a:pt x="173164" y="352408"/>
                      <a:pt x="159114" y="368019"/>
                    </a:cubicBezTo>
                    <a:cubicBezTo>
                      <a:pt x="145063" y="383631"/>
                      <a:pt x="125303" y="393244"/>
                      <a:pt x="99831" y="396859"/>
                    </a:cubicBezTo>
                    <a:lnTo>
                      <a:pt x="99831" y="449363"/>
                    </a:lnTo>
                    <a:lnTo>
                      <a:pt x="80605" y="449363"/>
                    </a:lnTo>
                    <a:lnTo>
                      <a:pt x="80605" y="397845"/>
                    </a:lnTo>
                    <a:cubicBezTo>
                      <a:pt x="49710" y="397845"/>
                      <a:pt x="22842" y="391272"/>
                      <a:pt x="0" y="378126"/>
                    </a:cubicBezTo>
                    <a:lnTo>
                      <a:pt x="0" y="352983"/>
                    </a:lnTo>
                    <a:cubicBezTo>
                      <a:pt x="24979" y="369087"/>
                      <a:pt x="51847" y="377140"/>
                      <a:pt x="80605" y="377140"/>
                    </a:cubicBezTo>
                    <a:lnTo>
                      <a:pt x="80605" y="229735"/>
                    </a:lnTo>
                    <a:cubicBezTo>
                      <a:pt x="48231" y="211165"/>
                      <a:pt x="26704" y="195184"/>
                      <a:pt x="16022" y="181791"/>
                    </a:cubicBezTo>
                    <a:cubicBezTo>
                      <a:pt x="5341" y="168398"/>
                      <a:pt x="0" y="152417"/>
                      <a:pt x="0" y="133847"/>
                    </a:cubicBezTo>
                    <a:cubicBezTo>
                      <a:pt x="0" y="111498"/>
                      <a:pt x="7231" y="92025"/>
                      <a:pt x="21692" y="75428"/>
                    </a:cubicBezTo>
                    <a:cubicBezTo>
                      <a:pt x="36153" y="58830"/>
                      <a:pt x="55791" y="48642"/>
                      <a:pt x="80605" y="44862"/>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a:ln>
                    <a:noFill/>
                  </a:ln>
                  <a:gradFill>
                    <a:gsLst>
                      <a:gs pos="0">
                        <a:srgbClr val="FFFFFF"/>
                      </a:gs>
                      <a:gs pos="100000">
                        <a:srgbClr val="FFFFFF"/>
                      </a:gs>
                    </a:gsLst>
                    <a:lin ang="5400000" scaled="0"/>
                  </a:gradFill>
                  <a:effectLst/>
                  <a:uLnTx/>
                  <a:uFillTx/>
                  <a:latin typeface="Segoe UI Light" panose="020B0502040204020203" pitchFamily="34" charset="0"/>
                  <a:ea typeface="Segoe UI" pitchFamily="34" charset="0"/>
                  <a:cs typeface="Segoe UI Light" panose="020B0502040204020203" pitchFamily="34" charset="0"/>
                </a:endParaRPr>
              </a:p>
            </p:txBody>
          </p:sp>
        </p:grpSp>
      </p:grpSp>
      <p:grpSp>
        <p:nvGrpSpPr>
          <p:cNvPr id="320" name="Group 319"/>
          <p:cNvGrpSpPr/>
          <p:nvPr/>
        </p:nvGrpSpPr>
        <p:grpSpPr>
          <a:xfrm>
            <a:off x="7377006" y="3625291"/>
            <a:ext cx="268960" cy="257716"/>
            <a:chOff x="10358814" y="3981989"/>
            <a:chExt cx="332711" cy="318803"/>
          </a:xfrm>
          <a:solidFill>
            <a:schemeClr val="bg1"/>
          </a:solidFill>
        </p:grpSpPr>
        <p:sp>
          <p:nvSpPr>
            <p:cNvPr id="425" name="Freeform 94"/>
            <p:cNvSpPr/>
            <p:nvPr/>
          </p:nvSpPr>
          <p:spPr>
            <a:xfrm>
              <a:off x="10424850" y="4011756"/>
              <a:ext cx="266675" cy="289036"/>
            </a:xfrm>
            <a:custGeom>
              <a:avLst/>
              <a:gdLst>
                <a:gd name="connsiteX0" fmla="*/ 1248384 w 1545987"/>
                <a:gd name="connsiteY0" fmla="*/ 680060 h 1380442"/>
                <a:gd name="connsiteX1" fmla="*/ 1266759 w 1545987"/>
                <a:gd name="connsiteY1" fmla="*/ 680503 h 1380442"/>
                <a:gd name="connsiteX2" fmla="*/ 1545987 w 1545987"/>
                <a:gd name="connsiteY2" fmla="*/ 840540 h 1380442"/>
                <a:gd name="connsiteX3" fmla="*/ 1468165 w 1545987"/>
                <a:gd name="connsiteY3" fmla="*/ 1163702 h 1380442"/>
                <a:gd name="connsiteX4" fmla="*/ 1362350 w 1545987"/>
                <a:gd name="connsiteY4" fmla="*/ 1234485 h 1380442"/>
                <a:gd name="connsiteX5" fmla="*/ 1183296 w 1545987"/>
                <a:gd name="connsiteY5" fmla="*/ 1313281 h 1380442"/>
                <a:gd name="connsiteX6" fmla="*/ 1153516 w 1545987"/>
                <a:gd name="connsiteY6" fmla="*/ 1322119 h 1380442"/>
                <a:gd name="connsiteX7" fmla="*/ 1273285 w 1545987"/>
                <a:gd name="connsiteY7" fmla="*/ 824773 h 1380442"/>
                <a:gd name="connsiteX8" fmla="*/ 1197467 w 1545987"/>
                <a:gd name="connsiteY8" fmla="*/ 682615 h 1380442"/>
                <a:gd name="connsiteX9" fmla="*/ 1248384 w 1545987"/>
                <a:gd name="connsiteY9" fmla="*/ 680060 h 1380442"/>
                <a:gd name="connsiteX10" fmla="*/ 297604 w 1545987"/>
                <a:gd name="connsiteY10" fmla="*/ 680060 h 1380442"/>
                <a:gd name="connsiteX11" fmla="*/ 348520 w 1545987"/>
                <a:gd name="connsiteY11" fmla="*/ 682615 h 1380442"/>
                <a:gd name="connsiteX12" fmla="*/ 272702 w 1545987"/>
                <a:gd name="connsiteY12" fmla="*/ 824773 h 1380442"/>
                <a:gd name="connsiteX13" fmla="*/ 392472 w 1545987"/>
                <a:gd name="connsiteY13" fmla="*/ 1322119 h 1380442"/>
                <a:gd name="connsiteX14" fmla="*/ 362690 w 1545987"/>
                <a:gd name="connsiteY14" fmla="*/ 1313281 h 1380442"/>
                <a:gd name="connsiteX15" fmla="*/ 183636 w 1545987"/>
                <a:gd name="connsiteY15" fmla="*/ 1234485 h 1380442"/>
                <a:gd name="connsiteX16" fmla="*/ 77823 w 1545987"/>
                <a:gd name="connsiteY16" fmla="*/ 1163702 h 1380442"/>
                <a:gd name="connsiteX17" fmla="*/ 0 w 1545987"/>
                <a:gd name="connsiteY17" fmla="*/ 840540 h 1380442"/>
                <a:gd name="connsiteX18" fmla="*/ 279228 w 1545987"/>
                <a:gd name="connsiteY18" fmla="*/ 680503 h 1380442"/>
                <a:gd name="connsiteX19" fmla="*/ 297604 w 1545987"/>
                <a:gd name="connsiteY19" fmla="*/ 680060 h 1380442"/>
                <a:gd name="connsiteX20" fmla="*/ 724591 w 1545987"/>
                <a:gd name="connsiteY20" fmla="*/ 602071 h 1380442"/>
                <a:gd name="connsiteX21" fmla="*/ 1211290 w 1545987"/>
                <a:gd name="connsiteY21" fmla="*/ 824773 h 1380442"/>
                <a:gd name="connsiteX22" fmla="*/ 1082290 w 1545987"/>
                <a:gd name="connsiteY22" fmla="*/ 1342887 h 1380442"/>
                <a:gd name="connsiteX23" fmla="*/ 985431 w 1545987"/>
                <a:gd name="connsiteY23" fmla="*/ 1363079 h 1380442"/>
                <a:gd name="connsiteX24" fmla="*/ 772993 w 1545987"/>
                <a:gd name="connsiteY24" fmla="*/ 1380442 h 1380442"/>
                <a:gd name="connsiteX25" fmla="*/ 560555 w 1545987"/>
                <a:gd name="connsiteY25" fmla="*/ 1363079 h 1380442"/>
                <a:gd name="connsiteX26" fmla="*/ 460646 w 1545987"/>
                <a:gd name="connsiteY26" fmla="*/ 1342251 h 1380442"/>
                <a:gd name="connsiteX27" fmla="*/ 336029 w 1545987"/>
                <a:gd name="connsiteY27" fmla="*/ 824773 h 1380442"/>
                <a:gd name="connsiteX28" fmla="*/ 724591 w 1545987"/>
                <a:gd name="connsiteY28" fmla="*/ 602071 h 1380442"/>
                <a:gd name="connsiteX29" fmla="*/ 1229383 w 1545987"/>
                <a:gd name="connsiteY29" fmla="*/ 236415 h 1380442"/>
                <a:gd name="connsiteX30" fmla="*/ 1415011 w 1545987"/>
                <a:gd name="connsiteY30" fmla="*/ 422043 h 1380442"/>
                <a:gd name="connsiteX31" fmla="*/ 1229383 w 1545987"/>
                <a:gd name="connsiteY31" fmla="*/ 607670 h 1380442"/>
                <a:gd name="connsiteX32" fmla="*/ 1043755 w 1545987"/>
                <a:gd name="connsiteY32" fmla="*/ 422043 h 1380442"/>
                <a:gd name="connsiteX33" fmla="*/ 1229383 w 1545987"/>
                <a:gd name="connsiteY33" fmla="*/ 236415 h 1380442"/>
                <a:gd name="connsiteX34" fmla="*/ 313412 w 1545987"/>
                <a:gd name="connsiteY34" fmla="*/ 236415 h 1380442"/>
                <a:gd name="connsiteX35" fmla="*/ 499040 w 1545987"/>
                <a:gd name="connsiteY35" fmla="*/ 422043 h 1380442"/>
                <a:gd name="connsiteX36" fmla="*/ 313412 w 1545987"/>
                <a:gd name="connsiteY36" fmla="*/ 607670 h 1380442"/>
                <a:gd name="connsiteX37" fmla="*/ 127785 w 1545987"/>
                <a:gd name="connsiteY37" fmla="*/ 422043 h 1380442"/>
                <a:gd name="connsiteX38" fmla="*/ 313412 w 1545987"/>
                <a:gd name="connsiteY38" fmla="*/ 236415 h 1380442"/>
                <a:gd name="connsiteX39" fmla="*/ 774618 w 1545987"/>
                <a:gd name="connsiteY39" fmla="*/ 0 h 1380442"/>
                <a:gd name="connsiteX40" fmla="*/ 1032619 w 1545987"/>
                <a:gd name="connsiteY40" fmla="*/ 258001 h 1380442"/>
                <a:gd name="connsiteX41" fmla="*/ 774618 w 1545987"/>
                <a:gd name="connsiteY41" fmla="*/ 516002 h 1380442"/>
                <a:gd name="connsiteX42" fmla="*/ 516617 w 1545987"/>
                <a:gd name="connsiteY42" fmla="*/ 258001 h 1380442"/>
                <a:gd name="connsiteX43" fmla="*/ 774618 w 1545987"/>
                <a:gd name="connsiteY43" fmla="*/ 0 h 138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45987" h="1380442">
                  <a:moveTo>
                    <a:pt x="1248384" y="680060"/>
                  </a:moveTo>
                  <a:cubicBezTo>
                    <a:pt x="1254051" y="680106"/>
                    <a:pt x="1260063" y="680257"/>
                    <a:pt x="1266759" y="680503"/>
                  </a:cubicBezTo>
                  <a:cubicBezTo>
                    <a:pt x="1408131" y="685708"/>
                    <a:pt x="1539588" y="733882"/>
                    <a:pt x="1545987" y="840540"/>
                  </a:cubicBezTo>
                  <a:lnTo>
                    <a:pt x="1468165" y="1163702"/>
                  </a:lnTo>
                  <a:lnTo>
                    <a:pt x="1362350" y="1234485"/>
                  </a:lnTo>
                  <a:cubicBezTo>
                    <a:pt x="1306272" y="1265202"/>
                    <a:pt x="1246352" y="1291658"/>
                    <a:pt x="1183296" y="1313281"/>
                  </a:cubicBezTo>
                  <a:lnTo>
                    <a:pt x="1153516" y="1322119"/>
                  </a:lnTo>
                  <a:lnTo>
                    <a:pt x="1273285" y="824773"/>
                  </a:lnTo>
                  <a:cubicBezTo>
                    <a:pt x="1269652" y="764225"/>
                    <a:pt x="1248366" y="717220"/>
                    <a:pt x="1197467" y="682615"/>
                  </a:cubicBezTo>
                  <a:cubicBezTo>
                    <a:pt x="1217472" y="680709"/>
                    <a:pt x="1231380" y="679919"/>
                    <a:pt x="1248384" y="680060"/>
                  </a:cubicBezTo>
                  <a:close/>
                  <a:moveTo>
                    <a:pt x="297604" y="680060"/>
                  </a:moveTo>
                  <a:cubicBezTo>
                    <a:pt x="314608" y="679919"/>
                    <a:pt x="328515" y="680709"/>
                    <a:pt x="348520" y="682615"/>
                  </a:cubicBezTo>
                  <a:cubicBezTo>
                    <a:pt x="297621" y="717220"/>
                    <a:pt x="276335" y="764225"/>
                    <a:pt x="272702" y="824773"/>
                  </a:cubicBezTo>
                  <a:lnTo>
                    <a:pt x="392472" y="1322119"/>
                  </a:lnTo>
                  <a:lnTo>
                    <a:pt x="362690" y="1313281"/>
                  </a:lnTo>
                  <a:cubicBezTo>
                    <a:pt x="299635" y="1291658"/>
                    <a:pt x="239715" y="1265202"/>
                    <a:pt x="183636" y="1234485"/>
                  </a:cubicBezTo>
                  <a:lnTo>
                    <a:pt x="77823" y="1163702"/>
                  </a:lnTo>
                  <a:lnTo>
                    <a:pt x="0" y="840540"/>
                  </a:lnTo>
                  <a:cubicBezTo>
                    <a:pt x="6400" y="733882"/>
                    <a:pt x="137856" y="685708"/>
                    <a:pt x="279228" y="680503"/>
                  </a:cubicBezTo>
                  <a:cubicBezTo>
                    <a:pt x="285924" y="680257"/>
                    <a:pt x="291936" y="680106"/>
                    <a:pt x="297604" y="680060"/>
                  </a:cubicBezTo>
                  <a:close/>
                  <a:moveTo>
                    <a:pt x="724591" y="602071"/>
                  </a:moveTo>
                  <a:cubicBezTo>
                    <a:pt x="977527" y="592759"/>
                    <a:pt x="1253272" y="682289"/>
                    <a:pt x="1211290" y="824773"/>
                  </a:cubicBezTo>
                  <a:lnTo>
                    <a:pt x="1082290" y="1342887"/>
                  </a:lnTo>
                  <a:lnTo>
                    <a:pt x="985431" y="1363079"/>
                  </a:lnTo>
                  <a:cubicBezTo>
                    <a:pt x="916812" y="1374464"/>
                    <a:pt x="845764" y="1380442"/>
                    <a:pt x="772993" y="1380442"/>
                  </a:cubicBezTo>
                  <a:cubicBezTo>
                    <a:pt x="700223" y="1380442"/>
                    <a:pt x="629175" y="1374464"/>
                    <a:pt x="560555" y="1363079"/>
                  </a:cubicBezTo>
                  <a:lnTo>
                    <a:pt x="460646" y="1342251"/>
                  </a:lnTo>
                  <a:lnTo>
                    <a:pt x="336029" y="824773"/>
                  </a:lnTo>
                  <a:cubicBezTo>
                    <a:pt x="344934" y="676352"/>
                    <a:pt x="527863" y="609315"/>
                    <a:pt x="724591" y="602071"/>
                  </a:cubicBezTo>
                  <a:close/>
                  <a:moveTo>
                    <a:pt x="1229383" y="236415"/>
                  </a:moveTo>
                  <a:cubicBezTo>
                    <a:pt x="1331902" y="236415"/>
                    <a:pt x="1415011" y="319523"/>
                    <a:pt x="1415011" y="422043"/>
                  </a:cubicBezTo>
                  <a:cubicBezTo>
                    <a:pt x="1415011" y="524562"/>
                    <a:pt x="1331902" y="607670"/>
                    <a:pt x="1229383" y="607670"/>
                  </a:cubicBezTo>
                  <a:cubicBezTo>
                    <a:pt x="1126863" y="607670"/>
                    <a:pt x="1043755" y="524562"/>
                    <a:pt x="1043755" y="422043"/>
                  </a:cubicBezTo>
                  <a:cubicBezTo>
                    <a:pt x="1043755" y="319523"/>
                    <a:pt x="1126863" y="236415"/>
                    <a:pt x="1229383" y="236415"/>
                  </a:cubicBezTo>
                  <a:close/>
                  <a:moveTo>
                    <a:pt x="313412" y="236415"/>
                  </a:moveTo>
                  <a:cubicBezTo>
                    <a:pt x="415932" y="236415"/>
                    <a:pt x="499040" y="319523"/>
                    <a:pt x="499040" y="422043"/>
                  </a:cubicBezTo>
                  <a:cubicBezTo>
                    <a:pt x="499040" y="524562"/>
                    <a:pt x="415932" y="607670"/>
                    <a:pt x="313412" y="607670"/>
                  </a:cubicBezTo>
                  <a:cubicBezTo>
                    <a:pt x="210893" y="607670"/>
                    <a:pt x="127785" y="524562"/>
                    <a:pt x="127785" y="422043"/>
                  </a:cubicBezTo>
                  <a:cubicBezTo>
                    <a:pt x="127785" y="319523"/>
                    <a:pt x="210893" y="236415"/>
                    <a:pt x="313412" y="236415"/>
                  </a:cubicBezTo>
                  <a:close/>
                  <a:moveTo>
                    <a:pt x="774618" y="0"/>
                  </a:moveTo>
                  <a:cubicBezTo>
                    <a:pt x="917108" y="0"/>
                    <a:pt x="1032619" y="115511"/>
                    <a:pt x="1032619" y="258001"/>
                  </a:cubicBezTo>
                  <a:cubicBezTo>
                    <a:pt x="1032619" y="400491"/>
                    <a:pt x="917108" y="516002"/>
                    <a:pt x="774618" y="516002"/>
                  </a:cubicBezTo>
                  <a:cubicBezTo>
                    <a:pt x="632128" y="516002"/>
                    <a:pt x="516617" y="400491"/>
                    <a:pt x="516617" y="258001"/>
                  </a:cubicBezTo>
                  <a:cubicBezTo>
                    <a:pt x="516617" y="115511"/>
                    <a:pt x="632128" y="0"/>
                    <a:pt x="77461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426" name="Donut 3"/>
            <p:cNvSpPr/>
            <p:nvPr/>
          </p:nvSpPr>
          <p:spPr bwMode="auto">
            <a:xfrm>
              <a:off x="10358814" y="3981989"/>
              <a:ext cx="280370" cy="253056"/>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grp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grpSp>
        <p:nvGrpSpPr>
          <p:cNvPr id="321" name="Group 17"/>
          <p:cNvGrpSpPr>
            <a:grpSpLocks noChangeAspect="1"/>
          </p:cNvGrpSpPr>
          <p:nvPr/>
        </p:nvGrpSpPr>
        <p:grpSpPr bwMode="auto">
          <a:xfrm>
            <a:off x="7360662" y="4152991"/>
            <a:ext cx="301650" cy="301523"/>
            <a:chOff x="2650" y="970"/>
            <a:chExt cx="2378" cy="2377"/>
          </a:xfrm>
          <a:solidFill>
            <a:schemeClr val="bg1"/>
          </a:solidFill>
        </p:grpSpPr>
        <p:sp>
          <p:nvSpPr>
            <p:cNvPr id="415" name="Freeform 18"/>
            <p:cNvSpPr>
              <a:spLocks noEditPoints="1"/>
            </p:cNvSpPr>
            <p:nvPr/>
          </p:nvSpPr>
          <p:spPr bwMode="auto">
            <a:xfrm>
              <a:off x="2650" y="970"/>
              <a:ext cx="2378" cy="2377"/>
            </a:xfrm>
            <a:custGeom>
              <a:avLst/>
              <a:gdLst>
                <a:gd name="T0" fmla="*/ 0 w 1007"/>
                <a:gd name="T1" fmla="*/ 503 h 1008"/>
                <a:gd name="T2" fmla="*/ 505 w 1007"/>
                <a:gd name="T3" fmla="*/ 1 h 1008"/>
                <a:gd name="T4" fmla="*/ 1007 w 1007"/>
                <a:gd name="T5" fmla="*/ 504 h 1008"/>
                <a:gd name="T6" fmla="*/ 501 w 1007"/>
                <a:gd name="T7" fmla="*/ 1007 h 1008"/>
                <a:gd name="T8" fmla="*/ 0 w 1007"/>
                <a:gd name="T9" fmla="*/ 503 h 1008"/>
                <a:gd name="T10" fmla="*/ 47 w 1007"/>
                <a:gd name="T11" fmla="*/ 504 h 1008"/>
                <a:gd name="T12" fmla="*/ 500 w 1007"/>
                <a:gd name="T13" fmla="*/ 960 h 1008"/>
                <a:gd name="T14" fmla="*/ 959 w 1007"/>
                <a:gd name="T15" fmla="*/ 508 h 1008"/>
                <a:gd name="T16" fmla="*/ 511 w 1007"/>
                <a:gd name="T17" fmla="*/ 48 h 1008"/>
                <a:gd name="T18" fmla="*/ 47 w 1007"/>
                <a:gd name="T19" fmla="*/ 504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7" h="1008">
                  <a:moveTo>
                    <a:pt x="0" y="503"/>
                  </a:moveTo>
                  <a:cubicBezTo>
                    <a:pt x="0" y="225"/>
                    <a:pt x="227" y="0"/>
                    <a:pt x="505" y="1"/>
                  </a:cubicBezTo>
                  <a:cubicBezTo>
                    <a:pt x="781" y="1"/>
                    <a:pt x="1007" y="227"/>
                    <a:pt x="1007" y="504"/>
                  </a:cubicBezTo>
                  <a:cubicBezTo>
                    <a:pt x="1006" y="783"/>
                    <a:pt x="780" y="1008"/>
                    <a:pt x="501" y="1007"/>
                  </a:cubicBezTo>
                  <a:cubicBezTo>
                    <a:pt x="225" y="1007"/>
                    <a:pt x="0" y="780"/>
                    <a:pt x="0" y="503"/>
                  </a:cubicBezTo>
                  <a:close/>
                  <a:moveTo>
                    <a:pt x="47" y="504"/>
                  </a:moveTo>
                  <a:cubicBezTo>
                    <a:pt x="45" y="751"/>
                    <a:pt x="251" y="958"/>
                    <a:pt x="500" y="960"/>
                  </a:cubicBezTo>
                  <a:cubicBezTo>
                    <a:pt x="750" y="962"/>
                    <a:pt x="957" y="758"/>
                    <a:pt x="959" y="508"/>
                  </a:cubicBezTo>
                  <a:cubicBezTo>
                    <a:pt x="962" y="259"/>
                    <a:pt x="758" y="50"/>
                    <a:pt x="511" y="48"/>
                  </a:cubicBezTo>
                  <a:cubicBezTo>
                    <a:pt x="255" y="46"/>
                    <a:pt x="49" y="248"/>
                    <a:pt x="47" y="5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6" name="Freeform 19"/>
            <p:cNvSpPr>
              <a:spLocks noEditPoints="1"/>
            </p:cNvSpPr>
            <p:nvPr/>
          </p:nvSpPr>
          <p:spPr bwMode="auto">
            <a:xfrm>
              <a:off x="3424" y="1180"/>
              <a:ext cx="765" cy="911"/>
            </a:xfrm>
            <a:custGeom>
              <a:avLst/>
              <a:gdLst>
                <a:gd name="T0" fmla="*/ 168 w 324"/>
                <a:gd name="T1" fmla="*/ 386 h 386"/>
                <a:gd name="T2" fmla="*/ 154 w 324"/>
                <a:gd name="T3" fmla="*/ 370 h 386"/>
                <a:gd name="T4" fmla="*/ 55 w 324"/>
                <a:gd name="T5" fmla="*/ 230 h 386"/>
                <a:gd name="T6" fmla="*/ 135 w 324"/>
                <a:gd name="T7" fmla="*/ 15 h 386"/>
                <a:gd name="T8" fmla="*/ 281 w 324"/>
                <a:gd name="T9" fmla="*/ 64 h 386"/>
                <a:gd name="T10" fmla="*/ 293 w 324"/>
                <a:gd name="T11" fmla="*/ 216 h 386"/>
                <a:gd name="T12" fmla="*/ 180 w 324"/>
                <a:gd name="T13" fmla="*/ 378 h 386"/>
                <a:gd name="T14" fmla="*/ 168 w 324"/>
                <a:gd name="T15" fmla="*/ 386 h 386"/>
                <a:gd name="T16" fmla="*/ 170 w 324"/>
                <a:gd name="T17" fmla="*/ 252 h 386"/>
                <a:gd name="T18" fmla="*/ 274 w 324"/>
                <a:gd name="T19" fmla="*/ 149 h 386"/>
                <a:gd name="T20" fmla="*/ 171 w 324"/>
                <a:gd name="T21" fmla="*/ 46 h 386"/>
                <a:gd name="T22" fmla="*/ 67 w 324"/>
                <a:gd name="T23" fmla="*/ 150 h 386"/>
                <a:gd name="T24" fmla="*/ 170 w 324"/>
                <a:gd name="T25" fmla="*/ 252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4" h="386">
                  <a:moveTo>
                    <a:pt x="168" y="386"/>
                  </a:moveTo>
                  <a:cubicBezTo>
                    <a:pt x="163" y="380"/>
                    <a:pt x="158" y="375"/>
                    <a:pt x="154" y="370"/>
                  </a:cubicBezTo>
                  <a:cubicBezTo>
                    <a:pt x="121" y="324"/>
                    <a:pt x="87" y="277"/>
                    <a:pt x="55" y="230"/>
                  </a:cubicBezTo>
                  <a:cubicBezTo>
                    <a:pt x="0" y="149"/>
                    <a:pt x="41" y="39"/>
                    <a:pt x="135" y="15"/>
                  </a:cubicBezTo>
                  <a:cubicBezTo>
                    <a:pt x="193" y="0"/>
                    <a:pt x="244" y="17"/>
                    <a:pt x="281" y="64"/>
                  </a:cubicBezTo>
                  <a:cubicBezTo>
                    <a:pt x="317" y="111"/>
                    <a:pt x="324" y="165"/>
                    <a:pt x="293" y="216"/>
                  </a:cubicBezTo>
                  <a:cubicBezTo>
                    <a:pt x="259" y="272"/>
                    <a:pt x="218" y="324"/>
                    <a:pt x="180" y="378"/>
                  </a:cubicBezTo>
                  <a:cubicBezTo>
                    <a:pt x="178" y="381"/>
                    <a:pt x="174" y="382"/>
                    <a:pt x="168" y="386"/>
                  </a:cubicBezTo>
                  <a:close/>
                  <a:moveTo>
                    <a:pt x="170" y="252"/>
                  </a:moveTo>
                  <a:cubicBezTo>
                    <a:pt x="227" y="252"/>
                    <a:pt x="273" y="205"/>
                    <a:pt x="274" y="149"/>
                  </a:cubicBezTo>
                  <a:cubicBezTo>
                    <a:pt x="274" y="93"/>
                    <a:pt x="227" y="46"/>
                    <a:pt x="171" y="46"/>
                  </a:cubicBezTo>
                  <a:cubicBezTo>
                    <a:pt x="113" y="46"/>
                    <a:pt x="67" y="92"/>
                    <a:pt x="67" y="150"/>
                  </a:cubicBezTo>
                  <a:cubicBezTo>
                    <a:pt x="67" y="206"/>
                    <a:pt x="114" y="252"/>
                    <a:pt x="170"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7" name="Freeform 20"/>
            <p:cNvSpPr>
              <a:spLocks/>
            </p:cNvSpPr>
            <p:nvPr/>
          </p:nvSpPr>
          <p:spPr bwMode="auto">
            <a:xfrm>
              <a:off x="3370" y="2277"/>
              <a:ext cx="399" cy="410"/>
            </a:xfrm>
            <a:custGeom>
              <a:avLst/>
              <a:gdLst>
                <a:gd name="T0" fmla="*/ 169 w 169"/>
                <a:gd name="T1" fmla="*/ 174 h 174"/>
                <a:gd name="T2" fmla="*/ 169 w 169"/>
                <a:gd name="T3" fmla="*/ 0 h 174"/>
                <a:gd name="T4" fmla="*/ 0 w 169"/>
                <a:gd name="T5" fmla="*/ 0 h 174"/>
                <a:gd name="T6" fmla="*/ 27 w 169"/>
                <a:gd name="T7" fmla="*/ 174 h 174"/>
                <a:gd name="T8" fmla="*/ 169 w 169"/>
                <a:gd name="T9" fmla="*/ 174 h 174"/>
              </a:gdLst>
              <a:ahLst/>
              <a:cxnLst>
                <a:cxn ang="0">
                  <a:pos x="T0" y="T1"/>
                </a:cxn>
                <a:cxn ang="0">
                  <a:pos x="T2" y="T3"/>
                </a:cxn>
                <a:cxn ang="0">
                  <a:pos x="T4" y="T5"/>
                </a:cxn>
                <a:cxn ang="0">
                  <a:pos x="T6" y="T7"/>
                </a:cxn>
                <a:cxn ang="0">
                  <a:pos x="T8" y="T9"/>
                </a:cxn>
              </a:cxnLst>
              <a:rect l="0" t="0" r="r" b="b"/>
              <a:pathLst>
                <a:path w="169" h="174">
                  <a:moveTo>
                    <a:pt x="169" y="174"/>
                  </a:moveTo>
                  <a:cubicBezTo>
                    <a:pt x="169" y="0"/>
                    <a:pt x="169" y="0"/>
                    <a:pt x="169" y="0"/>
                  </a:cubicBezTo>
                  <a:cubicBezTo>
                    <a:pt x="0" y="0"/>
                    <a:pt x="0" y="0"/>
                    <a:pt x="0" y="0"/>
                  </a:cubicBezTo>
                  <a:cubicBezTo>
                    <a:pt x="1" y="60"/>
                    <a:pt x="10" y="118"/>
                    <a:pt x="27" y="174"/>
                  </a:cubicBezTo>
                  <a:lnTo>
                    <a:pt x="169"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8" name="Freeform 21"/>
            <p:cNvSpPr>
              <a:spLocks/>
            </p:cNvSpPr>
            <p:nvPr/>
          </p:nvSpPr>
          <p:spPr bwMode="auto">
            <a:xfrm>
              <a:off x="3885" y="2277"/>
              <a:ext cx="437" cy="410"/>
            </a:xfrm>
            <a:custGeom>
              <a:avLst/>
              <a:gdLst>
                <a:gd name="T0" fmla="*/ 157 w 185"/>
                <a:gd name="T1" fmla="*/ 174 h 174"/>
                <a:gd name="T2" fmla="*/ 185 w 185"/>
                <a:gd name="T3" fmla="*/ 0 h 174"/>
                <a:gd name="T4" fmla="*/ 0 w 185"/>
                <a:gd name="T5" fmla="*/ 0 h 174"/>
                <a:gd name="T6" fmla="*/ 0 w 185"/>
                <a:gd name="T7" fmla="*/ 174 h 174"/>
                <a:gd name="T8" fmla="*/ 157 w 185"/>
                <a:gd name="T9" fmla="*/ 174 h 174"/>
              </a:gdLst>
              <a:ahLst/>
              <a:cxnLst>
                <a:cxn ang="0">
                  <a:pos x="T0" y="T1"/>
                </a:cxn>
                <a:cxn ang="0">
                  <a:pos x="T2" y="T3"/>
                </a:cxn>
                <a:cxn ang="0">
                  <a:pos x="T4" y="T5"/>
                </a:cxn>
                <a:cxn ang="0">
                  <a:pos x="T6" y="T7"/>
                </a:cxn>
                <a:cxn ang="0">
                  <a:pos x="T8" y="T9"/>
                </a:cxn>
              </a:cxnLst>
              <a:rect l="0" t="0" r="r" b="b"/>
              <a:pathLst>
                <a:path w="185" h="174">
                  <a:moveTo>
                    <a:pt x="157" y="174"/>
                  </a:moveTo>
                  <a:cubicBezTo>
                    <a:pt x="174" y="118"/>
                    <a:pt x="183" y="60"/>
                    <a:pt x="185" y="0"/>
                  </a:cubicBezTo>
                  <a:cubicBezTo>
                    <a:pt x="0" y="0"/>
                    <a:pt x="0" y="0"/>
                    <a:pt x="0" y="0"/>
                  </a:cubicBezTo>
                  <a:cubicBezTo>
                    <a:pt x="0" y="174"/>
                    <a:pt x="0" y="174"/>
                    <a:pt x="0" y="174"/>
                  </a:cubicBezTo>
                  <a:cubicBezTo>
                    <a:pt x="157" y="174"/>
                    <a:pt x="157" y="174"/>
                    <a:pt x="157"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9" name="Freeform 22"/>
            <p:cNvSpPr>
              <a:spLocks/>
            </p:cNvSpPr>
            <p:nvPr/>
          </p:nvSpPr>
          <p:spPr bwMode="auto">
            <a:xfrm>
              <a:off x="4381" y="2277"/>
              <a:ext cx="429" cy="410"/>
            </a:xfrm>
            <a:custGeom>
              <a:avLst/>
              <a:gdLst>
                <a:gd name="T0" fmla="*/ 127 w 182"/>
                <a:gd name="T1" fmla="*/ 174 h 174"/>
                <a:gd name="T2" fmla="*/ 182 w 182"/>
                <a:gd name="T3" fmla="*/ 0 h 174"/>
                <a:gd name="T4" fmla="*/ 26 w 182"/>
                <a:gd name="T5" fmla="*/ 0 h 174"/>
                <a:gd name="T6" fmla="*/ 0 w 182"/>
                <a:gd name="T7" fmla="*/ 174 h 174"/>
                <a:gd name="T8" fmla="*/ 127 w 182"/>
                <a:gd name="T9" fmla="*/ 174 h 174"/>
              </a:gdLst>
              <a:ahLst/>
              <a:cxnLst>
                <a:cxn ang="0">
                  <a:pos x="T0" y="T1"/>
                </a:cxn>
                <a:cxn ang="0">
                  <a:pos x="T2" y="T3"/>
                </a:cxn>
                <a:cxn ang="0">
                  <a:pos x="T4" y="T5"/>
                </a:cxn>
                <a:cxn ang="0">
                  <a:pos x="T6" y="T7"/>
                </a:cxn>
                <a:cxn ang="0">
                  <a:pos x="T8" y="T9"/>
                </a:cxn>
              </a:cxnLst>
              <a:rect l="0" t="0" r="r" b="b"/>
              <a:pathLst>
                <a:path w="182" h="174">
                  <a:moveTo>
                    <a:pt x="127" y="174"/>
                  </a:moveTo>
                  <a:cubicBezTo>
                    <a:pt x="158" y="123"/>
                    <a:pt x="178" y="63"/>
                    <a:pt x="182" y="0"/>
                  </a:cubicBezTo>
                  <a:cubicBezTo>
                    <a:pt x="26" y="0"/>
                    <a:pt x="26" y="0"/>
                    <a:pt x="26" y="0"/>
                  </a:cubicBezTo>
                  <a:cubicBezTo>
                    <a:pt x="25" y="60"/>
                    <a:pt x="16" y="118"/>
                    <a:pt x="0" y="174"/>
                  </a:cubicBezTo>
                  <a:lnTo>
                    <a:pt x="127"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20" name="Freeform 23"/>
            <p:cNvSpPr>
              <a:spLocks/>
            </p:cNvSpPr>
            <p:nvPr/>
          </p:nvSpPr>
          <p:spPr bwMode="auto">
            <a:xfrm>
              <a:off x="2867" y="2277"/>
              <a:ext cx="442" cy="410"/>
            </a:xfrm>
            <a:custGeom>
              <a:avLst/>
              <a:gdLst>
                <a:gd name="T0" fmla="*/ 55 w 187"/>
                <a:gd name="T1" fmla="*/ 174 h 174"/>
                <a:gd name="T2" fmla="*/ 55 w 187"/>
                <a:gd name="T3" fmla="*/ 174 h 174"/>
                <a:gd name="T4" fmla="*/ 187 w 187"/>
                <a:gd name="T5" fmla="*/ 174 h 174"/>
                <a:gd name="T6" fmla="*/ 161 w 187"/>
                <a:gd name="T7" fmla="*/ 0 h 174"/>
                <a:gd name="T8" fmla="*/ 0 w 187"/>
                <a:gd name="T9" fmla="*/ 0 h 174"/>
                <a:gd name="T10" fmla="*/ 55 w 187"/>
                <a:gd name="T11" fmla="*/ 174 h 174"/>
              </a:gdLst>
              <a:ahLst/>
              <a:cxnLst>
                <a:cxn ang="0">
                  <a:pos x="T0" y="T1"/>
                </a:cxn>
                <a:cxn ang="0">
                  <a:pos x="T2" y="T3"/>
                </a:cxn>
                <a:cxn ang="0">
                  <a:pos x="T4" y="T5"/>
                </a:cxn>
                <a:cxn ang="0">
                  <a:pos x="T6" y="T7"/>
                </a:cxn>
                <a:cxn ang="0">
                  <a:pos x="T8" y="T9"/>
                </a:cxn>
                <a:cxn ang="0">
                  <a:pos x="T10" y="T11"/>
                </a:cxn>
              </a:cxnLst>
              <a:rect l="0" t="0" r="r" b="b"/>
              <a:pathLst>
                <a:path w="187" h="174">
                  <a:moveTo>
                    <a:pt x="55" y="174"/>
                  </a:moveTo>
                  <a:cubicBezTo>
                    <a:pt x="55" y="174"/>
                    <a:pt x="55" y="174"/>
                    <a:pt x="55" y="174"/>
                  </a:cubicBezTo>
                  <a:cubicBezTo>
                    <a:pt x="187" y="174"/>
                    <a:pt x="187" y="174"/>
                    <a:pt x="187" y="174"/>
                  </a:cubicBezTo>
                  <a:cubicBezTo>
                    <a:pt x="171" y="118"/>
                    <a:pt x="163" y="60"/>
                    <a:pt x="161" y="0"/>
                  </a:cubicBezTo>
                  <a:cubicBezTo>
                    <a:pt x="0" y="0"/>
                    <a:pt x="0" y="0"/>
                    <a:pt x="0" y="0"/>
                  </a:cubicBezTo>
                  <a:cubicBezTo>
                    <a:pt x="5" y="63"/>
                    <a:pt x="24" y="122"/>
                    <a:pt x="55"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21" name="Freeform 24"/>
            <p:cNvSpPr>
              <a:spLocks/>
            </p:cNvSpPr>
            <p:nvPr/>
          </p:nvSpPr>
          <p:spPr bwMode="auto">
            <a:xfrm>
              <a:off x="4204" y="2781"/>
              <a:ext cx="415" cy="321"/>
            </a:xfrm>
            <a:custGeom>
              <a:avLst/>
              <a:gdLst>
                <a:gd name="T0" fmla="*/ 0 w 176"/>
                <a:gd name="T1" fmla="*/ 136 h 136"/>
                <a:gd name="T2" fmla="*/ 176 w 176"/>
                <a:gd name="T3" fmla="*/ 0 h 136"/>
                <a:gd name="T4" fmla="*/ 64 w 176"/>
                <a:gd name="T5" fmla="*/ 0 h 136"/>
                <a:gd name="T6" fmla="*/ 0 w 176"/>
                <a:gd name="T7" fmla="*/ 136 h 136"/>
              </a:gdLst>
              <a:ahLst/>
              <a:cxnLst>
                <a:cxn ang="0">
                  <a:pos x="T0" y="T1"/>
                </a:cxn>
                <a:cxn ang="0">
                  <a:pos x="T2" y="T3"/>
                </a:cxn>
                <a:cxn ang="0">
                  <a:pos x="T4" y="T5"/>
                </a:cxn>
                <a:cxn ang="0">
                  <a:pos x="T6" y="T7"/>
                </a:cxn>
              </a:cxnLst>
              <a:rect l="0" t="0" r="r" b="b"/>
              <a:pathLst>
                <a:path w="176" h="136">
                  <a:moveTo>
                    <a:pt x="0" y="136"/>
                  </a:moveTo>
                  <a:cubicBezTo>
                    <a:pt x="71" y="107"/>
                    <a:pt x="131" y="60"/>
                    <a:pt x="176" y="0"/>
                  </a:cubicBezTo>
                  <a:cubicBezTo>
                    <a:pt x="64" y="0"/>
                    <a:pt x="64" y="0"/>
                    <a:pt x="64" y="0"/>
                  </a:cubicBezTo>
                  <a:cubicBezTo>
                    <a:pt x="47" y="48"/>
                    <a:pt x="26" y="93"/>
                    <a:pt x="0"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22" name="Freeform 25"/>
            <p:cNvSpPr>
              <a:spLocks/>
            </p:cNvSpPr>
            <p:nvPr/>
          </p:nvSpPr>
          <p:spPr bwMode="auto">
            <a:xfrm>
              <a:off x="3058" y="2781"/>
              <a:ext cx="430" cy="326"/>
            </a:xfrm>
            <a:custGeom>
              <a:avLst/>
              <a:gdLst>
                <a:gd name="T0" fmla="*/ 182 w 182"/>
                <a:gd name="T1" fmla="*/ 138 h 138"/>
                <a:gd name="T2" fmla="*/ 118 w 182"/>
                <a:gd name="T3" fmla="*/ 0 h 138"/>
                <a:gd name="T4" fmla="*/ 0 w 182"/>
                <a:gd name="T5" fmla="*/ 0 h 138"/>
                <a:gd name="T6" fmla="*/ 182 w 182"/>
                <a:gd name="T7" fmla="*/ 138 h 138"/>
              </a:gdLst>
              <a:ahLst/>
              <a:cxnLst>
                <a:cxn ang="0">
                  <a:pos x="T0" y="T1"/>
                </a:cxn>
                <a:cxn ang="0">
                  <a:pos x="T2" y="T3"/>
                </a:cxn>
                <a:cxn ang="0">
                  <a:pos x="T4" y="T5"/>
                </a:cxn>
                <a:cxn ang="0">
                  <a:pos x="T6" y="T7"/>
                </a:cxn>
              </a:cxnLst>
              <a:rect l="0" t="0" r="r" b="b"/>
              <a:pathLst>
                <a:path w="182" h="138">
                  <a:moveTo>
                    <a:pt x="182" y="138"/>
                  </a:moveTo>
                  <a:cubicBezTo>
                    <a:pt x="155" y="95"/>
                    <a:pt x="134" y="48"/>
                    <a:pt x="118" y="0"/>
                  </a:cubicBezTo>
                  <a:cubicBezTo>
                    <a:pt x="0" y="0"/>
                    <a:pt x="0" y="0"/>
                    <a:pt x="0" y="0"/>
                  </a:cubicBezTo>
                  <a:cubicBezTo>
                    <a:pt x="46" y="62"/>
                    <a:pt x="109" y="110"/>
                    <a:pt x="182"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23" name="Freeform 26"/>
            <p:cNvSpPr>
              <a:spLocks/>
            </p:cNvSpPr>
            <p:nvPr/>
          </p:nvSpPr>
          <p:spPr bwMode="auto">
            <a:xfrm>
              <a:off x="3464" y="2781"/>
              <a:ext cx="305" cy="387"/>
            </a:xfrm>
            <a:custGeom>
              <a:avLst/>
              <a:gdLst>
                <a:gd name="T0" fmla="*/ 129 w 129"/>
                <a:gd name="T1" fmla="*/ 164 h 164"/>
                <a:gd name="T2" fmla="*/ 129 w 129"/>
                <a:gd name="T3" fmla="*/ 0 h 164"/>
                <a:gd name="T4" fmla="*/ 0 w 129"/>
                <a:gd name="T5" fmla="*/ 0 h 164"/>
                <a:gd name="T6" fmla="*/ 85 w 129"/>
                <a:gd name="T7" fmla="*/ 159 h 164"/>
                <a:gd name="T8" fmla="*/ 129 w 129"/>
                <a:gd name="T9" fmla="*/ 164 h 164"/>
              </a:gdLst>
              <a:ahLst/>
              <a:cxnLst>
                <a:cxn ang="0">
                  <a:pos x="T0" y="T1"/>
                </a:cxn>
                <a:cxn ang="0">
                  <a:pos x="T2" y="T3"/>
                </a:cxn>
                <a:cxn ang="0">
                  <a:pos x="T4" y="T5"/>
                </a:cxn>
                <a:cxn ang="0">
                  <a:pos x="T6" y="T7"/>
                </a:cxn>
                <a:cxn ang="0">
                  <a:pos x="T8" y="T9"/>
                </a:cxn>
              </a:cxnLst>
              <a:rect l="0" t="0" r="r" b="b"/>
              <a:pathLst>
                <a:path w="129" h="164">
                  <a:moveTo>
                    <a:pt x="129" y="164"/>
                  </a:moveTo>
                  <a:cubicBezTo>
                    <a:pt x="129" y="0"/>
                    <a:pt x="129" y="0"/>
                    <a:pt x="129" y="0"/>
                  </a:cubicBezTo>
                  <a:cubicBezTo>
                    <a:pt x="0" y="0"/>
                    <a:pt x="0" y="0"/>
                    <a:pt x="0" y="0"/>
                  </a:cubicBezTo>
                  <a:cubicBezTo>
                    <a:pt x="21" y="57"/>
                    <a:pt x="49" y="111"/>
                    <a:pt x="85" y="159"/>
                  </a:cubicBezTo>
                  <a:cubicBezTo>
                    <a:pt x="100" y="162"/>
                    <a:pt x="114" y="164"/>
                    <a:pt x="129"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24" name="Freeform 27"/>
            <p:cNvSpPr>
              <a:spLocks/>
            </p:cNvSpPr>
            <p:nvPr/>
          </p:nvSpPr>
          <p:spPr bwMode="auto">
            <a:xfrm>
              <a:off x="3885" y="2781"/>
              <a:ext cx="340" cy="390"/>
            </a:xfrm>
            <a:custGeom>
              <a:avLst/>
              <a:gdLst>
                <a:gd name="T0" fmla="*/ 0 w 144"/>
                <a:gd name="T1" fmla="*/ 165 h 165"/>
                <a:gd name="T2" fmla="*/ 59 w 144"/>
                <a:gd name="T3" fmla="*/ 158 h 165"/>
                <a:gd name="T4" fmla="*/ 144 w 144"/>
                <a:gd name="T5" fmla="*/ 0 h 165"/>
                <a:gd name="T6" fmla="*/ 0 w 144"/>
                <a:gd name="T7" fmla="*/ 0 h 165"/>
                <a:gd name="T8" fmla="*/ 0 w 144"/>
                <a:gd name="T9" fmla="*/ 165 h 165"/>
              </a:gdLst>
              <a:ahLst/>
              <a:cxnLst>
                <a:cxn ang="0">
                  <a:pos x="T0" y="T1"/>
                </a:cxn>
                <a:cxn ang="0">
                  <a:pos x="T2" y="T3"/>
                </a:cxn>
                <a:cxn ang="0">
                  <a:pos x="T4" y="T5"/>
                </a:cxn>
                <a:cxn ang="0">
                  <a:pos x="T6" y="T7"/>
                </a:cxn>
                <a:cxn ang="0">
                  <a:pos x="T8" y="T9"/>
                </a:cxn>
              </a:cxnLst>
              <a:rect l="0" t="0" r="r" b="b"/>
              <a:pathLst>
                <a:path w="144" h="165">
                  <a:moveTo>
                    <a:pt x="0" y="165"/>
                  </a:moveTo>
                  <a:cubicBezTo>
                    <a:pt x="20" y="165"/>
                    <a:pt x="40" y="162"/>
                    <a:pt x="59" y="158"/>
                  </a:cubicBezTo>
                  <a:cubicBezTo>
                    <a:pt x="95" y="111"/>
                    <a:pt x="124" y="57"/>
                    <a:pt x="144" y="0"/>
                  </a:cubicBezTo>
                  <a:cubicBezTo>
                    <a:pt x="0" y="0"/>
                    <a:pt x="0" y="0"/>
                    <a:pt x="0" y="0"/>
                  </a:cubicBezTo>
                  <a:cubicBezTo>
                    <a:pt x="0" y="165"/>
                    <a:pt x="0" y="165"/>
                    <a:pt x="0" y="1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sp>
        <p:nvSpPr>
          <p:cNvPr id="322" name="Oval 46"/>
          <p:cNvSpPr/>
          <p:nvPr/>
        </p:nvSpPr>
        <p:spPr>
          <a:xfrm>
            <a:off x="7388712" y="5280434"/>
            <a:ext cx="245548" cy="245063"/>
          </a:xfrm>
          <a:custGeom>
            <a:avLst/>
            <a:gdLst/>
            <a:ahLst/>
            <a:cxnLst/>
            <a:rect l="l" t="t" r="r" b="b"/>
            <a:pathLst>
              <a:path w="3893062" h="3885378">
                <a:moveTo>
                  <a:pt x="1257971" y="2179459"/>
                </a:moveTo>
                <a:lnTo>
                  <a:pt x="770851" y="2249233"/>
                </a:lnTo>
                <a:cubicBezTo>
                  <a:pt x="767528" y="2352254"/>
                  <a:pt x="723562" y="2444927"/>
                  <a:pt x="654423" y="2511881"/>
                </a:cubicBezTo>
                <a:lnTo>
                  <a:pt x="1861568" y="3326111"/>
                </a:lnTo>
                <a:cubicBezTo>
                  <a:pt x="1899424" y="3248918"/>
                  <a:pt x="1962681" y="3186692"/>
                  <a:pt x="2041980" y="3153125"/>
                </a:cubicBezTo>
                <a:lnTo>
                  <a:pt x="1703804" y="2393570"/>
                </a:lnTo>
                <a:cubicBezTo>
                  <a:pt x="1673698" y="2402446"/>
                  <a:pt x="1641844" y="2406537"/>
                  <a:pt x="1609035" y="2406537"/>
                </a:cubicBezTo>
                <a:cubicBezTo>
                  <a:pt x="1452610" y="2406537"/>
                  <a:pt x="1317907" y="2313534"/>
                  <a:pt x="1257971" y="2179459"/>
                </a:cubicBezTo>
                <a:close/>
                <a:moveTo>
                  <a:pt x="1973445" y="2143042"/>
                </a:moveTo>
                <a:cubicBezTo>
                  <a:pt x="1952315" y="2208194"/>
                  <a:pt x="1914102" y="2265531"/>
                  <a:pt x="1861545" y="2307073"/>
                </a:cubicBezTo>
                <a:lnTo>
                  <a:pt x="2221097" y="3114639"/>
                </a:lnTo>
                <a:cubicBezTo>
                  <a:pt x="2301768" y="3117443"/>
                  <a:pt x="2376050" y="3145180"/>
                  <a:pt x="2436089" y="3191021"/>
                </a:cubicBezTo>
                <a:lnTo>
                  <a:pt x="3241281" y="2515384"/>
                </a:lnTo>
                <a:cubicBezTo>
                  <a:pt x="3168709" y="2447047"/>
                  <a:pt x="3123192" y="2350608"/>
                  <a:pt x="3121471" y="2243481"/>
                </a:cubicBezTo>
                <a:close/>
                <a:moveTo>
                  <a:pt x="3301689" y="829469"/>
                </a:moveTo>
                <a:cubicBezTo>
                  <a:pt x="3270843" y="839047"/>
                  <a:pt x="3238085" y="843382"/>
                  <a:pt x="3204314" y="843382"/>
                </a:cubicBezTo>
                <a:cubicBezTo>
                  <a:pt x="3172960" y="843382"/>
                  <a:pt x="3142479" y="839646"/>
                  <a:pt x="3113605" y="831319"/>
                </a:cubicBezTo>
                <a:lnTo>
                  <a:pt x="1931716" y="1808964"/>
                </a:lnTo>
                <a:cubicBezTo>
                  <a:pt x="1962241" y="1854824"/>
                  <a:pt x="1982962" y="1907684"/>
                  <a:pt x="1991087" y="1964615"/>
                </a:cubicBezTo>
                <a:lnTo>
                  <a:pt x="3161262" y="2066992"/>
                </a:lnTo>
                <a:cubicBezTo>
                  <a:pt x="3216276" y="1951252"/>
                  <a:pt x="3328377" y="1868693"/>
                  <a:pt x="3461198" y="1854297"/>
                </a:cubicBezTo>
                <a:close/>
                <a:moveTo>
                  <a:pt x="957252" y="759133"/>
                </a:moveTo>
                <a:cubicBezTo>
                  <a:pt x="926543" y="768102"/>
                  <a:pt x="894074" y="772358"/>
                  <a:pt x="860610" y="772358"/>
                </a:cubicBezTo>
                <a:lnTo>
                  <a:pt x="836144" y="769892"/>
                </a:lnTo>
                <a:lnTo>
                  <a:pt x="475295" y="1859454"/>
                </a:lnTo>
                <a:cubicBezTo>
                  <a:pt x="591806" y="1886355"/>
                  <a:pt x="687848" y="1966347"/>
                  <a:pt x="735741" y="2073147"/>
                </a:cubicBezTo>
                <a:lnTo>
                  <a:pt x="1224995" y="2003068"/>
                </a:lnTo>
                <a:cubicBezTo>
                  <a:pt x="1228713" y="1879350"/>
                  <a:pt x="1292338" y="1770840"/>
                  <a:pt x="1387747" y="1704564"/>
                </a:cubicBezTo>
                <a:close/>
                <a:moveTo>
                  <a:pt x="1218093" y="531176"/>
                </a:moveTo>
                <a:cubicBezTo>
                  <a:pt x="1195805" y="586605"/>
                  <a:pt x="1160978" y="635612"/>
                  <a:pt x="1114448" y="671725"/>
                </a:cubicBezTo>
                <a:lnTo>
                  <a:pt x="1555167" y="1639610"/>
                </a:lnTo>
                <a:cubicBezTo>
                  <a:pt x="1572611" y="1635461"/>
                  <a:pt x="1590673" y="1634179"/>
                  <a:pt x="1609035" y="1634179"/>
                </a:cubicBezTo>
                <a:cubicBezTo>
                  <a:pt x="1678449" y="1634179"/>
                  <a:pt x="1743585" y="1652493"/>
                  <a:pt x="1799019" y="1686057"/>
                </a:cubicBezTo>
                <a:lnTo>
                  <a:pt x="2943085" y="739698"/>
                </a:lnTo>
                <a:cubicBezTo>
                  <a:pt x="2886968" y="689349"/>
                  <a:pt x="2846872" y="622014"/>
                  <a:pt x="2829379" y="545979"/>
                </a:cubicBezTo>
                <a:lnTo>
                  <a:pt x="1218093" y="545979"/>
                </a:lnTo>
                <a:close/>
                <a:moveTo>
                  <a:pt x="860610" y="0"/>
                </a:moveTo>
                <a:cubicBezTo>
                  <a:pt x="1067920" y="0"/>
                  <a:pt x="1237076" y="163352"/>
                  <a:pt x="1244999" y="368426"/>
                </a:cubicBezTo>
                <a:lnTo>
                  <a:pt x="2829379" y="368426"/>
                </a:lnTo>
                <a:cubicBezTo>
                  <a:pt x="2868629" y="197827"/>
                  <a:pt x="3021663" y="71024"/>
                  <a:pt x="3204314" y="71024"/>
                </a:cubicBezTo>
                <a:cubicBezTo>
                  <a:pt x="3417595" y="71024"/>
                  <a:pt x="3590493" y="243922"/>
                  <a:pt x="3590493" y="457203"/>
                </a:cubicBezTo>
                <a:cubicBezTo>
                  <a:pt x="3590493" y="567840"/>
                  <a:pt x="3543969" y="667610"/>
                  <a:pt x="3468796" y="737359"/>
                </a:cubicBezTo>
                <a:lnTo>
                  <a:pt x="3646113" y="1876597"/>
                </a:lnTo>
                <a:cubicBezTo>
                  <a:pt x="3790759" y="1931645"/>
                  <a:pt x="3893062" y="2071810"/>
                  <a:pt x="3893062" y="2235870"/>
                </a:cubicBezTo>
                <a:cubicBezTo>
                  <a:pt x="3893062" y="2449151"/>
                  <a:pt x="3720164" y="2622049"/>
                  <a:pt x="3506883" y="2622049"/>
                </a:cubicBezTo>
                <a:cubicBezTo>
                  <a:pt x="3473157" y="2622049"/>
                  <a:pt x="3440440" y="2617726"/>
                  <a:pt x="3409637" y="2608157"/>
                </a:cubicBezTo>
                <a:lnTo>
                  <a:pt x="2550166" y="3329340"/>
                </a:lnTo>
                <a:cubicBezTo>
                  <a:pt x="2576964" y="3380048"/>
                  <a:pt x="2591219" y="3437959"/>
                  <a:pt x="2591219" y="3499199"/>
                </a:cubicBezTo>
                <a:cubicBezTo>
                  <a:pt x="2591219" y="3712480"/>
                  <a:pt x="2418321" y="3885378"/>
                  <a:pt x="2205040" y="3885378"/>
                </a:cubicBezTo>
                <a:cubicBezTo>
                  <a:pt x="1996937" y="3885378"/>
                  <a:pt x="1827279" y="3720773"/>
                  <a:pt x="1820415" y="3514609"/>
                </a:cubicBezTo>
                <a:lnTo>
                  <a:pt x="477038" y="2608490"/>
                </a:lnTo>
                <a:cubicBezTo>
                  <a:pt x="448098" y="2616715"/>
                  <a:pt x="417576" y="2620462"/>
                  <a:pt x="386179" y="2620462"/>
                </a:cubicBezTo>
                <a:cubicBezTo>
                  <a:pt x="172898" y="2620462"/>
                  <a:pt x="0" y="2447564"/>
                  <a:pt x="0" y="2234283"/>
                </a:cubicBezTo>
                <a:cubicBezTo>
                  <a:pt x="0" y="2055343"/>
                  <a:pt x="121703" y="1904829"/>
                  <a:pt x="287249" y="1862500"/>
                </a:cubicBezTo>
                <a:lnTo>
                  <a:pt x="666256" y="718109"/>
                </a:lnTo>
                <a:cubicBezTo>
                  <a:pt x="551163" y="652425"/>
                  <a:pt x="474431" y="528263"/>
                  <a:pt x="474431" y="386179"/>
                </a:cubicBezTo>
                <a:cubicBezTo>
                  <a:pt x="474431" y="172898"/>
                  <a:pt x="647329" y="0"/>
                  <a:pt x="86061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323" name="Group 43"/>
          <p:cNvGrpSpPr>
            <a:grpSpLocks noChangeAspect="1"/>
          </p:cNvGrpSpPr>
          <p:nvPr/>
        </p:nvGrpSpPr>
        <p:grpSpPr bwMode="auto">
          <a:xfrm>
            <a:off x="7384350" y="4726340"/>
            <a:ext cx="254272" cy="254037"/>
            <a:chOff x="1678" y="-4"/>
            <a:chExt cx="4328" cy="4324"/>
          </a:xfrm>
          <a:solidFill>
            <a:schemeClr val="bg1"/>
          </a:solidFill>
        </p:grpSpPr>
        <p:sp>
          <p:nvSpPr>
            <p:cNvPr id="409" name="Freeform 44"/>
            <p:cNvSpPr>
              <a:spLocks/>
            </p:cNvSpPr>
            <p:nvPr/>
          </p:nvSpPr>
          <p:spPr bwMode="auto">
            <a:xfrm>
              <a:off x="1678" y="-4"/>
              <a:ext cx="4323" cy="4324"/>
            </a:xfrm>
            <a:custGeom>
              <a:avLst/>
              <a:gdLst>
                <a:gd name="T0" fmla="*/ 3195 w 4757"/>
                <a:gd name="T1" fmla="*/ 4045 h 4763"/>
                <a:gd name="T2" fmla="*/ 3485 w 4757"/>
                <a:gd name="T3" fmla="*/ 4489 h 4763"/>
                <a:gd name="T4" fmla="*/ 3406 w 4757"/>
                <a:gd name="T5" fmla="*/ 4529 h 4763"/>
                <a:gd name="T6" fmla="*/ 2714 w 4757"/>
                <a:gd name="T7" fmla="*/ 4739 h 4763"/>
                <a:gd name="T8" fmla="*/ 2370 w 4757"/>
                <a:gd name="T9" fmla="*/ 4762 h 4763"/>
                <a:gd name="T10" fmla="*/ 1250 w 4757"/>
                <a:gd name="T11" fmla="*/ 4477 h 4763"/>
                <a:gd name="T12" fmla="*/ 238 w 4757"/>
                <a:gd name="T13" fmla="*/ 3421 h 4763"/>
                <a:gd name="T14" fmla="*/ 17 w 4757"/>
                <a:gd name="T15" fmla="*/ 2676 h 4763"/>
                <a:gd name="T16" fmla="*/ 0 w 4757"/>
                <a:gd name="T17" fmla="*/ 2276 h 4763"/>
                <a:gd name="T18" fmla="*/ 13 w 4757"/>
                <a:gd name="T19" fmla="*/ 2082 h 4763"/>
                <a:gd name="T20" fmla="*/ 151 w 4757"/>
                <a:gd name="T21" fmla="*/ 1532 h 4763"/>
                <a:gd name="T22" fmla="*/ 804 w 4757"/>
                <a:gd name="T23" fmla="*/ 596 h 4763"/>
                <a:gd name="T24" fmla="*/ 1914 w 4757"/>
                <a:gd name="T25" fmla="*/ 49 h 4763"/>
                <a:gd name="T26" fmla="*/ 2444 w 4757"/>
                <a:gd name="T27" fmla="*/ 6 h 4763"/>
                <a:gd name="T28" fmla="*/ 3889 w 4757"/>
                <a:gd name="T29" fmla="*/ 549 h 4763"/>
                <a:gd name="T30" fmla="*/ 4064 w 4757"/>
                <a:gd name="T31" fmla="*/ 707 h 4763"/>
                <a:gd name="T32" fmla="*/ 4079 w 4757"/>
                <a:gd name="T33" fmla="*/ 721 h 4763"/>
                <a:gd name="T34" fmla="*/ 4479 w 4757"/>
                <a:gd name="T35" fmla="*/ 304 h 4763"/>
                <a:gd name="T36" fmla="*/ 4757 w 4757"/>
                <a:gd name="T37" fmla="*/ 1719 h 4763"/>
                <a:gd name="T38" fmla="*/ 3353 w 4757"/>
                <a:gd name="T39" fmla="*/ 1479 h 4763"/>
                <a:gd name="T40" fmla="*/ 3510 w 4757"/>
                <a:gd name="T41" fmla="*/ 1315 h 4763"/>
                <a:gd name="T42" fmla="*/ 3700 w 4757"/>
                <a:gd name="T43" fmla="*/ 1117 h 4763"/>
                <a:gd name="T44" fmla="*/ 3700 w 4757"/>
                <a:gd name="T45" fmla="*/ 1089 h 4763"/>
                <a:gd name="T46" fmla="*/ 2986 w 4757"/>
                <a:gd name="T47" fmla="*/ 635 h 4763"/>
                <a:gd name="T48" fmla="*/ 2565 w 4757"/>
                <a:gd name="T49" fmla="*/ 542 h 4763"/>
                <a:gd name="T50" fmla="*/ 2248 w 4757"/>
                <a:gd name="T51" fmla="*/ 536 h 4763"/>
                <a:gd name="T52" fmla="*/ 1381 w 4757"/>
                <a:gd name="T53" fmla="*/ 821 h 4763"/>
                <a:gd name="T54" fmla="*/ 711 w 4757"/>
                <a:gd name="T55" fmla="*/ 1566 h 4763"/>
                <a:gd name="T56" fmla="*/ 536 w 4757"/>
                <a:gd name="T57" fmla="*/ 2148 h 4763"/>
                <a:gd name="T58" fmla="*/ 526 w 4757"/>
                <a:gd name="T59" fmla="*/ 2237 h 4763"/>
                <a:gd name="T60" fmla="*/ 529 w 4757"/>
                <a:gd name="T61" fmla="*/ 2460 h 4763"/>
                <a:gd name="T62" fmla="*/ 554 w 4757"/>
                <a:gd name="T63" fmla="*/ 2698 h 4763"/>
                <a:gd name="T64" fmla="*/ 706 w 4757"/>
                <a:gd name="T65" fmla="*/ 3178 h 4763"/>
                <a:gd name="T66" fmla="*/ 1263 w 4757"/>
                <a:gd name="T67" fmla="*/ 3860 h 4763"/>
                <a:gd name="T68" fmla="*/ 2043 w 4757"/>
                <a:gd name="T69" fmla="*/ 4204 h 4763"/>
                <a:gd name="T70" fmla="*/ 2450 w 4757"/>
                <a:gd name="T71" fmla="*/ 4234 h 4763"/>
                <a:gd name="T72" fmla="*/ 3130 w 4757"/>
                <a:gd name="T73" fmla="*/ 4075 h 4763"/>
                <a:gd name="T74" fmla="*/ 3195 w 4757"/>
                <a:gd name="T75" fmla="*/ 4045 h 4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57" h="4763">
                  <a:moveTo>
                    <a:pt x="3195" y="4045"/>
                  </a:moveTo>
                  <a:cubicBezTo>
                    <a:pt x="3291" y="4193"/>
                    <a:pt x="3387" y="4340"/>
                    <a:pt x="3485" y="4489"/>
                  </a:cubicBezTo>
                  <a:cubicBezTo>
                    <a:pt x="3458" y="4503"/>
                    <a:pt x="3432" y="4516"/>
                    <a:pt x="3406" y="4529"/>
                  </a:cubicBezTo>
                  <a:cubicBezTo>
                    <a:pt x="3186" y="4634"/>
                    <a:pt x="2955" y="4704"/>
                    <a:pt x="2714" y="4739"/>
                  </a:cubicBezTo>
                  <a:cubicBezTo>
                    <a:pt x="2600" y="4755"/>
                    <a:pt x="2485" y="4763"/>
                    <a:pt x="2370" y="4762"/>
                  </a:cubicBezTo>
                  <a:cubicBezTo>
                    <a:pt x="1973" y="4760"/>
                    <a:pt x="1598" y="4667"/>
                    <a:pt x="1250" y="4477"/>
                  </a:cubicBezTo>
                  <a:cubicBezTo>
                    <a:pt x="801" y="4233"/>
                    <a:pt x="464" y="3880"/>
                    <a:pt x="238" y="3421"/>
                  </a:cubicBezTo>
                  <a:cubicBezTo>
                    <a:pt x="122" y="3185"/>
                    <a:pt x="50" y="2936"/>
                    <a:pt x="17" y="2676"/>
                  </a:cubicBezTo>
                  <a:cubicBezTo>
                    <a:pt x="1" y="2543"/>
                    <a:pt x="0" y="2410"/>
                    <a:pt x="0" y="2276"/>
                  </a:cubicBezTo>
                  <a:cubicBezTo>
                    <a:pt x="0" y="2211"/>
                    <a:pt x="5" y="2146"/>
                    <a:pt x="13" y="2082"/>
                  </a:cubicBezTo>
                  <a:cubicBezTo>
                    <a:pt x="36" y="1893"/>
                    <a:pt x="82" y="1710"/>
                    <a:pt x="151" y="1532"/>
                  </a:cubicBezTo>
                  <a:cubicBezTo>
                    <a:pt x="292" y="1167"/>
                    <a:pt x="510" y="855"/>
                    <a:pt x="804" y="596"/>
                  </a:cubicBezTo>
                  <a:cubicBezTo>
                    <a:pt x="1125" y="315"/>
                    <a:pt x="1496" y="133"/>
                    <a:pt x="1914" y="49"/>
                  </a:cubicBezTo>
                  <a:cubicBezTo>
                    <a:pt x="2089" y="14"/>
                    <a:pt x="2266" y="0"/>
                    <a:pt x="2444" y="6"/>
                  </a:cubicBezTo>
                  <a:cubicBezTo>
                    <a:pt x="2987" y="24"/>
                    <a:pt x="3468" y="206"/>
                    <a:pt x="3889" y="549"/>
                  </a:cubicBezTo>
                  <a:cubicBezTo>
                    <a:pt x="3950" y="599"/>
                    <a:pt x="4005" y="654"/>
                    <a:pt x="4064" y="707"/>
                  </a:cubicBezTo>
                  <a:cubicBezTo>
                    <a:pt x="4068" y="711"/>
                    <a:pt x="4072" y="715"/>
                    <a:pt x="4079" y="721"/>
                  </a:cubicBezTo>
                  <a:cubicBezTo>
                    <a:pt x="4211" y="583"/>
                    <a:pt x="4344" y="445"/>
                    <a:pt x="4479" y="304"/>
                  </a:cubicBezTo>
                  <a:cubicBezTo>
                    <a:pt x="4572" y="777"/>
                    <a:pt x="4664" y="1247"/>
                    <a:pt x="4757" y="1719"/>
                  </a:cubicBezTo>
                  <a:cubicBezTo>
                    <a:pt x="4288" y="1639"/>
                    <a:pt x="3822" y="1559"/>
                    <a:pt x="3353" y="1479"/>
                  </a:cubicBezTo>
                  <a:cubicBezTo>
                    <a:pt x="3407" y="1422"/>
                    <a:pt x="3459" y="1369"/>
                    <a:pt x="3510" y="1315"/>
                  </a:cubicBezTo>
                  <a:cubicBezTo>
                    <a:pt x="3573" y="1249"/>
                    <a:pt x="3636" y="1183"/>
                    <a:pt x="3700" y="1117"/>
                  </a:cubicBezTo>
                  <a:cubicBezTo>
                    <a:pt x="3711" y="1106"/>
                    <a:pt x="3711" y="1100"/>
                    <a:pt x="3700" y="1089"/>
                  </a:cubicBezTo>
                  <a:cubicBezTo>
                    <a:pt x="3497" y="882"/>
                    <a:pt x="3259" y="731"/>
                    <a:pt x="2986" y="635"/>
                  </a:cubicBezTo>
                  <a:cubicBezTo>
                    <a:pt x="2849" y="587"/>
                    <a:pt x="2709" y="557"/>
                    <a:pt x="2565" y="542"/>
                  </a:cubicBezTo>
                  <a:cubicBezTo>
                    <a:pt x="2459" y="531"/>
                    <a:pt x="2353" y="528"/>
                    <a:pt x="2248" y="536"/>
                  </a:cubicBezTo>
                  <a:cubicBezTo>
                    <a:pt x="1935" y="559"/>
                    <a:pt x="1646" y="652"/>
                    <a:pt x="1381" y="821"/>
                  </a:cubicBezTo>
                  <a:cubicBezTo>
                    <a:pt x="1089" y="1007"/>
                    <a:pt x="866" y="1256"/>
                    <a:pt x="711" y="1566"/>
                  </a:cubicBezTo>
                  <a:cubicBezTo>
                    <a:pt x="620" y="1750"/>
                    <a:pt x="561" y="1944"/>
                    <a:pt x="536" y="2148"/>
                  </a:cubicBezTo>
                  <a:cubicBezTo>
                    <a:pt x="532" y="2178"/>
                    <a:pt x="527" y="2207"/>
                    <a:pt x="526" y="2237"/>
                  </a:cubicBezTo>
                  <a:cubicBezTo>
                    <a:pt x="525" y="2312"/>
                    <a:pt x="524" y="2386"/>
                    <a:pt x="529" y="2460"/>
                  </a:cubicBezTo>
                  <a:cubicBezTo>
                    <a:pt x="534" y="2540"/>
                    <a:pt x="541" y="2620"/>
                    <a:pt x="554" y="2698"/>
                  </a:cubicBezTo>
                  <a:cubicBezTo>
                    <a:pt x="580" y="2866"/>
                    <a:pt x="633" y="3025"/>
                    <a:pt x="706" y="3178"/>
                  </a:cubicBezTo>
                  <a:cubicBezTo>
                    <a:pt x="836" y="3451"/>
                    <a:pt x="1022" y="3678"/>
                    <a:pt x="1263" y="3860"/>
                  </a:cubicBezTo>
                  <a:cubicBezTo>
                    <a:pt x="1495" y="4037"/>
                    <a:pt x="1756" y="4151"/>
                    <a:pt x="2043" y="4204"/>
                  </a:cubicBezTo>
                  <a:cubicBezTo>
                    <a:pt x="2178" y="4229"/>
                    <a:pt x="2313" y="4239"/>
                    <a:pt x="2450" y="4234"/>
                  </a:cubicBezTo>
                  <a:cubicBezTo>
                    <a:pt x="2687" y="4224"/>
                    <a:pt x="2913" y="4172"/>
                    <a:pt x="3130" y="4075"/>
                  </a:cubicBezTo>
                  <a:cubicBezTo>
                    <a:pt x="3151" y="4065"/>
                    <a:pt x="3172" y="4055"/>
                    <a:pt x="3195" y="40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0" name="Freeform 45"/>
            <p:cNvSpPr>
              <a:spLocks noEditPoints="1"/>
            </p:cNvSpPr>
            <p:nvPr/>
          </p:nvSpPr>
          <p:spPr bwMode="auto">
            <a:xfrm>
              <a:off x="3809" y="1558"/>
              <a:ext cx="1012" cy="1243"/>
            </a:xfrm>
            <a:custGeom>
              <a:avLst/>
              <a:gdLst>
                <a:gd name="T0" fmla="*/ 627 w 1114"/>
                <a:gd name="T1" fmla="*/ 1369 h 1369"/>
                <a:gd name="T2" fmla="*/ 627 w 1114"/>
                <a:gd name="T3" fmla="*/ 1115 h 1369"/>
                <a:gd name="T4" fmla="*/ 44 w 1114"/>
                <a:gd name="T5" fmla="*/ 1115 h 1369"/>
                <a:gd name="T6" fmla="*/ 17 w 1114"/>
                <a:gd name="T7" fmla="*/ 957 h 1369"/>
                <a:gd name="T8" fmla="*/ 7 w 1114"/>
                <a:gd name="T9" fmla="*/ 900 h 1369"/>
                <a:gd name="T10" fmla="*/ 20 w 1114"/>
                <a:gd name="T11" fmla="*/ 839 h 1369"/>
                <a:gd name="T12" fmla="*/ 224 w 1114"/>
                <a:gd name="T13" fmla="*/ 548 h 1369"/>
                <a:gd name="T14" fmla="*/ 597 w 1114"/>
                <a:gd name="T15" fmla="*/ 17 h 1369"/>
                <a:gd name="T16" fmla="*/ 624 w 1114"/>
                <a:gd name="T17" fmla="*/ 0 h 1369"/>
                <a:gd name="T18" fmla="*/ 942 w 1114"/>
                <a:gd name="T19" fmla="*/ 1 h 1369"/>
                <a:gd name="T20" fmla="*/ 960 w 1114"/>
                <a:gd name="T21" fmla="*/ 2 h 1369"/>
                <a:gd name="T22" fmla="*/ 960 w 1114"/>
                <a:gd name="T23" fmla="*/ 842 h 1369"/>
                <a:gd name="T24" fmla="*/ 1114 w 1114"/>
                <a:gd name="T25" fmla="*/ 842 h 1369"/>
                <a:gd name="T26" fmla="*/ 1114 w 1114"/>
                <a:gd name="T27" fmla="*/ 1113 h 1369"/>
                <a:gd name="T28" fmla="*/ 962 w 1114"/>
                <a:gd name="T29" fmla="*/ 1113 h 1369"/>
                <a:gd name="T30" fmla="*/ 962 w 1114"/>
                <a:gd name="T31" fmla="*/ 1369 h 1369"/>
                <a:gd name="T32" fmla="*/ 627 w 1114"/>
                <a:gd name="T33" fmla="*/ 1369 h 1369"/>
                <a:gd name="T34" fmla="*/ 348 w 1114"/>
                <a:gd name="T35" fmla="*/ 843 h 1369"/>
                <a:gd name="T36" fmla="*/ 359 w 1114"/>
                <a:gd name="T37" fmla="*/ 845 h 1369"/>
                <a:gd name="T38" fmla="*/ 613 w 1114"/>
                <a:gd name="T39" fmla="*/ 846 h 1369"/>
                <a:gd name="T40" fmla="*/ 629 w 1114"/>
                <a:gd name="T41" fmla="*/ 826 h 1369"/>
                <a:gd name="T42" fmla="*/ 627 w 1114"/>
                <a:gd name="T43" fmla="*/ 458 h 1369"/>
                <a:gd name="T44" fmla="*/ 624 w 1114"/>
                <a:gd name="T45" fmla="*/ 443 h 1369"/>
                <a:gd name="T46" fmla="*/ 348 w 1114"/>
                <a:gd name="T47" fmla="*/ 843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4" h="1369">
                  <a:moveTo>
                    <a:pt x="627" y="1369"/>
                  </a:moveTo>
                  <a:cubicBezTo>
                    <a:pt x="627" y="1284"/>
                    <a:pt x="627" y="1201"/>
                    <a:pt x="627" y="1115"/>
                  </a:cubicBezTo>
                  <a:cubicBezTo>
                    <a:pt x="432" y="1115"/>
                    <a:pt x="239" y="1115"/>
                    <a:pt x="44" y="1115"/>
                  </a:cubicBezTo>
                  <a:cubicBezTo>
                    <a:pt x="35" y="1061"/>
                    <a:pt x="26" y="1009"/>
                    <a:pt x="17" y="957"/>
                  </a:cubicBezTo>
                  <a:cubicBezTo>
                    <a:pt x="13" y="938"/>
                    <a:pt x="12" y="918"/>
                    <a:pt x="7" y="900"/>
                  </a:cubicBezTo>
                  <a:cubicBezTo>
                    <a:pt x="0" y="877"/>
                    <a:pt x="6" y="859"/>
                    <a:pt x="20" y="839"/>
                  </a:cubicBezTo>
                  <a:cubicBezTo>
                    <a:pt x="89" y="743"/>
                    <a:pt x="156" y="645"/>
                    <a:pt x="224" y="548"/>
                  </a:cubicBezTo>
                  <a:cubicBezTo>
                    <a:pt x="348" y="371"/>
                    <a:pt x="473" y="194"/>
                    <a:pt x="597" y="17"/>
                  </a:cubicBezTo>
                  <a:cubicBezTo>
                    <a:pt x="604" y="7"/>
                    <a:pt x="610" y="0"/>
                    <a:pt x="624" y="0"/>
                  </a:cubicBezTo>
                  <a:cubicBezTo>
                    <a:pt x="730" y="1"/>
                    <a:pt x="836" y="0"/>
                    <a:pt x="942" y="1"/>
                  </a:cubicBezTo>
                  <a:cubicBezTo>
                    <a:pt x="947" y="1"/>
                    <a:pt x="952" y="1"/>
                    <a:pt x="960" y="2"/>
                  </a:cubicBezTo>
                  <a:cubicBezTo>
                    <a:pt x="960" y="282"/>
                    <a:pt x="960" y="561"/>
                    <a:pt x="960" y="842"/>
                  </a:cubicBezTo>
                  <a:cubicBezTo>
                    <a:pt x="1012" y="842"/>
                    <a:pt x="1063" y="842"/>
                    <a:pt x="1114" y="842"/>
                  </a:cubicBezTo>
                  <a:cubicBezTo>
                    <a:pt x="1114" y="934"/>
                    <a:pt x="1114" y="1023"/>
                    <a:pt x="1114" y="1113"/>
                  </a:cubicBezTo>
                  <a:cubicBezTo>
                    <a:pt x="1064" y="1113"/>
                    <a:pt x="1014" y="1113"/>
                    <a:pt x="962" y="1113"/>
                  </a:cubicBezTo>
                  <a:cubicBezTo>
                    <a:pt x="962" y="1199"/>
                    <a:pt x="962" y="1284"/>
                    <a:pt x="962" y="1369"/>
                  </a:cubicBezTo>
                  <a:cubicBezTo>
                    <a:pt x="850" y="1369"/>
                    <a:pt x="740" y="1369"/>
                    <a:pt x="627" y="1369"/>
                  </a:cubicBezTo>
                  <a:close/>
                  <a:moveTo>
                    <a:pt x="348" y="843"/>
                  </a:moveTo>
                  <a:cubicBezTo>
                    <a:pt x="355" y="845"/>
                    <a:pt x="357" y="845"/>
                    <a:pt x="359" y="845"/>
                  </a:cubicBezTo>
                  <a:cubicBezTo>
                    <a:pt x="444" y="845"/>
                    <a:pt x="528" y="845"/>
                    <a:pt x="613" y="846"/>
                  </a:cubicBezTo>
                  <a:cubicBezTo>
                    <a:pt x="629" y="846"/>
                    <a:pt x="629" y="837"/>
                    <a:pt x="629" y="826"/>
                  </a:cubicBezTo>
                  <a:cubicBezTo>
                    <a:pt x="628" y="703"/>
                    <a:pt x="628" y="581"/>
                    <a:pt x="627" y="458"/>
                  </a:cubicBezTo>
                  <a:cubicBezTo>
                    <a:pt x="627" y="455"/>
                    <a:pt x="626" y="452"/>
                    <a:pt x="624" y="443"/>
                  </a:cubicBezTo>
                  <a:cubicBezTo>
                    <a:pt x="531" y="579"/>
                    <a:pt x="440" y="710"/>
                    <a:pt x="348" y="8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1" name="Freeform 46"/>
            <p:cNvSpPr>
              <a:spLocks/>
            </p:cNvSpPr>
            <p:nvPr/>
          </p:nvSpPr>
          <p:spPr bwMode="auto">
            <a:xfrm>
              <a:off x="2882" y="1535"/>
              <a:ext cx="873" cy="1266"/>
            </a:xfrm>
            <a:custGeom>
              <a:avLst/>
              <a:gdLst>
                <a:gd name="T0" fmla="*/ 459 w 960"/>
                <a:gd name="T1" fmla="*/ 1097 h 1394"/>
                <a:gd name="T2" fmla="*/ 955 w 960"/>
                <a:gd name="T3" fmla="*/ 1097 h 1394"/>
                <a:gd name="T4" fmla="*/ 955 w 960"/>
                <a:gd name="T5" fmla="*/ 1394 h 1394"/>
                <a:gd name="T6" fmla="*/ 10 w 960"/>
                <a:gd name="T7" fmla="*/ 1394 h 1394"/>
                <a:gd name="T8" fmla="*/ 10 w 960"/>
                <a:gd name="T9" fmla="*/ 1374 h 1394"/>
                <a:gd name="T10" fmla="*/ 10 w 960"/>
                <a:gd name="T11" fmla="*/ 1140 h 1394"/>
                <a:gd name="T12" fmla="*/ 23 w 960"/>
                <a:gd name="T13" fmla="*/ 1110 h 1394"/>
                <a:gd name="T14" fmla="*/ 449 w 960"/>
                <a:gd name="T15" fmla="*/ 702 h 1394"/>
                <a:gd name="T16" fmla="*/ 547 w 960"/>
                <a:gd name="T17" fmla="*/ 593 h 1394"/>
                <a:gd name="T18" fmla="*/ 599 w 960"/>
                <a:gd name="T19" fmla="*/ 466 h 1394"/>
                <a:gd name="T20" fmla="*/ 475 w 960"/>
                <a:gd name="T21" fmla="*/ 326 h 1394"/>
                <a:gd name="T22" fmla="*/ 319 w 960"/>
                <a:gd name="T23" fmla="*/ 378 h 1394"/>
                <a:gd name="T24" fmla="*/ 205 w 960"/>
                <a:gd name="T25" fmla="*/ 479 h 1394"/>
                <a:gd name="T26" fmla="*/ 0 w 960"/>
                <a:gd name="T27" fmla="*/ 258 h 1394"/>
                <a:gd name="T28" fmla="*/ 405 w 960"/>
                <a:gd name="T29" fmla="*/ 16 h 1394"/>
                <a:gd name="T30" fmla="*/ 777 w 960"/>
                <a:gd name="T31" fmla="*/ 89 h 1394"/>
                <a:gd name="T32" fmla="*/ 947 w 960"/>
                <a:gd name="T33" fmla="*/ 384 h 1394"/>
                <a:gd name="T34" fmla="*/ 809 w 960"/>
                <a:gd name="T35" fmla="*/ 755 h 1394"/>
                <a:gd name="T36" fmla="*/ 492 w 960"/>
                <a:gd name="T37" fmla="*/ 1062 h 1394"/>
                <a:gd name="T38" fmla="*/ 459 w 960"/>
                <a:gd name="T39" fmla="*/ 1097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0" h="1394">
                  <a:moveTo>
                    <a:pt x="459" y="1097"/>
                  </a:moveTo>
                  <a:cubicBezTo>
                    <a:pt x="626" y="1097"/>
                    <a:pt x="790" y="1097"/>
                    <a:pt x="955" y="1097"/>
                  </a:cubicBezTo>
                  <a:cubicBezTo>
                    <a:pt x="955" y="1197"/>
                    <a:pt x="955" y="1295"/>
                    <a:pt x="955" y="1394"/>
                  </a:cubicBezTo>
                  <a:cubicBezTo>
                    <a:pt x="641" y="1394"/>
                    <a:pt x="327" y="1394"/>
                    <a:pt x="10" y="1394"/>
                  </a:cubicBezTo>
                  <a:cubicBezTo>
                    <a:pt x="10" y="1387"/>
                    <a:pt x="10" y="1381"/>
                    <a:pt x="10" y="1374"/>
                  </a:cubicBezTo>
                  <a:cubicBezTo>
                    <a:pt x="10" y="1296"/>
                    <a:pt x="9" y="1218"/>
                    <a:pt x="10" y="1140"/>
                  </a:cubicBezTo>
                  <a:cubicBezTo>
                    <a:pt x="10" y="1130"/>
                    <a:pt x="16" y="1117"/>
                    <a:pt x="23" y="1110"/>
                  </a:cubicBezTo>
                  <a:cubicBezTo>
                    <a:pt x="165" y="973"/>
                    <a:pt x="308" y="838"/>
                    <a:pt x="449" y="702"/>
                  </a:cubicBezTo>
                  <a:cubicBezTo>
                    <a:pt x="484" y="668"/>
                    <a:pt x="515" y="630"/>
                    <a:pt x="547" y="593"/>
                  </a:cubicBezTo>
                  <a:cubicBezTo>
                    <a:pt x="578" y="557"/>
                    <a:pt x="597" y="515"/>
                    <a:pt x="599" y="466"/>
                  </a:cubicBezTo>
                  <a:cubicBezTo>
                    <a:pt x="602" y="391"/>
                    <a:pt x="557" y="333"/>
                    <a:pt x="475" y="326"/>
                  </a:cubicBezTo>
                  <a:cubicBezTo>
                    <a:pt x="415" y="321"/>
                    <a:pt x="364" y="342"/>
                    <a:pt x="319" y="378"/>
                  </a:cubicBezTo>
                  <a:cubicBezTo>
                    <a:pt x="281" y="409"/>
                    <a:pt x="244" y="444"/>
                    <a:pt x="205" y="479"/>
                  </a:cubicBezTo>
                  <a:cubicBezTo>
                    <a:pt x="138" y="406"/>
                    <a:pt x="69" y="332"/>
                    <a:pt x="0" y="258"/>
                  </a:cubicBezTo>
                  <a:cubicBezTo>
                    <a:pt x="108" y="130"/>
                    <a:pt x="236" y="37"/>
                    <a:pt x="405" y="16"/>
                  </a:cubicBezTo>
                  <a:cubicBezTo>
                    <a:pt x="537" y="0"/>
                    <a:pt x="664" y="14"/>
                    <a:pt x="777" y="89"/>
                  </a:cubicBezTo>
                  <a:cubicBezTo>
                    <a:pt x="883" y="159"/>
                    <a:pt x="936" y="260"/>
                    <a:pt x="947" y="384"/>
                  </a:cubicBezTo>
                  <a:cubicBezTo>
                    <a:pt x="960" y="530"/>
                    <a:pt x="910" y="654"/>
                    <a:pt x="809" y="755"/>
                  </a:cubicBezTo>
                  <a:cubicBezTo>
                    <a:pt x="706" y="860"/>
                    <a:pt x="598" y="960"/>
                    <a:pt x="492" y="1062"/>
                  </a:cubicBezTo>
                  <a:cubicBezTo>
                    <a:pt x="481" y="1073"/>
                    <a:pt x="472" y="1084"/>
                    <a:pt x="459" y="10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2" name="Freeform 47"/>
            <p:cNvSpPr>
              <a:spLocks/>
            </p:cNvSpPr>
            <p:nvPr/>
          </p:nvSpPr>
          <p:spPr bwMode="auto">
            <a:xfrm>
              <a:off x="5499" y="2084"/>
              <a:ext cx="507" cy="495"/>
            </a:xfrm>
            <a:custGeom>
              <a:avLst/>
              <a:gdLst>
                <a:gd name="T0" fmla="*/ 24 w 557"/>
                <a:gd name="T1" fmla="*/ 0 h 545"/>
                <a:gd name="T2" fmla="*/ 551 w 557"/>
                <a:gd name="T3" fmla="*/ 0 h 545"/>
                <a:gd name="T4" fmla="*/ 506 w 557"/>
                <a:gd name="T5" fmla="*/ 545 h 545"/>
                <a:gd name="T6" fmla="*/ 0 w 557"/>
                <a:gd name="T7" fmla="*/ 423 h 545"/>
                <a:gd name="T8" fmla="*/ 24 w 557"/>
                <a:gd name="T9" fmla="*/ 0 h 545"/>
              </a:gdLst>
              <a:ahLst/>
              <a:cxnLst>
                <a:cxn ang="0">
                  <a:pos x="T0" y="T1"/>
                </a:cxn>
                <a:cxn ang="0">
                  <a:pos x="T2" y="T3"/>
                </a:cxn>
                <a:cxn ang="0">
                  <a:pos x="T4" y="T5"/>
                </a:cxn>
                <a:cxn ang="0">
                  <a:pos x="T6" y="T7"/>
                </a:cxn>
                <a:cxn ang="0">
                  <a:pos x="T8" y="T9"/>
                </a:cxn>
              </a:cxnLst>
              <a:rect l="0" t="0" r="r" b="b"/>
              <a:pathLst>
                <a:path w="557" h="545">
                  <a:moveTo>
                    <a:pt x="24" y="0"/>
                  </a:moveTo>
                  <a:cubicBezTo>
                    <a:pt x="200" y="0"/>
                    <a:pt x="373" y="0"/>
                    <a:pt x="551" y="0"/>
                  </a:cubicBezTo>
                  <a:cubicBezTo>
                    <a:pt x="557" y="182"/>
                    <a:pt x="542" y="363"/>
                    <a:pt x="506" y="545"/>
                  </a:cubicBezTo>
                  <a:cubicBezTo>
                    <a:pt x="337" y="504"/>
                    <a:pt x="169" y="463"/>
                    <a:pt x="0" y="423"/>
                  </a:cubicBezTo>
                  <a:cubicBezTo>
                    <a:pt x="20" y="282"/>
                    <a:pt x="30" y="142"/>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3" name="Freeform 48"/>
            <p:cNvSpPr>
              <a:spLocks/>
            </p:cNvSpPr>
            <p:nvPr/>
          </p:nvSpPr>
          <p:spPr bwMode="auto">
            <a:xfrm>
              <a:off x="5297" y="2739"/>
              <a:ext cx="569" cy="575"/>
            </a:xfrm>
            <a:custGeom>
              <a:avLst/>
              <a:gdLst>
                <a:gd name="T0" fmla="*/ 145 w 626"/>
                <a:gd name="T1" fmla="*/ 0 h 633"/>
                <a:gd name="T2" fmla="*/ 626 w 626"/>
                <a:gd name="T3" fmla="*/ 188 h 633"/>
                <a:gd name="T4" fmla="*/ 405 w 626"/>
                <a:gd name="T5" fmla="*/ 633 h 633"/>
                <a:gd name="T6" fmla="*/ 0 w 626"/>
                <a:gd name="T7" fmla="*/ 318 h 633"/>
                <a:gd name="T8" fmla="*/ 145 w 626"/>
                <a:gd name="T9" fmla="*/ 0 h 633"/>
              </a:gdLst>
              <a:ahLst/>
              <a:cxnLst>
                <a:cxn ang="0">
                  <a:pos x="T0" y="T1"/>
                </a:cxn>
                <a:cxn ang="0">
                  <a:pos x="T2" y="T3"/>
                </a:cxn>
                <a:cxn ang="0">
                  <a:pos x="T4" y="T5"/>
                </a:cxn>
                <a:cxn ang="0">
                  <a:pos x="T6" y="T7"/>
                </a:cxn>
                <a:cxn ang="0">
                  <a:pos x="T8" y="T9"/>
                </a:cxn>
              </a:cxnLst>
              <a:rect l="0" t="0" r="r" b="b"/>
              <a:pathLst>
                <a:path w="626" h="633">
                  <a:moveTo>
                    <a:pt x="145" y="0"/>
                  </a:moveTo>
                  <a:cubicBezTo>
                    <a:pt x="305" y="62"/>
                    <a:pt x="465" y="124"/>
                    <a:pt x="626" y="188"/>
                  </a:cubicBezTo>
                  <a:cubicBezTo>
                    <a:pt x="568" y="345"/>
                    <a:pt x="494" y="492"/>
                    <a:pt x="405" y="633"/>
                  </a:cubicBezTo>
                  <a:cubicBezTo>
                    <a:pt x="269" y="527"/>
                    <a:pt x="134" y="422"/>
                    <a:pt x="0" y="318"/>
                  </a:cubicBezTo>
                  <a:cubicBezTo>
                    <a:pt x="49" y="211"/>
                    <a:pt x="97" y="106"/>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14" name="Freeform 49"/>
            <p:cNvSpPr>
              <a:spLocks/>
            </p:cNvSpPr>
            <p:nvPr/>
          </p:nvSpPr>
          <p:spPr bwMode="auto">
            <a:xfrm>
              <a:off x="4858" y="3299"/>
              <a:ext cx="586" cy="600"/>
            </a:xfrm>
            <a:custGeom>
              <a:avLst/>
              <a:gdLst>
                <a:gd name="T0" fmla="*/ 0 w 645"/>
                <a:gd name="T1" fmla="*/ 224 h 661"/>
                <a:gd name="T2" fmla="*/ 247 w 645"/>
                <a:gd name="T3" fmla="*/ 0 h 661"/>
                <a:gd name="T4" fmla="*/ 645 w 645"/>
                <a:gd name="T5" fmla="*/ 334 h 661"/>
                <a:gd name="T6" fmla="*/ 286 w 645"/>
                <a:gd name="T7" fmla="*/ 661 h 661"/>
                <a:gd name="T8" fmla="*/ 0 w 645"/>
                <a:gd name="T9" fmla="*/ 224 h 661"/>
              </a:gdLst>
              <a:ahLst/>
              <a:cxnLst>
                <a:cxn ang="0">
                  <a:pos x="T0" y="T1"/>
                </a:cxn>
                <a:cxn ang="0">
                  <a:pos x="T2" y="T3"/>
                </a:cxn>
                <a:cxn ang="0">
                  <a:pos x="T4" y="T5"/>
                </a:cxn>
                <a:cxn ang="0">
                  <a:pos x="T6" y="T7"/>
                </a:cxn>
                <a:cxn ang="0">
                  <a:pos x="T8" y="T9"/>
                </a:cxn>
              </a:cxnLst>
              <a:rect l="0" t="0" r="r" b="b"/>
              <a:pathLst>
                <a:path w="645" h="661">
                  <a:moveTo>
                    <a:pt x="0" y="224"/>
                  </a:moveTo>
                  <a:cubicBezTo>
                    <a:pt x="83" y="148"/>
                    <a:pt x="164" y="75"/>
                    <a:pt x="247" y="0"/>
                  </a:cubicBezTo>
                  <a:cubicBezTo>
                    <a:pt x="378" y="110"/>
                    <a:pt x="511" y="222"/>
                    <a:pt x="645" y="334"/>
                  </a:cubicBezTo>
                  <a:cubicBezTo>
                    <a:pt x="614" y="387"/>
                    <a:pt x="373" y="607"/>
                    <a:pt x="286" y="661"/>
                  </a:cubicBezTo>
                  <a:cubicBezTo>
                    <a:pt x="190" y="514"/>
                    <a:pt x="94" y="367"/>
                    <a:pt x="0"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sp>
        <p:nvSpPr>
          <p:cNvPr id="324" name="Rectangle 323"/>
          <p:cNvSpPr/>
          <p:nvPr/>
        </p:nvSpPr>
        <p:spPr>
          <a:xfrm>
            <a:off x="7772814" y="5704586"/>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OMNI-CHANNEL</a:t>
            </a:r>
          </a:p>
        </p:txBody>
      </p:sp>
      <p:sp>
        <p:nvSpPr>
          <p:cNvPr id="325" name="Rectangle 324"/>
          <p:cNvSpPr/>
          <p:nvPr/>
        </p:nvSpPr>
        <p:spPr>
          <a:xfrm>
            <a:off x="7276568" y="5704586"/>
            <a:ext cx="469833" cy="459391"/>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28" name="Group 16"/>
          <p:cNvGrpSpPr>
            <a:grpSpLocks noChangeAspect="1"/>
          </p:cNvGrpSpPr>
          <p:nvPr/>
        </p:nvGrpSpPr>
        <p:grpSpPr bwMode="auto">
          <a:xfrm>
            <a:off x="7362567" y="5773199"/>
            <a:ext cx="293960" cy="294737"/>
            <a:chOff x="1933" y="1290"/>
            <a:chExt cx="379" cy="380"/>
          </a:xfrm>
          <a:solidFill>
            <a:schemeClr val="bg1"/>
          </a:solidFill>
        </p:grpSpPr>
        <p:sp>
          <p:nvSpPr>
            <p:cNvPr id="403" name="Freeform 17"/>
            <p:cNvSpPr>
              <a:spLocks/>
            </p:cNvSpPr>
            <p:nvPr/>
          </p:nvSpPr>
          <p:spPr bwMode="auto">
            <a:xfrm>
              <a:off x="1933" y="1484"/>
              <a:ext cx="186" cy="186"/>
            </a:xfrm>
            <a:custGeom>
              <a:avLst/>
              <a:gdLst>
                <a:gd name="T0" fmla="*/ 0 w 186"/>
                <a:gd name="T1" fmla="*/ 186 h 186"/>
                <a:gd name="T2" fmla="*/ 131 w 186"/>
                <a:gd name="T3" fmla="*/ 186 h 186"/>
                <a:gd name="T4" fmla="*/ 131 w 186"/>
                <a:gd name="T5" fmla="*/ 157 h 186"/>
                <a:gd name="T6" fmla="*/ 51 w 186"/>
                <a:gd name="T7" fmla="*/ 157 h 186"/>
                <a:gd name="T8" fmla="*/ 186 w 186"/>
                <a:gd name="T9" fmla="*/ 22 h 186"/>
                <a:gd name="T10" fmla="*/ 164 w 186"/>
                <a:gd name="T11" fmla="*/ 0 h 186"/>
                <a:gd name="T12" fmla="*/ 29 w 186"/>
                <a:gd name="T13" fmla="*/ 135 h 186"/>
                <a:gd name="T14" fmla="*/ 29 w 186"/>
                <a:gd name="T15" fmla="*/ 54 h 186"/>
                <a:gd name="T16" fmla="*/ 0 w 186"/>
                <a:gd name="T17" fmla="*/ 54 h 186"/>
                <a:gd name="T18" fmla="*/ 0 w 186"/>
                <a:gd name="T1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0" y="186"/>
                  </a:moveTo>
                  <a:lnTo>
                    <a:pt x="131" y="186"/>
                  </a:lnTo>
                  <a:lnTo>
                    <a:pt x="131" y="157"/>
                  </a:lnTo>
                  <a:lnTo>
                    <a:pt x="51" y="157"/>
                  </a:lnTo>
                  <a:lnTo>
                    <a:pt x="186" y="22"/>
                  </a:lnTo>
                  <a:lnTo>
                    <a:pt x="164" y="0"/>
                  </a:lnTo>
                  <a:lnTo>
                    <a:pt x="29" y="135"/>
                  </a:lnTo>
                  <a:lnTo>
                    <a:pt x="29" y="54"/>
                  </a:lnTo>
                  <a:lnTo>
                    <a:pt x="0" y="54"/>
                  </a:lnTo>
                  <a:lnTo>
                    <a:pt x="0"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404" name="Freeform 18"/>
            <p:cNvSpPr>
              <a:spLocks/>
            </p:cNvSpPr>
            <p:nvPr/>
          </p:nvSpPr>
          <p:spPr bwMode="auto">
            <a:xfrm>
              <a:off x="2126" y="1290"/>
              <a:ext cx="186" cy="186"/>
            </a:xfrm>
            <a:custGeom>
              <a:avLst/>
              <a:gdLst>
                <a:gd name="T0" fmla="*/ 55 w 186"/>
                <a:gd name="T1" fmla="*/ 29 h 186"/>
                <a:gd name="T2" fmla="*/ 135 w 186"/>
                <a:gd name="T3" fmla="*/ 29 h 186"/>
                <a:gd name="T4" fmla="*/ 0 w 186"/>
                <a:gd name="T5" fmla="*/ 164 h 186"/>
                <a:gd name="T6" fmla="*/ 22 w 186"/>
                <a:gd name="T7" fmla="*/ 186 h 186"/>
                <a:gd name="T8" fmla="*/ 157 w 186"/>
                <a:gd name="T9" fmla="*/ 51 h 186"/>
                <a:gd name="T10" fmla="*/ 157 w 186"/>
                <a:gd name="T11" fmla="*/ 132 h 186"/>
                <a:gd name="T12" fmla="*/ 186 w 186"/>
                <a:gd name="T13" fmla="*/ 132 h 186"/>
                <a:gd name="T14" fmla="*/ 186 w 186"/>
                <a:gd name="T15" fmla="*/ 0 h 186"/>
                <a:gd name="T16" fmla="*/ 55 w 186"/>
                <a:gd name="T17" fmla="*/ 0 h 186"/>
                <a:gd name="T18" fmla="*/ 55 w 186"/>
                <a:gd name="T19" fmla="*/ 2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55" y="29"/>
                  </a:moveTo>
                  <a:lnTo>
                    <a:pt x="135" y="29"/>
                  </a:lnTo>
                  <a:lnTo>
                    <a:pt x="0" y="164"/>
                  </a:lnTo>
                  <a:lnTo>
                    <a:pt x="22" y="186"/>
                  </a:lnTo>
                  <a:lnTo>
                    <a:pt x="157" y="51"/>
                  </a:lnTo>
                  <a:lnTo>
                    <a:pt x="157" y="132"/>
                  </a:lnTo>
                  <a:lnTo>
                    <a:pt x="186" y="132"/>
                  </a:lnTo>
                  <a:lnTo>
                    <a:pt x="186" y="0"/>
                  </a:lnTo>
                  <a:lnTo>
                    <a:pt x="55" y="0"/>
                  </a:lnTo>
                  <a:lnTo>
                    <a:pt x="55"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405" name="Freeform 19"/>
            <p:cNvSpPr>
              <a:spLocks/>
            </p:cNvSpPr>
            <p:nvPr/>
          </p:nvSpPr>
          <p:spPr bwMode="auto">
            <a:xfrm>
              <a:off x="2126" y="1484"/>
              <a:ext cx="186" cy="186"/>
            </a:xfrm>
            <a:custGeom>
              <a:avLst/>
              <a:gdLst>
                <a:gd name="T0" fmla="*/ 157 w 186"/>
                <a:gd name="T1" fmla="*/ 135 h 186"/>
                <a:gd name="T2" fmla="*/ 22 w 186"/>
                <a:gd name="T3" fmla="*/ 0 h 186"/>
                <a:gd name="T4" fmla="*/ 0 w 186"/>
                <a:gd name="T5" fmla="*/ 22 h 186"/>
                <a:gd name="T6" fmla="*/ 135 w 186"/>
                <a:gd name="T7" fmla="*/ 157 h 186"/>
                <a:gd name="T8" fmla="*/ 55 w 186"/>
                <a:gd name="T9" fmla="*/ 157 h 186"/>
                <a:gd name="T10" fmla="*/ 55 w 186"/>
                <a:gd name="T11" fmla="*/ 186 h 186"/>
                <a:gd name="T12" fmla="*/ 186 w 186"/>
                <a:gd name="T13" fmla="*/ 186 h 186"/>
                <a:gd name="T14" fmla="*/ 186 w 186"/>
                <a:gd name="T15" fmla="*/ 54 h 186"/>
                <a:gd name="T16" fmla="*/ 157 w 186"/>
                <a:gd name="T17" fmla="*/ 54 h 186"/>
                <a:gd name="T18" fmla="*/ 157 w 186"/>
                <a:gd name="T1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157" y="135"/>
                  </a:moveTo>
                  <a:lnTo>
                    <a:pt x="22" y="0"/>
                  </a:lnTo>
                  <a:lnTo>
                    <a:pt x="0" y="22"/>
                  </a:lnTo>
                  <a:lnTo>
                    <a:pt x="135" y="157"/>
                  </a:lnTo>
                  <a:lnTo>
                    <a:pt x="55" y="157"/>
                  </a:lnTo>
                  <a:lnTo>
                    <a:pt x="55" y="186"/>
                  </a:lnTo>
                  <a:lnTo>
                    <a:pt x="186" y="186"/>
                  </a:lnTo>
                  <a:lnTo>
                    <a:pt x="186" y="54"/>
                  </a:lnTo>
                  <a:lnTo>
                    <a:pt x="157" y="54"/>
                  </a:lnTo>
                  <a:lnTo>
                    <a:pt x="157"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406" name="Freeform 20"/>
            <p:cNvSpPr>
              <a:spLocks/>
            </p:cNvSpPr>
            <p:nvPr/>
          </p:nvSpPr>
          <p:spPr bwMode="auto">
            <a:xfrm>
              <a:off x="1933" y="1290"/>
              <a:ext cx="186" cy="186"/>
            </a:xfrm>
            <a:custGeom>
              <a:avLst/>
              <a:gdLst>
                <a:gd name="T0" fmla="*/ 131 w 186"/>
                <a:gd name="T1" fmla="*/ 0 h 186"/>
                <a:gd name="T2" fmla="*/ 0 w 186"/>
                <a:gd name="T3" fmla="*/ 0 h 186"/>
                <a:gd name="T4" fmla="*/ 0 w 186"/>
                <a:gd name="T5" fmla="*/ 132 h 186"/>
                <a:gd name="T6" fmla="*/ 29 w 186"/>
                <a:gd name="T7" fmla="*/ 132 h 186"/>
                <a:gd name="T8" fmla="*/ 29 w 186"/>
                <a:gd name="T9" fmla="*/ 51 h 186"/>
                <a:gd name="T10" fmla="*/ 164 w 186"/>
                <a:gd name="T11" fmla="*/ 186 h 186"/>
                <a:gd name="T12" fmla="*/ 186 w 186"/>
                <a:gd name="T13" fmla="*/ 164 h 186"/>
                <a:gd name="T14" fmla="*/ 51 w 186"/>
                <a:gd name="T15" fmla="*/ 29 h 186"/>
                <a:gd name="T16" fmla="*/ 131 w 186"/>
                <a:gd name="T17" fmla="*/ 29 h 186"/>
                <a:gd name="T18" fmla="*/ 131 w 186"/>
                <a:gd name="T1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131" y="0"/>
                  </a:moveTo>
                  <a:lnTo>
                    <a:pt x="0" y="0"/>
                  </a:lnTo>
                  <a:lnTo>
                    <a:pt x="0" y="132"/>
                  </a:lnTo>
                  <a:lnTo>
                    <a:pt x="29" y="132"/>
                  </a:lnTo>
                  <a:lnTo>
                    <a:pt x="29" y="51"/>
                  </a:lnTo>
                  <a:lnTo>
                    <a:pt x="164" y="186"/>
                  </a:lnTo>
                  <a:lnTo>
                    <a:pt x="186" y="164"/>
                  </a:lnTo>
                  <a:lnTo>
                    <a:pt x="51" y="29"/>
                  </a:lnTo>
                  <a:lnTo>
                    <a:pt x="131" y="29"/>
                  </a:lnTo>
                  <a:lnTo>
                    <a:pt x="1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grpSp>
      <p:grpSp>
        <p:nvGrpSpPr>
          <p:cNvPr id="329" name="Group 328"/>
          <p:cNvGrpSpPr/>
          <p:nvPr/>
        </p:nvGrpSpPr>
        <p:grpSpPr>
          <a:xfrm>
            <a:off x="412280" y="776432"/>
            <a:ext cx="4480661" cy="5387545"/>
            <a:chOff x="425343" y="1455701"/>
            <a:chExt cx="4480661" cy="5387545"/>
          </a:xfrm>
        </p:grpSpPr>
        <p:sp>
          <p:nvSpPr>
            <p:cNvPr id="330" name="Rectangle 329"/>
            <p:cNvSpPr/>
            <p:nvPr/>
          </p:nvSpPr>
          <p:spPr>
            <a:xfrm>
              <a:off x="425343" y="1455701"/>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ORMAL</a:t>
              </a:r>
            </a:p>
          </p:txBody>
        </p:sp>
        <p:sp>
          <p:nvSpPr>
            <p:cNvPr id="331" name="Rectangle 330"/>
            <p:cNvSpPr/>
            <p:nvPr/>
          </p:nvSpPr>
          <p:spPr>
            <a:xfrm>
              <a:off x="425343" y="2005306"/>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HIGHLY CURATED</a:t>
              </a:r>
            </a:p>
          </p:txBody>
        </p:sp>
        <p:sp>
          <p:nvSpPr>
            <p:cNvPr id="332" name="Rectangle 331"/>
            <p:cNvSpPr/>
            <p:nvPr/>
          </p:nvSpPr>
          <p:spPr>
            <a:xfrm>
              <a:off x="425343" y="2554910"/>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INDIVIDUAL</a:t>
              </a:r>
            </a:p>
          </p:txBody>
        </p:sp>
        <p:sp>
          <p:nvSpPr>
            <p:cNvPr id="333" name="Rectangle 332"/>
            <p:cNvSpPr/>
            <p:nvPr/>
          </p:nvSpPr>
          <p:spPr>
            <a:xfrm>
              <a:off x="425343" y="3104514"/>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EACHING</a:t>
              </a:r>
            </a:p>
          </p:txBody>
        </p:sp>
        <p:sp>
          <p:nvSpPr>
            <p:cNvPr id="334" name="Rectangle 333"/>
            <p:cNvSpPr/>
            <p:nvPr/>
          </p:nvSpPr>
          <p:spPr>
            <a:xfrm>
              <a:off x="425343" y="3654119"/>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ONSUMPTION</a:t>
              </a:r>
            </a:p>
          </p:txBody>
        </p:sp>
        <p:sp>
          <p:nvSpPr>
            <p:cNvPr id="335" name="Rectangle 334"/>
            <p:cNvSpPr/>
            <p:nvPr/>
          </p:nvSpPr>
          <p:spPr>
            <a:xfrm>
              <a:off x="425343" y="4203723"/>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OCTORED</a:t>
              </a:r>
            </a:p>
          </p:txBody>
        </p:sp>
        <p:sp>
          <p:nvSpPr>
            <p:cNvPr id="336" name="Rectangle 335"/>
            <p:cNvSpPr/>
            <p:nvPr/>
          </p:nvSpPr>
          <p:spPr>
            <a:xfrm>
              <a:off x="425343" y="4753327"/>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GLOBAL SCALE</a:t>
              </a:r>
            </a:p>
          </p:txBody>
        </p:sp>
        <p:sp>
          <p:nvSpPr>
            <p:cNvPr id="337" name="Rectangle 336"/>
            <p:cNvSpPr/>
            <p:nvPr/>
          </p:nvSpPr>
          <p:spPr>
            <a:xfrm>
              <a:off x="425343" y="5302932"/>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MOMENT IN TIME</a:t>
              </a:r>
            </a:p>
          </p:txBody>
        </p:sp>
        <p:sp>
          <p:nvSpPr>
            <p:cNvPr id="338" name="Rectangle 337"/>
            <p:cNvSpPr/>
            <p:nvPr/>
          </p:nvSpPr>
          <p:spPr>
            <a:xfrm>
              <a:off x="425343" y="5852539"/>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CENTRALIZED</a:t>
              </a:r>
            </a:p>
          </p:txBody>
        </p:sp>
        <p:sp>
          <p:nvSpPr>
            <p:cNvPr id="339" name="Rectangle 338"/>
            <p:cNvSpPr/>
            <p:nvPr/>
          </p:nvSpPr>
          <p:spPr>
            <a:xfrm>
              <a:off x="4436171" y="1455701"/>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40" name="Rectangle 339"/>
            <p:cNvSpPr/>
            <p:nvPr/>
          </p:nvSpPr>
          <p:spPr>
            <a:xfrm>
              <a:off x="4436171" y="2005306"/>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41" name="Rectangle 340"/>
            <p:cNvSpPr/>
            <p:nvPr/>
          </p:nvSpPr>
          <p:spPr>
            <a:xfrm>
              <a:off x="4436171" y="2554910"/>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42" name="Rectangle 341"/>
            <p:cNvSpPr/>
            <p:nvPr/>
          </p:nvSpPr>
          <p:spPr>
            <a:xfrm>
              <a:off x="4436171" y="3104514"/>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43" name="Rectangle 342"/>
            <p:cNvSpPr/>
            <p:nvPr/>
          </p:nvSpPr>
          <p:spPr>
            <a:xfrm>
              <a:off x="4436171" y="3654119"/>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44" name="Rectangle 343"/>
            <p:cNvSpPr/>
            <p:nvPr/>
          </p:nvSpPr>
          <p:spPr>
            <a:xfrm>
              <a:off x="4436171" y="4203723"/>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45" name="Rectangle 344"/>
            <p:cNvSpPr/>
            <p:nvPr/>
          </p:nvSpPr>
          <p:spPr>
            <a:xfrm>
              <a:off x="4436171" y="4753327"/>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46" name="Rectangle 345"/>
            <p:cNvSpPr/>
            <p:nvPr/>
          </p:nvSpPr>
          <p:spPr>
            <a:xfrm>
              <a:off x="4436171" y="5302932"/>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47" name="Rectangle 346"/>
            <p:cNvSpPr/>
            <p:nvPr/>
          </p:nvSpPr>
          <p:spPr>
            <a:xfrm>
              <a:off x="4436171" y="5852539"/>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48" name="Group 347"/>
            <p:cNvGrpSpPr/>
            <p:nvPr/>
          </p:nvGrpSpPr>
          <p:grpSpPr>
            <a:xfrm>
              <a:off x="4511234" y="1590603"/>
              <a:ext cx="319709" cy="189587"/>
              <a:chOff x="510100" y="1596340"/>
              <a:chExt cx="319755" cy="189614"/>
            </a:xfrm>
          </p:grpSpPr>
          <p:sp>
            <p:nvSpPr>
              <p:cNvPr id="395" name="Freeform 21"/>
              <p:cNvSpPr>
                <a:spLocks/>
              </p:cNvSpPr>
              <p:nvPr/>
            </p:nvSpPr>
            <p:spPr bwMode="auto">
              <a:xfrm>
                <a:off x="563976" y="1596340"/>
                <a:ext cx="200809" cy="189614"/>
              </a:xfrm>
              <a:custGeom>
                <a:avLst/>
                <a:gdLst>
                  <a:gd name="T0" fmla="*/ 62 w 120"/>
                  <a:gd name="T1" fmla="*/ 112 h 112"/>
                  <a:gd name="T2" fmla="*/ 51 w 120"/>
                  <a:gd name="T3" fmla="*/ 109 h 112"/>
                  <a:gd name="T4" fmla="*/ 12 w 120"/>
                  <a:gd name="T5" fmla="*/ 77 h 112"/>
                  <a:gd name="T6" fmla="*/ 1 w 120"/>
                  <a:gd name="T7" fmla="*/ 68 h 112"/>
                  <a:gd name="T8" fmla="*/ 1 w 120"/>
                  <a:gd name="T9" fmla="*/ 62 h 112"/>
                  <a:gd name="T10" fmla="*/ 7 w 120"/>
                  <a:gd name="T11" fmla="*/ 62 h 112"/>
                  <a:gd name="T12" fmla="*/ 18 w 120"/>
                  <a:gd name="T13" fmla="*/ 71 h 112"/>
                  <a:gd name="T14" fmla="*/ 55 w 120"/>
                  <a:gd name="T15" fmla="*/ 102 h 112"/>
                  <a:gd name="T16" fmla="*/ 63 w 120"/>
                  <a:gd name="T17" fmla="*/ 104 h 112"/>
                  <a:gd name="T18" fmla="*/ 66 w 120"/>
                  <a:gd name="T19" fmla="*/ 102 h 112"/>
                  <a:gd name="T20" fmla="*/ 69 w 120"/>
                  <a:gd name="T21" fmla="*/ 99 h 112"/>
                  <a:gd name="T22" fmla="*/ 73 w 120"/>
                  <a:gd name="T23" fmla="*/ 100 h 112"/>
                  <a:gd name="T24" fmla="*/ 81 w 120"/>
                  <a:gd name="T25" fmla="*/ 102 h 112"/>
                  <a:gd name="T26" fmla="*/ 84 w 120"/>
                  <a:gd name="T27" fmla="*/ 99 h 112"/>
                  <a:gd name="T28" fmla="*/ 86 w 120"/>
                  <a:gd name="T29" fmla="*/ 95 h 112"/>
                  <a:gd name="T30" fmla="*/ 90 w 120"/>
                  <a:gd name="T31" fmla="*/ 96 h 112"/>
                  <a:gd name="T32" fmla="*/ 97 w 120"/>
                  <a:gd name="T33" fmla="*/ 96 h 112"/>
                  <a:gd name="T34" fmla="*/ 100 w 120"/>
                  <a:gd name="T35" fmla="*/ 91 h 112"/>
                  <a:gd name="T36" fmla="*/ 101 w 120"/>
                  <a:gd name="T37" fmla="*/ 88 h 112"/>
                  <a:gd name="T38" fmla="*/ 106 w 120"/>
                  <a:gd name="T39" fmla="*/ 88 h 112"/>
                  <a:gd name="T40" fmla="*/ 109 w 120"/>
                  <a:gd name="T41" fmla="*/ 87 h 112"/>
                  <a:gd name="T42" fmla="*/ 110 w 120"/>
                  <a:gd name="T43" fmla="*/ 80 h 112"/>
                  <a:gd name="T44" fmla="*/ 67 w 120"/>
                  <a:gd name="T45" fmla="*/ 37 h 112"/>
                  <a:gd name="T46" fmla="*/ 67 w 120"/>
                  <a:gd name="T47" fmla="*/ 37 h 112"/>
                  <a:gd name="T48" fmla="*/ 59 w 120"/>
                  <a:gd name="T49" fmla="*/ 39 h 112"/>
                  <a:gd name="T50" fmla="*/ 36 w 120"/>
                  <a:gd name="T51" fmla="*/ 50 h 112"/>
                  <a:gd name="T52" fmla="*/ 29 w 120"/>
                  <a:gd name="T53" fmla="*/ 43 h 112"/>
                  <a:gd name="T54" fmla="*/ 39 w 120"/>
                  <a:gd name="T55" fmla="*/ 16 h 112"/>
                  <a:gd name="T56" fmla="*/ 81 w 120"/>
                  <a:gd name="T57" fmla="*/ 8 h 112"/>
                  <a:gd name="T58" fmla="*/ 106 w 120"/>
                  <a:gd name="T59" fmla="*/ 17 h 112"/>
                  <a:gd name="T60" fmla="*/ 108 w 120"/>
                  <a:gd name="T61" fmla="*/ 22 h 112"/>
                  <a:gd name="T62" fmla="*/ 103 w 120"/>
                  <a:gd name="T63" fmla="*/ 25 h 112"/>
                  <a:gd name="T64" fmla="*/ 77 w 120"/>
                  <a:gd name="T65" fmla="*/ 15 h 112"/>
                  <a:gd name="T66" fmla="*/ 44 w 120"/>
                  <a:gd name="T67" fmla="*/ 22 h 112"/>
                  <a:gd name="T68" fmla="*/ 37 w 120"/>
                  <a:gd name="T69" fmla="*/ 41 h 112"/>
                  <a:gd name="T70" fmla="*/ 38 w 120"/>
                  <a:gd name="T71" fmla="*/ 43 h 112"/>
                  <a:gd name="T72" fmla="*/ 54 w 120"/>
                  <a:gd name="T73" fmla="*/ 33 h 112"/>
                  <a:gd name="T74" fmla="*/ 56 w 120"/>
                  <a:gd name="T75" fmla="*/ 31 h 112"/>
                  <a:gd name="T76" fmla="*/ 58 w 120"/>
                  <a:gd name="T77" fmla="*/ 31 h 112"/>
                  <a:gd name="T78" fmla="*/ 64 w 120"/>
                  <a:gd name="T79" fmla="*/ 29 h 112"/>
                  <a:gd name="T80" fmla="*/ 66 w 120"/>
                  <a:gd name="T81" fmla="*/ 29 h 112"/>
                  <a:gd name="T82" fmla="*/ 70 w 120"/>
                  <a:gd name="T83" fmla="*/ 29 h 112"/>
                  <a:gd name="T84" fmla="*/ 117 w 120"/>
                  <a:gd name="T85" fmla="*/ 77 h 112"/>
                  <a:gd name="T86" fmla="*/ 115 w 120"/>
                  <a:gd name="T87" fmla="*/ 93 h 112"/>
                  <a:gd name="T88" fmla="*/ 107 w 120"/>
                  <a:gd name="T89" fmla="*/ 96 h 112"/>
                  <a:gd name="T90" fmla="*/ 100 w 120"/>
                  <a:gd name="T91" fmla="*/ 103 h 112"/>
                  <a:gd name="T92" fmla="*/ 90 w 120"/>
                  <a:gd name="T93" fmla="*/ 104 h 112"/>
                  <a:gd name="T94" fmla="*/ 84 w 120"/>
                  <a:gd name="T95" fmla="*/ 109 h 112"/>
                  <a:gd name="T96" fmla="*/ 71 w 120"/>
                  <a:gd name="T97" fmla="*/ 109 h 112"/>
                  <a:gd name="T98" fmla="*/ 64 w 120"/>
                  <a:gd name="T99" fmla="*/ 112 h 112"/>
                  <a:gd name="T100" fmla="*/ 62 w 120"/>
                  <a:gd name="T10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112">
                    <a:moveTo>
                      <a:pt x="62" y="112"/>
                    </a:moveTo>
                    <a:cubicBezTo>
                      <a:pt x="57" y="112"/>
                      <a:pt x="54" y="111"/>
                      <a:pt x="51" y="109"/>
                    </a:cubicBezTo>
                    <a:cubicBezTo>
                      <a:pt x="47" y="106"/>
                      <a:pt x="16" y="80"/>
                      <a:pt x="12" y="77"/>
                    </a:cubicBezTo>
                    <a:cubicBezTo>
                      <a:pt x="1" y="68"/>
                      <a:pt x="1" y="68"/>
                      <a:pt x="1" y="68"/>
                    </a:cubicBezTo>
                    <a:cubicBezTo>
                      <a:pt x="0" y="66"/>
                      <a:pt x="0" y="64"/>
                      <a:pt x="1" y="62"/>
                    </a:cubicBezTo>
                    <a:cubicBezTo>
                      <a:pt x="2" y="61"/>
                      <a:pt x="5" y="60"/>
                      <a:pt x="7" y="62"/>
                    </a:cubicBezTo>
                    <a:cubicBezTo>
                      <a:pt x="18" y="71"/>
                      <a:pt x="18" y="71"/>
                      <a:pt x="18" y="71"/>
                    </a:cubicBezTo>
                    <a:cubicBezTo>
                      <a:pt x="34" y="85"/>
                      <a:pt x="53" y="101"/>
                      <a:pt x="55" y="102"/>
                    </a:cubicBezTo>
                    <a:cubicBezTo>
                      <a:pt x="57" y="104"/>
                      <a:pt x="60" y="105"/>
                      <a:pt x="63" y="104"/>
                    </a:cubicBezTo>
                    <a:cubicBezTo>
                      <a:pt x="65" y="104"/>
                      <a:pt x="66" y="103"/>
                      <a:pt x="66" y="102"/>
                    </a:cubicBezTo>
                    <a:cubicBezTo>
                      <a:pt x="67" y="101"/>
                      <a:pt x="68" y="100"/>
                      <a:pt x="69" y="99"/>
                    </a:cubicBezTo>
                    <a:cubicBezTo>
                      <a:pt x="71" y="99"/>
                      <a:pt x="72" y="100"/>
                      <a:pt x="73" y="100"/>
                    </a:cubicBezTo>
                    <a:cubicBezTo>
                      <a:pt x="75" y="103"/>
                      <a:pt x="79" y="103"/>
                      <a:pt x="81" y="102"/>
                    </a:cubicBezTo>
                    <a:cubicBezTo>
                      <a:pt x="83" y="101"/>
                      <a:pt x="84" y="100"/>
                      <a:pt x="84" y="99"/>
                    </a:cubicBezTo>
                    <a:cubicBezTo>
                      <a:pt x="84" y="97"/>
                      <a:pt x="85" y="96"/>
                      <a:pt x="86" y="95"/>
                    </a:cubicBezTo>
                    <a:cubicBezTo>
                      <a:pt x="88" y="95"/>
                      <a:pt x="89" y="95"/>
                      <a:pt x="90" y="96"/>
                    </a:cubicBezTo>
                    <a:cubicBezTo>
                      <a:pt x="92" y="97"/>
                      <a:pt x="94" y="97"/>
                      <a:pt x="97" y="96"/>
                    </a:cubicBezTo>
                    <a:cubicBezTo>
                      <a:pt x="98" y="95"/>
                      <a:pt x="100" y="94"/>
                      <a:pt x="100" y="91"/>
                    </a:cubicBezTo>
                    <a:cubicBezTo>
                      <a:pt x="99" y="90"/>
                      <a:pt x="100" y="88"/>
                      <a:pt x="101" y="88"/>
                    </a:cubicBezTo>
                    <a:cubicBezTo>
                      <a:pt x="103" y="87"/>
                      <a:pt x="104" y="87"/>
                      <a:pt x="106" y="88"/>
                    </a:cubicBezTo>
                    <a:cubicBezTo>
                      <a:pt x="107" y="88"/>
                      <a:pt x="108" y="88"/>
                      <a:pt x="109" y="87"/>
                    </a:cubicBezTo>
                    <a:cubicBezTo>
                      <a:pt x="111" y="86"/>
                      <a:pt x="112" y="83"/>
                      <a:pt x="110" y="80"/>
                    </a:cubicBezTo>
                    <a:cubicBezTo>
                      <a:pt x="106" y="71"/>
                      <a:pt x="82" y="47"/>
                      <a:pt x="67" y="37"/>
                    </a:cubicBezTo>
                    <a:cubicBezTo>
                      <a:pt x="67" y="37"/>
                      <a:pt x="67" y="37"/>
                      <a:pt x="67" y="37"/>
                    </a:cubicBezTo>
                    <a:cubicBezTo>
                      <a:pt x="63" y="38"/>
                      <a:pt x="62" y="38"/>
                      <a:pt x="59" y="39"/>
                    </a:cubicBezTo>
                    <a:cubicBezTo>
                      <a:pt x="55" y="45"/>
                      <a:pt x="48" y="55"/>
                      <a:pt x="36" y="50"/>
                    </a:cubicBezTo>
                    <a:cubicBezTo>
                      <a:pt x="32" y="49"/>
                      <a:pt x="30" y="46"/>
                      <a:pt x="29" y="43"/>
                    </a:cubicBezTo>
                    <a:cubicBezTo>
                      <a:pt x="27" y="34"/>
                      <a:pt x="33" y="22"/>
                      <a:pt x="39" y="16"/>
                    </a:cubicBezTo>
                    <a:cubicBezTo>
                      <a:pt x="48" y="8"/>
                      <a:pt x="64" y="0"/>
                      <a:pt x="81" y="8"/>
                    </a:cubicBezTo>
                    <a:cubicBezTo>
                      <a:pt x="96" y="15"/>
                      <a:pt x="105" y="17"/>
                      <a:pt x="106" y="17"/>
                    </a:cubicBezTo>
                    <a:cubicBezTo>
                      <a:pt x="108" y="18"/>
                      <a:pt x="109" y="20"/>
                      <a:pt x="108" y="22"/>
                    </a:cubicBezTo>
                    <a:cubicBezTo>
                      <a:pt x="108" y="25"/>
                      <a:pt x="105" y="26"/>
                      <a:pt x="103" y="25"/>
                    </a:cubicBezTo>
                    <a:cubicBezTo>
                      <a:pt x="103" y="25"/>
                      <a:pt x="93" y="22"/>
                      <a:pt x="77" y="15"/>
                    </a:cubicBezTo>
                    <a:cubicBezTo>
                      <a:pt x="64" y="9"/>
                      <a:pt x="52" y="15"/>
                      <a:pt x="44" y="22"/>
                    </a:cubicBezTo>
                    <a:cubicBezTo>
                      <a:pt x="40" y="26"/>
                      <a:pt x="35" y="36"/>
                      <a:pt x="37" y="41"/>
                    </a:cubicBezTo>
                    <a:cubicBezTo>
                      <a:pt x="37" y="42"/>
                      <a:pt x="37" y="43"/>
                      <a:pt x="38" y="43"/>
                    </a:cubicBezTo>
                    <a:cubicBezTo>
                      <a:pt x="44" y="45"/>
                      <a:pt x="49" y="40"/>
                      <a:pt x="54" y="33"/>
                    </a:cubicBezTo>
                    <a:cubicBezTo>
                      <a:pt x="55" y="32"/>
                      <a:pt x="55" y="31"/>
                      <a:pt x="56" y="31"/>
                    </a:cubicBezTo>
                    <a:cubicBezTo>
                      <a:pt x="58" y="31"/>
                      <a:pt x="58" y="31"/>
                      <a:pt x="58" y="31"/>
                    </a:cubicBezTo>
                    <a:cubicBezTo>
                      <a:pt x="61" y="31"/>
                      <a:pt x="61" y="31"/>
                      <a:pt x="64" y="29"/>
                    </a:cubicBezTo>
                    <a:cubicBezTo>
                      <a:pt x="66" y="29"/>
                      <a:pt x="66" y="29"/>
                      <a:pt x="66" y="29"/>
                    </a:cubicBezTo>
                    <a:cubicBezTo>
                      <a:pt x="68" y="28"/>
                      <a:pt x="69" y="28"/>
                      <a:pt x="70" y="29"/>
                    </a:cubicBezTo>
                    <a:cubicBezTo>
                      <a:pt x="84" y="39"/>
                      <a:pt x="112" y="65"/>
                      <a:pt x="117" y="77"/>
                    </a:cubicBezTo>
                    <a:cubicBezTo>
                      <a:pt x="120" y="83"/>
                      <a:pt x="119" y="89"/>
                      <a:pt x="115" y="93"/>
                    </a:cubicBezTo>
                    <a:cubicBezTo>
                      <a:pt x="112" y="95"/>
                      <a:pt x="109" y="96"/>
                      <a:pt x="107" y="96"/>
                    </a:cubicBezTo>
                    <a:cubicBezTo>
                      <a:pt x="106" y="99"/>
                      <a:pt x="103" y="101"/>
                      <a:pt x="100" y="103"/>
                    </a:cubicBezTo>
                    <a:cubicBezTo>
                      <a:pt x="97" y="105"/>
                      <a:pt x="93" y="105"/>
                      <a:pt x="90" y="104"/>
                    </a:cubicBezTo>
                    <a:cubicBezTo>
                      <a:pt x="89" y="107"/>
                      <a:pt x="86" y="108"/>
                      <a:pt x="84" y="109"/>
                    </a:cubicBezTo>
                    <a:cubicBezTo>
                      <a:pt x="80" y="111"/>
                      <a:pt x="75" y="111"/>
                      <a:pt x="71" y="109"/>
                    </a:cubicBezTo>
                    <a:cubicBezTo>
                      <a:pt x="70" y="111"/>
                      <a:pt x="67" y="112"/>
                      <a:pt x="64" y="112"/>
                    </a:cubicBezTo>
                    <a:cubicBezTo>
                      <a:pt x="63" y="112"/>
                      <a:pt x="63" y="112"/>
                      <a:pt x="62" y="1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96" name="Freeform 22"/>
              <p:cNvSpPr>
                <a:spLocks/>
              </p:cNvSpPr>
              <p:nvPr/>
            </p:nvSpPr>
            <p:spPr bwMode="auto">
              <a:xfrm>
                <a:off x="580768" y="1613132"/>
                <a:ext cx="72067" cy="11895"/>
              </a:xfrm>
              <a:custGeom>
                <a:avLst/>
                <a:gdLst>
                  <a:gd name="T0" fmla="*/ 39 w 43"/>
                  <a:gd name="T1" fmla="*/ 7 h 7"/>
                  <a:gd name="T2" fmla="*/ 38 w 43"/>
                  <a:gd name="T3" fmla="*/ 7 h 7"/>
                  <a:gd name="T4" fmla="*/ 5 w 43"/>
                  <a:gd name="T5" fmla="*/ 6 h 7"/>
                  <a:gd name="T6" fmla="*/ 1 w 43"/>
                  <a:gd name="T7" fmla="*/ 4 h 7"/>
                  <a:gd name="T8" fmla="*/ 4 w 43"/>
                  <a:gd name="T9" fmla="*/ 0 h 7"/>
                  <a:gd name="T10" fmla="*/ 39 w 43"/>
                  <a:gd name="T11" fmla="*/ 1 h 7"/>
                  <a:gd name="T12" fmla="*/ 43 w 43"/>
                  <a:gd name="T13" fmla="*/ 5 h 7"/>
                  <a:gd name="T14" fmla="*/ 39 w 43"/>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7">
                    <a:moveTo>
                      <a:pt x="39" y="7"/>
                    </a:moveTo>
                    <a:cubicBezTo>
                      <a:pt x="38" y="7"/>
                      <a:pt x="38" y="7"/>
                      <a:pt x="38" y="7"/>
                    </a:cubicBezTo>
                    <a:cubicBezTo>
                      <a:pt x="31" y="6"/>
                      <a:pt x="11" y="6"/>
                      <a:pt x="5" y="6"/>
                    </a:cubicBezTo>
                    <a:cubicBezTo>
                      <a:pt x="3" y="6"/>
                      <a:pt x="1" y="5"/>
                      <a:pt x="1" y="4"/>
                    </a:cubicBezTo>
                    <a:cubicBezTo>
                      <a:pt x="0" y="2"/>
                      <a:pt x="2" y="0"/>
                      <a:pt x="4" y="0"/>
                    </a:cubicBezTo>
                    <a:cubicBezTo>
                      <a:pt x="11" y="0"/>
                      <a:pt x="31" y="1"/>
                      <a:pt x="39" y="1"/>
                    </a:cubicBezTo>
                    <a:cubicBezTo>
                      <a:pt x="41" y="1"/>
                      <a:pt x="43" y="3"/>
                      <a:pt x="43" y="5"/>
                    </a:cubicBezTo>
                    <a:cubicBezTo>
                      <a:pt x="42" y="6"/>
                      <a:pt x="41" y="7"/>
                      <a:pt x="39" y="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97" name="Freeform 23"/>
              <p:cNvSpPr>
                <a:spLocks/>
              </p:cNvSpPr>
              <p:nvPr/>
            </p:nvSpPr>
            <p:spPr bwMode="auto">
              <a:xfrm>
                <a:off x="752890" y="1709689"/>
                <a:ext cx="23090" cy="23789"/>
              </a:xfrm>
              <a:custGeom>
                <a:avLst/>
                <a:gdLst>
                  <a:gd name="T0" fmla="*/ 4 w 14"/>
                  <a:gd name="T1" fmla="*/ 14 h 14"/>
                  <a:gd name="T2" fmla="*/ 1 w 14"/>
                  <a:gd name="T3" fmla="*/ 12 h 14"/>
                  <a:gd name="T4" fmla="*/ 2 w 14"/>
                  <a:gd name="T5" fmla="*/ 7 h 14"/>
                  <a:gd name="T6" fmla="*/ 8 w 14"/>
                  <a:gd name="T7" fmla="*/ 1 h 14"/>
                  <a:gd name="T8" fmla="*/ 13 w 14"/>
                  <a:gd name="T9" fmla="*/ 2 h 14"/>
                  <a:gd name="T10" fmla="*/ 12 w 14"/>
                  <a:gd name="T11" fmla="*/ 7 h 14"/>
                  <a:gd name="T12" fmla="*/ 6 w 14"/>
                  <a:gd name="T13" fmla="*/ 13 h 14"/>
                  <a:gd name="T14" fmla="*/ 4 w 14"/>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4">
                    <a:moveTo>
                      <a:pt x="4" y="14"/>
                    </a:moveTo>
                    <a:cubicBezTo>
                      <a:pt x="2" y="14"/>
                      <a:pt x="2" y="13"/>
                      <a:pt x="1" y="12"/>
                    </a:cubicBezTo>
                    <a:cubicBezTo>
                      <a:pt x="0" y="11"/>
                      <a:pt x="0" y="8"/>
                      <a:pt x="2" y="7"/>
                    </a:cubicBezTo>
                    <a:cubicBezTo>
                      <a:pt x="8" y="1"/>
                      <a:pt x="8" y="1"/>
                      <a:pt x="8" y="1"/>
                    </a:cubicBezTo>
                    <a:cubicBezTo>
                      <a:pt x="9" y="0"/>
                      <a:pt x="12" y="0"/>
                      <a:pt x="13" y="2"/>
                    </a:cubicBezTo>
                    <a:cubicBezTo>
                      <a:pt x="14" y="3"/>
                      <a:pt x="14" y="6"/>
                      <a:pt x="12" y="7"/>
                    </a:cubicBezTo>
                    <a:cubicBezTo>
                      <a:pt x="6" y="13"/>
                      <a:pt x="6" y="13"/>
                      <a:pt x="6" y="13"/>
                    </a:cubicBezTo>
                    <a:cubicBezTo>
                      <a:pt x="5" y="14"/>
                      <a:pt x="4" y="14"/>
                      <a:pt x="4" y="1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98" name="Freeform 24"/>
              <p:cNvSpPr>
                <a:spLocks/>
              </p:cNvSpPr>
              <p:nvPr/>
            </p:nvSpPr>
            <p:spPr bwMode="auto">
              <a:xfrm>
                <a:off x="687819" y="1702692"/>
                <a:ext cx="58074" cy="53876"/>
              </a:xfrm>
              <a:custGeom>
                <a:avLst/>
                <a:gdLst>
                  <a:gd name="T0" fmla="*/ 31 w 35"/>
                  <a:gd name="T1" fmla="*/ 32 h 32"/>
                  <a:gd name="T2" fmla="*/ 29 w 35"/>
                  <a:gd name="T3" fmla="*/ 31 h 32"/>
                  <a:gd name="T4" fmla="*/ 2 w 35"/>
                  <a:gd name="T5" fmla="*/ 7 h 32"/>
                  <a:gd name="T6" fmla="*/ 2 w 35"/>
                  <a:gd name="T7" fmla="*/ 2 h 32"/>
                  <a:gd name="T8" fmla="*/ 7 w 35"/>
                  <a:gd name="T9" fmla="*/ 2 h 32"/>
                  <a:gd name="T10" fmla="*/ 33 w 35"/>
                  <a:gd name="T11" fmla="*/ 25 h 32"/>
                  <a:gd name="T12" fmla="*/ 34 w 35"/>
                  <a:gd name="T13" fmla="*/ 30 h 32"/>
                  <a:gd name="T14" fmla="*/ 31 w 35"/>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2">
                    <a:moveTo>
                      <a:pt x="31" y="32"/>
                    </a:moveTo>
                    <a:cubicBezTo>
                      <a:pt x="30" y="32"/>
                      <a:pt x="29" y="32"/>
                      <a:pt x="29" y="31"/>
                    </a:cubicBezTo>
                    <a:cubicBezTo>
                      <a:pt x="24" y="28"/>
                      <a:pt x="3" y="8"/>
                      <a:pt x="2" y="7"/>
                    </a:cubicBezTo>
                    <a:cubicBezTo>
                      <a:pt x="0" y="5"/>
                      <a:pt x="0" y="3"/>
                      <a:pt x="2" y="2"/>
                    </a:cubicBezTo>
                    <a:cubicBezTo>
                      <a:pt x="3" y="0"/>
                      <a:pt x="6" y="0"/>
                      <a:pt x="7" y="2"/>
                    </a:cubicBezTo>
                    <a:cubicBezTo>
                      <a:pt x="13" y="7"/>
                      <a:pt x="30" y="23"/>
                      <a:pt x="33" y="25"/>
                    </a:cubicBezTo>
                    <a:cubicBezTo>
                      <a:pt x="35" y="26"/>
                      <a:pt x="35" y="29"/>
                      <a:pt x="34" y="30"/>
                    </a:cubicBezTo>
                    <a:cubicBezTo>
                      <a:pt x="33" y="31"/>
                      <a:pt x="32" y="32"/>
                      <a:pt x="31" y="3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99" name="Freeform 25"/>
              <p:cNvSpPr>
                <a:spLocks/>
              </p:cNvSpPr>
              <p:nvPr/>
            </p:nvSpPr>
            <p:spPr bwMode="auto">
              <a:xfrm>
                <a:off x="664030" y="1726481"/>
                <a:ext cx="53876" cy="47578"/>
              </a:xfrm>
              <a:custGeom>
                <a:avLst/>
                <a:gdLst>
                  <a:gd name="T0" fmla="*/ 27 w 32"/>
                  <a:gd name="T1" fmla="*/ 28 h 28"/>
                  <a:gd name="T2" fmla="*/ 25 w 32"/>
                  <a:gd name="T3" fmla="*/ 28 h 28"/>
                  <a:gd name="T4" fmla="*/ 1 w 32"/>
                  <a:gd name="T5" fmla="*/ 7 h 28"/>
                  <a:gd name="T6" fmla="*/ 1 w 32"/>
                  <a:gd name="T7" fmla="*/ 2 h 28"/>
                  <a:gd name="T8" fmla="*/ 7 w 32"/>
                  <a:gd name="T9" fmla="*/ 2 h 28"/>
                  <a:gd name="T10" fmla="*/ 30 w 32"/>
                  <a:gd name="T11" fmla="*/ 21 h 28"/>
                  <a:gd name="T12" fmla="*/ 30 w 32"/>
                  <a:gd name="T13" fmla="*/ 27 h 28"/>
                  <a:gd name="T14" fmla="*/ 27 w 32"/>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8">
                    <a:moveTo>
                      <a:pt x="27" y="28"/>
                    </a:moveTo>
                    <a:cubicBezTo>
                      <a:pt x="26" y="28"/>
                      <a:pt x="25" y="28"/>
                      <a:pt x="25" y="28"/>
                    </a:cubicBezTo>
                    <a:cubicBezTo>
                      <a:pt x="19" y="23"/>
                      <a:pt x="4" y="10"/>
                      <a:pt x="1" y="7"/>
                    </a:cubicBezTo>
                    <a:cubicBezTo>
                      <a:pt x="0" y="6"/>
                      <a:pt x="0" y="3"/>
                      <a:pt x="1" y="2"/>
                    </a:cubicBezTo>
                    <a:cubicBezTo>
                      <a:pt x="3" y="0"/>
                      <a:pt x="6" y="0"/>
                      <a:pt x="7" y="2"/>
                    </a:cubicBezTo>
                    <a:cubicBezTo>
                      <a:pt x="9" y="4"/>
                      <a:pt x="24" y="18"/>
                      <a:pt x="30" y="21"/>
                    </a:cubicBezTo>
                    <a:cubicBezTo>
                      <a:pt x="31" y="23"/>
                      <a:pt x="32" y="25"/>
                      <a:pt x="30" y="27"/>
                    </a:cubicBezTo>
                    <a:cubicBezTo>
                      <a:pt x="30" y="28"/>
                      <a:pt x="28" y="28"/>
                      <a:pt x="27" y="2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00" name="Freeform 26"/>
              <p:cNvSpPr>
                <a:spLocks/>
              </p:cNvSpPr>
              <p:nvPr/>
            </p:nvSpPr>
            <p:spPr bwMode="auto">
              <a:xfrm>
                <a:off x="645838" y="1738376"/>
                <a:ext cx="41981" cy="41981"/>
              </a:xfrm>
              <a:custGeom>
                <a:avLst/>
                <a:gdLst>
                  <a:gd name="T0" fmla="*/ 21 w 25"/>
                  <a:gd name="T1" fmla="*/ 25 h 25"/>
                  <a:gd name="T2" fmla="*/ 18 w 25"/>
                  <a:gd name="T3" fmla="*/ 24 h 25"/>
                  <a:gd name="T4" fmla="*/ 2 w 25"/>
                  <a:gd name="T5" fmla="*/ 7 h 25"/>
                  <a:gd name="T6" fmla="*/ 2 w 25"/>
                  <a:gd name="T7" fmla="*/ 2 h 25"/>
                  <a:gd name="T8" fmla="*/ 7 w 25"/>
                  <a:gd name="T9" fmla="*/ 2 h 25"/>
                  <a:gd name="T10" fmla="*/ 23 w 25"/>
                  <a:gd name="T11" fmla="*/ 18 h 25"/>
                  <a:gd name="T12" fmla="*/ 24 w 25"/>
                  <a:gd name="T13" fmla="*/ 23 h 25"/>
                  <a:gd name="T14" fmla="*/ 21 w 2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21" y="25"/>
                    </a:moveTo>
                    <a:cubicBezTo>
                      <a:pt x="20" y="25"/>
                      <a:pt x="19" y="25"/>
                      <a:pt x="18" y="24"/>
                    </a:cubicBezTo>
                    <a:cubicBezTo>
                      <a:pt x="13" y="20"/>
                      <a:pt x="7" y="12"/>
                      <a:pt x="2" y="7"/>
                    </a:cubicBezTo>
                    <a:cubicBezTo>
                      <a:pt x="0" y="6"/>
                      <a:pt x="1" y="3"/>
                      <a:pt x="2" y="2"/>
                    </a:cubicBezTo>
                    <a:cubicBezTo>
                      <a:pt x="4" y="0"/>
                      <a:pt x="6" y="0"/>
                      <a:pt x="7" y="2"/>
                    </a:cubicBezTo>
                    <a:cubicBezTo>
                      <a:pt x="12" y="7"/>
                      <a:pt x="18" y="14"/>
                      <a:pt x="23" y="18"/>
                    </a:cubicBezTo>
                    <a:cubicBezTo>
                      <a:pt x="25" y="19"/>
                      <a:pt x="25" y="22"/>
                      <a:pt x="24" y="23"/>
                    </a:cubicBezTo>
                    <a:cubicBezTo>
                      <a:pt x="23" y="24"/>
                      <a:pt x="22" y="25"/>
                      <a:pt x="21" y="2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01" name="Freeform 27"/>
              <p:cNvSpPr>
                <a:spLocks/>
              </p:cNvSpPr>
              <p:nvPr/>
            </p:nvSpPr>
            <p:spPr bwMode="auto">
              <a:xfrm>
                <a:off x="510100" y="1601238"/>
                <a:ext cx="83962" cy="137138"/>
              </a:xfrm>
              <a:custGeom>
                <a:avLst/>
                <a:gdLst>
                  <a:gd name="T0" fmla="*/ 14 w 50"/>
                  <a:gd name="T1" fmla="*/ 81 h 81"/>
                  <a:gd name="T2" fmla="*/ 3 w 50"/>
                  <a:gd name="T3" fmla="*/ 80 h 81"/>
                  <a:gd name="T4" fmla="*/ 0 w 50"/>
                  <a:gd name="T5" fmla="*/ 76 h 81"/>
                  <a:gd name="T6" fmla="*/ 8 w 50"/>
                  <a:gd name="T7" fmla="*/ 4 h 81"/>
                  <a:gd name="T8" fmla="*/ 13 w 50"/>
                  <a:gd name="T9" fmla="*/ 1 h 81"/>
                  <a:gd name="T10" fmla="*/ 47 w 50"/>
                  <a:gd name="T11" fmla="*/ 8 h 81"/>
                  <a:gd name="T12" fmla="*/ 50 w 50"/>
                  <a:gd name="T13" fmla="*/ 12 h 81"/>
                  <a:gd name="T14" fmla="*/ 33 w 50"/>
                  <a:gd name="T15" fmla="*/ 78 h 81"/>
                  <a:gd name="T16" fmla="*/ 30 w 50"/>
                  <a:gd name="T17" fmla="*/ 80 h 81"/>
                  <a:gd name="T18" fmla="*/ 14 w 50"/>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81">
                    <a:moveTo>
                      <a:pt x="14" y="81"/>
                    </a:moveTo>
                    <a:cubicBezTo>
                      <a:pt x="9" y="81"/>
                      <a:pt x="5" y="81"/>
                      <a:pt x="3" y="80"/>
                    </a:cubicBezTo>
                    <a:cubicBezTo>
                      <a:pt x="2" y="80"/>
                      <a:pt x="0" y="78"/>
                      <a:pt x="0" y="76"/>
                    </a:cubicBezTo>
                    <a:cubicBezTo>
                      <a:pt x="1" y="47"/>
                      <a:pt x="8" y="6"/>
                      <a:pt x="8" y="4"/>
                    </a:cubicBezTo>
                    <a:cubicBezTo>
                      <a:pt x="8" y="2"/>
                      <a:pt x="10" y="0"/>
                      <a:pt x="13" y="1"/>
                    </a:cubicBezTo>
                    <a:cubicBezTo>
                      <a:pt x="14" y="1"/>
                      <a:pt x="37" y="5"/>
                      <a:pt x="47" y="8"/>
                    </a:cubicBezTo>
                    <a:cubicBezTo>
                      <a:pt x="49" y="9"/>
                      <a:pt x="50" y="10"/>
                      <a:pt x="50" y="12"/>
                    </a:cubicBezTo>
                    <a:cubicBezTo>
                      <a:pt x="48" y="33"/>
                      <a:pt x="34" y="76"/>
                      <a:pt x="33" y="78"/>
                    </a:cubicBezTo>
                    <a:cubicBezTo>
                      <a:pt x="33" y="79"/>
                      <a:pt x="32" y="80"/>
                      <a:pt x="30" y="80"/>
                    </a:cubicBezTo>
                    <a:cubicBezTo>
                      <a:pt x="30" y="80"/>
                      <a:pt x="22" y="81"/>
                      <a:pt x="14" y="8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402" name="Freeform 28"/>
              <p:cNvSpPr>
                <a:spLocks/>
              </p:cNvSpPr>
              <p:nvPr/>
            </p:nvSpPr>
            <p:spPr bwMode="auto">
              <a:xfrm>
                <a:off x="734698" y="1620129"/>
                <a:ext cx="95157" cy="113349"/>
              </a:xfrm>
              <a:custGeom>
                <a:avLst/>
                <a:gdLst>
                  <a:gd name="T0" fmla="*/ 40 w 57"/>
                  <a:gd name="T1" fmla="*/ 67 h 67"/>
                  <a:gd name="T2" fmla="*/ 23 w 57"/>
                  <a:gd name="T3" fmla="*/ 65 h 67"/>
                  <a:gd name="T4" fmla="*/ 20 w 57"/>
                  <a:gd name="T5" fmla="*/ 62 h 67"/>
                  <a:gd name="T6" fmla="*/ 1 w 57"/>
                  <a:gd name="T7" fmla="*/ 12 h 67"/>
                  <a:gd name="T8" fmla="*/ 1 w 57"/>
                  <a:gd name="T9" fmla="*/ 8 h 67"/>
                  <a:gd name="T10" fmla="*/ 3 w 57"/>
                  <a:gd name="T11" fmla="*/ 6 h 67"/>
                  <a:gd name="T12" fmla="*/ 32 w 57"/>
                  <a:gd name="T13" fmla="*/ 0 h 67"/>
                  <a:gd name="T14" fmla="*/ 40 w 57"/>
                  <a:gd name="T15" fmla="*/ 1 h 67"/>
                  <a:gd name="T16" fmla="*/ 42 w 57"/>
                  <a:gd name="T17" fmla="*/ 2 h 67"/>
                  <a:gd name="T18" fmla="*/ 57 w 57"/>
                  <a:gd name="T19" fmla="*/ 62 h 67"/>
                  <a:gd name="T20" fmla="*/ 56 w 57"/>
                  <a:gd name="T21" fmla="*/ 65 h 67"/>
                  <a:gd name="T22" fmla="*/ 53 w 57"/>
                  <a:gd name="T23" fmla="*/ 66 h 67"/>
                  <a:gd name="T24" fmla="*/ 40 w 57"/>
                  <a:gd name="T2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67">
                    <a:moveTo>
                      <a:pt x="40" y="67"/>
                    </a:moveTo>
                    <a:cubicBezTo>
                      <a:pt x="32" y="67"/>
                      <a:pt x="26" y="66"/>
                      <a:pt x="23" y="65"/>
                    </a:cubicBezTo>
                    <a:cubicBezTo>
                      <a:pt x="21" y="64"/>
                      <a:pt x="21" y="63"/>
                      <a:pt x="20" y="62"/>
                    </a:cubicBezTo>
                    <a:cubicBezTo>
                      <a:pt x="17" y="51"/>
                      <a:pt x="6" y="20"/>
                      <a:pt x="1" y="12"/>
                    </a:cubicBezTo>
                    <a:cubicBezTo>
                      <a:pt x="0" y="11"/>
                      <a:pt x="0" y="10"/>
                      <a:pt x="1" y="8"/>
                    </a:cubicBezTo>
                    <a:cubicBezTo>
                      <a:pt x="1" y="7"/>
                      <a:pt x="2" y="6"/>
                      <a:pt x="3" y="6"/>
                    </a:cubicBezTo>
                    <a:cubicBezTo>
                      <a:pt x="3" y="6"/>
                      <a:pt x="17" y="0"/>
                      <a:pt x="32" y="0"/>
                    </a:cubicBezTo>
                    <a:cubicBezTo>
                      <a:pt x="35" y="0"/>
                      <a:pt x="37" y="0"/>
                      <a:pt x="40" y="1"/>
                    </a:cubicBezTo>
                    <a:cubicBezTo>
                      <a:pt x="41" y="1"/>
                      <a:pt x="42" y="1"/>
                      <a:pt x="42" y="2"/>
                    </a:cubicBezTo>
                    <a:cubicBezTo>
                      <a:pt x="52" y="16"/>
                      <a:pt x="56" y="57"/>
                      <a:pt x="57" y="62"/>
                    </a:cubicBezTo>
                    <a:cubicBezTo>
                      <a:pt x="57" y="63"/>
                      <a:pt x="56" y="64"/>
                      <a:pt x="56" y="65"/>
                    </a:cubicBezTo>
                    <a:cubicBezTo>
                      <a:pt x="55" y="66"/>
                      <a:pt x="54" y="66"/>
                      <a:pt x="53" y="66"/>
                    </a:cubicBezTo>
                    <a:cubicBezTo>
                      <a:pt x="53" y="66"/>
                      <a:pt x="47" y="67"/>
                      <a:pt x="40" y="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grpSp>
          <p:nvGrpSpPr>
            <p:cNvPr id="349" name="Group 4"/>
            <p:cNvGrpSpPr>
              <a:grpSpLocks noChangeAspect="1"/>
            </p:cNvGrpSpPr>
            <p:nvPr/>
          </p:nvGrpSpPr>
          <p:grpSpPr bwMode="auto">
            <a:xfrm>
              <a:off x="4481335" y="2113052"/>
              <a:ext cx="379509" cy="243897"/>
              <a:chOff x="2730" y="1446"/>
              <a:chExt cx="2222" cy="1428"/>
            </a:xfrm>
            <a:solidFill>
              <a:schemeClr val="bg1"/>
            </a:solidFill>
          </p:grpSpPr>
          <p:sp>
            <p:nvSpPr>
              <p:cNvPr id="390" name="Freeform 5"/>
              <p:cNvSpPr>
                <a:spLocks/>
              </p:cNvSpPr>
              <p:nvPr/>
            </p:nvSpPr>
            <p:spPr bwMode="auto">
              <a:xfrm>
                <a:off x="3554" y="1446"/>
                <a:ext cx="574" cy="572"/>
              </a:xfrm>
              <a:custGeom>
                <a:avLst/>
                <a:gdLst>
                  <a:gd name="T0" fmla="*/ 211 w 243"/>
                  <a:gd name="T1" fmla="*/ 242 h 242"/>
                  <a:gd name="T2" fmla="*/ 32 w 243"/>
                  <a:gd name="T3" fmla="*/ 242 h 242"/>
                  <a:gd name="T4" fmla="*/ 0 w 243"/>
                  <a:gd name="T5" fmla="*/ 210 h 242"/>
                  <a:gd name="T6" fmla="*/ 0 w 243"/>
                  <a:gd name="T7" fmla="*/ 32 h 242"/>
                  <a:gd name="T8" fmla="*/ 32 w 243"/>
                  <a:gd name="T9" fmla="*/ 0 h 242"/>
                  <a:gd name="T10" fmla="*/ 211 w 243"/>
                  <a:gd name="T11" fmla="*/ 0 h 242"/>
                  <a:gd name="T12" fmla="*/ 243 w 243"/>
                  <a:gd name="T13" fmla="*/ 32 h 242"/>
                  <a:gd name="T14" fmla="*/ 243 w 243"/>
                  <a:gd name="T15" fmla="*/ 210 h 242"/>
                  <a:gd name="T16" fmla="*/ 211 w 243"/>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242">
                    <a:moveTo>
                      <a:pt x="211" y="242"/>
                    </a:moveTo>
                    <a:cubicBezTo>
                      <a:pt x="32" y="242"/>
                      <a:pt x="32" y="242"/>
                      <a:pt x="32" y="242"/>
                    </a:cubicBezTo>
                    <a:cubicBezTo>
                      <a:pt x="15" y="242"/>
                      <a:pt x="0" y="228"/>
                      <a:pt x="0" y="210"/>
                    </a:cubicBezTo>
                    <a:cubicBezTo>
                      <a:pt x="0" y="32"/>
                      <a:pt x="0" y="32"/>
                      <a:pt x="0" y="32"/>
                    </a:cubicBezTo>
                    <a:cubicBezTo>
                      <a:pt x="0" y="14"/>
                      <a:pt x="15" y="0"/>
                      <a:pt x="32" y="0"/>
                    </a:cubicBezTo>
                    <a:cubicBezTo>
                      <a:pt x="211" y="0"/>
                      <a:pt x="211" y="0"/>
                      <a:pt x="211" y="0"/>
                    </a:cubicBezTo>
                    <a:cubicBezTo>
                      <a:pt x="228" y="0"/>
                      <a:pt x="243" y="14"/>
                      <a:pt x="243" y="32"/>
                    </a:cubicBezTo>
                    <a:cubicBezTo>
                      <a:pt x="243" y="210"/>
                      <a:pt x="243" y="210"/>
                      <a:pt x="243" y="210"/>
                    </a:cubicBezTo>
                    <a:cubicBezTo>
                      <a:pt x="243" y="228"/>
                      <a:pt x="228" y="242"/>
                      <a:pt x="211"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91" name="Freeform 6"/>
              <p:cNvSpPr>
                <a:spLocks/>
              </p:cNvSpPr>
              <p:nvPr/>
            </p:nvSpPr>
            <p:spPr bwMode="auto">
              <a:xfrm>
                <a:off x="3554" y="2302"/>
                <a:ext cx="574" cy="572"/>
              </a:xfrm>
              <a:custGeom>
                <a:avLst/>
                <a:gdLst>
                  <a:gd name="T0" fmla="*/ 211 w 243"/>
                  <a:gd name="T1" fmla="*/ 242 h 242"/>
                  <a:gd name="T2" fmla="*/ 32 w 243"/>
                  <a:gd name="T3" fmla="*/ 242 h 242"/>
                  <a:gd name="T4" fmla="*/ 0 w 243"/>
                  <a:gd name="T5" fmla="*/ 210 h 242"/>
                  <a:gd name="T6" fmla="*/ 0 w 243"/>
                  <a:gd name="T7" fmla="*/ 32 h 242"/>
                  <a:gd name="T8" fmla="*/ 32 w 243"/>
                  <a:gd name="T9" fmla="*/ 0 h 242"/>
                  <a:gd name="T10" fmla="*/ 211 w 243"/>
                  <a:gd name="T11" fmla="*/ 0 h 242"/>
                  <a:gd name="T12" fmla="*/ 243 w 243"/>
                  <a:gd name="T13" fmla="*/ 32 h 242"/>
                  <a:gd name="T14" fmla="*/ 243 w 243"/>
                  <a:gd name="T15" fmla="*/ 210 h 242"/>
                  <a:gd name="T16" fmla="*/ 211 w 243"/>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242">
                    <a:moveTo>
                      <a:pt x="211" y="242"/>
                    </a:moveTo>
                    <a:cubicBezTo>
                      <a:pt x="32" y="242"/>
                      <a:pt x="32" y="242"/>
                      <a:pt x="32" y="242"/>
                    </a:cubicBezTo>
                    <a:cubicBezTo>
                      <a:pt x="15" y="242"/>
                      <a:pt x="0" y="228"/>
                      <a:pt x="0" y="210"/>
                    </a:cubicBezTo>
                    <a:cubicBezTo>
                      <a:pt x="0" y="32"/>
                      <a:pt x="0" y="32"/>
                      <a:pt x="0" y="32"/>
                    </a:cubicBezTo>
                    <a:cubicBezTo>
                      <a:pt x="0" y="14"/>
                      <a:pt x="15" y="0"/>
                      <a:pt x="32" y="0"/>
                    </a:cubicBezTo>
                    <a:cubicBezTo>
                      <a:pt x="211" y="0"/>
                      <a:pt x="211" y="0"/>
                      <a:pt x="211" y="0"/>
                    </a:cubicBezTo>
                    <a:cubicBezTo>
                      <a:pt x="228" y="0"/>
                      <a:pt x="243" y="14"/>
                      <a:pt x="243" y="32"/>
                    </a:cubicBezTo>
                    <a:cubicBezTo>
                      <a:pt x="243" y="210"/>
                      <a:pt x="243" y="210"/>
                      <a:pt x="243" y="210"/>
                    </a:cubicBezTo>
                    <a:cubicBezTo>
                      <a:pt x="243" y="228"/>
                      <a:pt x="228" y="242"/>
                      <a:pt x="211"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92" name="Freeform 7"/>
              <p:cNvSpPr>
                <a:spLocks/>
              </p:cNvSpPr>
              <p:nvPr/>
            </p:nvSpPr>
            <p:spPr bwMode="auto">
              <a:xfrm>
                <a:off x="4381" y="2302"/>
                <a:ext cx="571" cy="572"/>
              </a:xfrm>
              <a:custGeom>
                <a:avLst/>
                <a:gdLst>
                  <a:gd name="T0" fmla="*/ 210 w 242"/>
                  <a:gd name="T1" fmla="*/ 242 h 242"/>
                  <a:gd name="T2" fmla="*/ 32 w 242"/>
                  <a:gd name="T3" fmla="*/ 242 h 242"/>
                  <a:gd name="T4" fmla="*/ 0 w 242"/>
                  <a:gd name="T5" fmla="*/ 210 h 242"/>
                  <a:gd name="T6" fmla="*/ 0 w 242"/>
                  <a:gd name="T7" fmla="*/ 32 h 242"/>
                  <a:gd name="T8" fmla="*/ 32 w 242"/>
                  <a:gd name="T9" fmla="*/ 0 h 242"/>
                  <a:gd name="T10" fmla="*/ 210 w 242"/>
                  <a:gd name="T11" fmla="*/ 0 h 242"/>
                  <a:gd name="T12" fmla="*/ 242 w 242"/>
                  <a:gd name="T13" fmla="*/ 32 h 242"/>
                  <a:gd name="T14" fmla="*/ 242 w 242"/>
                  <a:gd name="T15" fmla="*/ 210 h 242"/>
                  <a:gd name="T16" fmla="*/ 210 w 242"/>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2">
                    <a:moveTo>
                      <a:pt x="210" y="242"/>
                    </a:moveTo>
                    <a:cubicBezTo>
                      <a:pt x="32" y="242"/>
                      <a:pt x="32" y="242"/>
                      <a:pt x="32" y="242"/>
                    </a:cubicBezTo>
                    <a:cubicBezTo>
                      <a:pt x="14" y="242"/>
                      <a:pt x="0" y="228"/>
                      <a:pt x="0" y="210"/>
                    </a:cubicBezTo>
                    <a:cubicBezTo>
                      <a:pt x="0" y="32"/>
                      <a:pt x="0" y="32"/>
                      <a:pt x="0" y="32"/>
                    </a:cubicBezTo>
                    <a:cubicBezTo>
                      <a:pt x="0" y="14"/>
                      <a:pt x="14" y="0"/>
                      <a:pt x="32" y="0"/>
                    </a:cubicBezTo>
                    <a:cubicBezTo>
                      <a:pt x="210" y="0"/>
                      <a:pt x="210" y="0"/>
                      <a:pt x="210" y="0"/>
                    </a:cubicBezTo>
                    <a:cubicBezTo>
                      <a:pt x="228" y="0"/>
                      <a:pt x="242" y="14"/>
                      <a:pt x="242" y="32"/>
                    </a:cubicBezTo>
                    <a:cubicBezTo>
                      <a:pt x="242" y="210"/>
                      <a:pt x="242" y="210"/>
                      <a:pt x="242" y="210"/>
                    </a:cubicBezTo>
                    <a:cubicBezTo>
                      <a:pt x="242" y="228"/>
                      <a:pt x="228" y="242"/>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93" name="Freeform 8"/>
              <p:cNvSpPr>
                <a:spLocks/>
              </p:cNvSpPr>
              <p:nvPr/>
            </p:nvSpPr>
            <p:spPr bwMode="auto">
              <a:xfrm>
                <a:off x="2730" y="2302"/>
                <a:ext cx="572" cy="572"/>
              </a:xfrm>
              <a:custGeom>
                <a:avLst/>
                <a:gdLst>
                  <a:gd name="T0" fmla="*/ 210 w 242"/>
                  <a:gd name="T1" fmla="*/ 242 h 242"/>
                  <a:gd name="T2" fmla="*/ 32 w 242"/>
                  <a:gd name="T3" fmla="*/ 242 h 242"/>
                  <a:gd name="T4" fmla="*/ 0 w 242"/>
                  <a:gd name="T5" fmla="*/ 210 h 242"/>
                  <a:gd name="T6" fmla="*/ 0 w 242"/>
                  <a:gd name="T7" fmla="*/ 32 h 242"/>
                  <a:gd name="T8" fmla="*/ 32 w 242"/>
                  <a:gd name="T9" fmla="*/ 0 h 242"/>
                  <a:gd name="T10" fmla="*/ 210 w 242"/>
                  <a:gd name="T11" fmla="*/ 0 h 242"/>
                  <a:gd name="T12" fmla="*/ 242 w 242"/>
                  <a:gd name="T13" fmla="*/ 32 h 242"/>
                  <a:gd name="T14" fmla="*/ 242 w 242"/>
                  <a:gd name="T15" fmla="*/ 210 h 242"/>
                  <a:gd name="T16" fmla="*/ 210 w 242"/>
                  <a:gd name="T17" fmla="*/ 242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242">
                    <a:moveTo>
                      <a:pt x="210" y="242"/>
                    </a:moveTo>
                    <a:cubicBezTo>
                      <a:pt x="32" y="242"/>
                      <a:pt x="32" y="242"/>
                      <a:pt x="32" y="242"/>
                    </a:cubicBezTo>
                    <a:cubicBezTo>
                      <a:pt x="14" y="242"/>
                      <a:pt x="0" y="228"/>
                      <a:pt x="0" y="210"/>
                    </a:cubicBezTo>
                    <a:cubicBezTo>
                      <a:pt x="0" y="32"/>
                      <a:pt x="0" y="32"/>
                      <a:pt x="0" y="32"/>
                    </a:cubicBezTo>
                    <a:cubicBezTo>
                      <a:pt x="0" y="14"/>
                      <a:pt x="14" y="0"/>
                      <a:pt x="32" y="0"/>
                    </a:cubicBezTo>
                    <a:cubicBezTo>
                      <a:pt x="210" y="0"/>
                      <a:pt x="210" y="0"/>
                      <a:pt x="210" y="0"/>
                    </a:cubicBezTo>
                    <a:cubicBezTo>
                      <a:pt x="228" y="0"/>
                      <a:pt x="242" y="14"/>
                      <a:pt x="242" y="32"/>
                    </a:cubicBezTo>
                    <a:cubicBezTo>
                      <a:pt x="242" y="210"/>
                      <a:pt x="242" y="210"/>
                      <a:pt x="242" y="210"/>
                    </a:cubicBezTo>
                    <a:cubicBezTo>
                      <a:pt x="242" y="228"/>
                      <a:pt x="228" y="242"/>
                      <a:pt x="210" y="2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94" name="Freeform 9"/>
              <p:cNvSpPr>
                <a:spLocks/>
              </p:cNvSpPr>
              <p:nvPr/>
            </p:nvSpPr>
            <p:spPr bwMode="auto">
              <a:xfrm>
                <a:off x="3006" y="2018"/>
                <a:ext cx="1670" cy="284"/>
              </a:xfrm>
              <a:custGeom>
                <a:avLst/>
                <a:gdLst>
                  <a:gd name="T0" fmla="*/ 674 w 707"/>
                  <a:gd name="T1" fmla="*/ 54 h 120"/>
                  <a:gd name="T2" fmla="*/ 357 w 707"/>
                  <a:gd name="T3" fmla="*/ 54 h 120"/>
                  <a:gd name="T4" fmla="*/ 357 w 707"/>
                  <a:gd name="T5" fmla="*/ 0 h 120"/>
                  <a:gd name="T6" fmla="*/ 349 w 707"/>
                  <a:gd name="T7" fmla="*/ 0 h 120"/>
                  <a:gd name="T8" fmla="*/ 349 w 707"/>
                  <a:gd name="T9" fmla="*/ 54 h 120"/>
                  <a:gd name="T10" fmla="*/ 33 w 707"/>
                  <a:gd name="T11" fmla="*/ 54 h 120"/>
                  <a:gd name="T12" fmla="*/ 0 w 707"/>
                  <a:gd name="T13" fmla="*/ 87 h 120"/>
                  <a:gd name="T14" fmla="*/ 0 w 707"/>
                  <a:gd name="T15" fmla="*/ 120 h 120"/>
                  <a:gd name="T16" fmla="*/ 8 w 707"/>
                  <a:gd name="T17" fmla="*/ 120 h 120"/>
                  <a:gd name="T18" fmla="*/ 8 w 707"/>
                  <a:gd name="T19" fmla="*/ 87 h 120"/>
                  <a:gd name="T20" fmla="*/ 33 w 707"/>
                  <a:gd name="T21" fmla="*/ 62 h 120"/>
                  <a:gd name="T22" fmla="*/ 674 w 707"/>
                  <a:gd name="T23" fmla="*/ 62 h 120"/>
                  <a:gd name="T24" fmla="*/ 699 w 707"/>
                  <a:gd name="T25" fmla="*/ 87 h 120"/>
                  <a:gd name="T26" fmla="*/ 699 w 707"/>
                  <a:gd name="T27" fmla="*/ 120 h 120"/>
                  <a:gd name="T28" fmla="*/ 707 w 707"/>
                  <a:gd name="T29" fmla="*/ 120 h 120"/>
                  <a:gd name="T30" fmla="*/ 707 w 707"/>
                  <a:gd name="T31" fmla="*/ 87 h 120"/>
                  <a:gd name="T32" fmla="*/ 674 w 707"/>
                  <a:gd name="T33" fmla="*/ 5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7" h="120">
                    <a:moveTo>
                      <a:pt x="674" y="54"/>
                    </a:moveTo>
                    <a:cubicBezTo>
                      <a:pt x="357" y="54"/>
                      <a:pt x="357" y="54"/>
                      <a:pt x="357" y="54"/>
                    </a:cubicBezTo>
                    <a:cubicBezTo>
                      <a:pt x="357" y="0"/>
                      <a:pt x="357" y="0"/>
                      <a:pt x="357" y="0"/>
                    </a:cubicBezTo>
                    <a:cubicBezTo>
                      <a:pt x="349" y="0"/>
                      <a:pt x="349" y="0"/>
                      <a:pt x="349" y="0"/>
                    </a:cubicBezTo>
                    <a:cubicBezTo>
                      <a:pt x="349" y="54"/>
                      <a:pt x="349" y="54"/>
                      <a:pt x="349" y="54"/>
                    </a:cubicBezTo>
                    <a:cubicBezTo>
                      <a:pt x="33" y="54"/>
                      <a:pt x="33" y="54"/>
                      <a:pt x="33" y="54"/>
                    </a:cubicBezTo>
                    <a:cubicBezTo>
                      <a:pt x="15" y="54"/>
                      <a:pt x="0" y="69"/>
                      <a:pt x="0" y="87"/>
                    </a:cubicBezTo>
                    <a:cubicBezTo>
                      <a:pt x="0" y="120"/>
                      <a:pt x="0" y="120"/>
                      <a:pt x="0" y="120"/>
                    </a:cubicBezTo>
                    <a:cubicBezTo>
                      <a:pt x="8" y="120"/>
                      <a:pt x="8" y="120"/>
                      <a:pt x="8" y="120"/>
                    </a:cubicBezTo>
                    <a:cubicBezTo>
                      <a:pt x="8" y="87"/>
                      <a:pt x="8" y="87"/>
                      <a:pt x="8" y="87"/>
                    </a:cubicBezTo>
                    <a:cubicBezTo>
                      <a:pt x="8" y="73"/>
                      <a:pt x="19" y="62"/>
                      <a:pt x="33" y="62"/>
                    </a:cubicBezTo>
                    <a:cubicBezTo>
                      <a:pt x="674" y="62"/>
                      <a:pt x="674" y="62"/>
                      <a:pt x="674" y="62"/>
                    </a:cubicBezTo>
                    <a:cubicBezTo>
                      <a:pt x="688" y="62"/>
                      <a:pt x="699" y="73"/>
                      <a:pt x="699" y="87"/>
                    </a:cubicBezTo>
                    <a:cubicBezTo>
                      <a:pt x="699" y="120"/>
                      <a:pt x="699" y="120"/>
                      <a:pt x="699" y="120"/>
                    </a:cubicBezTo>
                    <a:cubicBezTo>
                      <a:pt x="707" y="120"/>
                      <a:pt x="707" y="120"/>
                      <a:pt x="707" y="120"/>
                    </a:cubicBezTo>
                    <a:cubicBezTo>
                      <a:pt x="707" y="87"/>
                      <a:pt x="707" y="87"/>
                      <a:pt x="707" y="87"/>
                    </a:cubicBezTo>
                    <a:cubicBezTo>
                      <a:pt x="707" y="69"/>
                      <a:pt x="692" y="54"/>
                      <a:pt x="674"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sp>
          <p:nvSpPr>
            <p:cNvPr id="350" name="Freeform 194"/>
            <p:cNvSpPr/>
            <p:nvPr/>
          </p:nvSpPr>
          <p:spPr>
            <a:xfrm>
              <a:off x="4613893" y="2638065"/>
              <a:ext cx="114390" cy="293078"/>
            </a:xfrm>
            <a:custGeom>
              <a:avLst/>
              <a:gdLst>
                <a:gd name="connsiteX0" fmla="*/ 139748 w 531885"/>
                <a:gd name="connsiteY0" fmla="*/ 251049 h 1362740"/>
                <a:gd name="connsiteX1" fmla="*/ 392136 w 531885"/>
                <a:gd name="connsiteY1" fmla="*/ 251049 h 1362740"/>
                <a:gd name="connsiteX2" fmla="*/ 523231 w 531885"/>
                <a:gd name="connsiteY2" fmla="*/ 337732 h 1362740"/>
                <a:gd name="connsiteX3" fmla="*/ 529310 w 531885"/>
                <a:gd name="connsiteY3" fmla="*/ 357137 h 1362740"/>
                <a:gd name="connsiteX4" fmla="*/ 531885 w 531885"/>
                <a:gd name="connsiteY4" fmla="*/ 382676 h 1362740"/>
                <a:gd name="connsiteX5" fmla="*/ 531885 w 531885"/>
                <a:gd name="connsiteY5" fmla="*/ 390797 h 1362740"/>
                <a:gd name="connsiteX6" fmla="*/ 531885 w 531885"/>
                <a:gd name="connsiteY6" fmla="*/ 429149 h 1362740"/>
                <a:gd name="connsiteX7" fmla="*/ 531885 w 531885"/>
                <a:gd name="connsiteY7" fmla="*/ 744942 h 1362740"/>
                <a:gd name="connsiteX8" fmla="*/ 481698 w 531885"/>
                <a:gd name="connsiteY8" fmla="*/ 795129 h 1362740"/>
                <a:gd name="connsiteX9" fmla="*/ 431512 w 531885"/>
                <a:gd name="connsiteY9" fmla="*/ 744942 h 1362740"/>
                <a:gd name="connsiteX10" fmla="*/ 431512 w 531885"/>
                <a:gd name="connsiteY10" fmla="*/ 562579 h 1362740"/>
                <a:gd name="connsiteX11" fmla="*/ 430980 w 531885"/>
                <a:gd name="connsiteY11" fmla="*/ 562711 h 1362740"/>
                <a:gd name="connsiteX12" fmla="*/ 430980 w 531885"/>
                <a:gd name="connsiteY12" fmla="*/ 427781 h 1362740"/>
                <a:gd name="connsiteX13" fmla="*/ 428856 w 531885"/>
                <a:gd name="connsiteY13" fmla="*/ 425657 h 1362740"/>
                <a:gd name="connsiteX14" fmla="*/ 407618 w 531885"/>
                <a:gd name="connsiteY14" fmla="*/ 425657 h 1362740"/>
                <a:gd name="connsiteX15" fmla="*/ 405495 w 531885"/>
                <a:gd name="connsiteY15" fmla="*/ 427781 h 1362740"/>
                <a:gd name="connsiteX16" fmla="*/ 405910 w 531885"/>
                <a:gd name="connsiteY16" fmla="*/ 552990 h 1362740"/>
                <a:gd name="connsiteX17" fmla="*/ 405910 w 531885"/>
                <a:gd name="connsiteY17" fmla="*/ 1300007 h 1362740"/>
                <a:gd name="connsiteX18" fmla="*/ 343177 w 531885"/>
                <a:gd name="connsiteY18" fmla="*/ 1362740 h 1362740"/>
                <a:gd name="connsiteX19" fmla="*/ 280443 w 531885"/>
                <a:gd name="connsiteY19" fmla="*/ 1300007 h 1362740"/>
                <a:gd name="connsiteX20" fmla="*/ 280443 w 531885"/>
                <a:gd name="connsiteY20" fmla="*/ 827961 h 1362740"/>
                <a:gd name="connsiteX21" fmla="*/ 280028 w 531885"/>
                <a:gd name="connsiteY21" fmla="*/ 791924 h 1362740"/>
                <a:gd name="connsiteX22" fmla="*/ 278164 w 531885"/>
                <a:gd name="connsiteY22" fmla="*/ 790060 h 1362740"/>
                <a:gd name="connsiteX23" fmla="*/ 255027 w 531885"/>
                <a:gd name="connsiteY23" fmla="*/ 790060 h 1362740"/>
                <a:gd name="connsiteX24" fmla="*/ 253164 w 531885"/>
                <a:gd name="connsiteY24" fmla="*/ 791924 h 1362740"/>
                <a:gd name="connsiteX25" fmla="*/ 253164 w 531885"/>
                <a:gd name="connsiteY25" fmla="*/ 827961 h 1362740"/>
                <a:gd name="connsiteX26" fmla="*/ 253008 w 531885"/>
                <a:gd name="connsiteY26" fmla="*/ 1300007 h 1362740"/>
                <a:gd name="connsiteX27" fmla="*/ 190274 w 531885"/>
                <a:gd name="connsiteY27" fmla="*/ 1362740 h 1362740"/>
                <a:gd name="connsiteX28" fmla="*/ 127541 w 531885"/>
                <a:gd name="connsiteY28" fmla="*/ 1300007 h 1362740"/>
                <a:gd name="connsiteX29" fmla="*/ 127541 w 531885"/>
                <a:gd name="connsiteY29" fmla="*/ 567971 h 1362740"/>
                <a:gd name="connsiteX30" fmla="*/ 125584 w 531885"/>
                <a:gd name="connsiteY30" fmla="*/ 427748 h 1362740"/>
                <a:gd name="connsiteX31" fmla="*/ 123493 w 531885"/>
                <a:gd name="connsiteY31" fmla="*/ 425657 h 1362740"/>
                <a:gd name="connsiteX32" fmla="*/ 102582 w 531885"/>
                <a:gd name="connsiteY32" fmla="*/ 425657 h 1362740"/>
                <a:gd name="connsiteX33" fmla="*/ 100491 w 531885"/>
                <a:gd name="connsiteY33" fmla="*/ 427748 h 1362740"/>
                <a:gd name="connsiteX34" fmla="*/ 100491 w 531885"/>
                <a:gd name="connsiteY34" fmla="*/ 562608 h 1362740"/>
                <a:gd name="connsiteX35" fmla="*/ 100373 w 531885"/>
                <a:gd name="connsiteY35" fmla="*/ 562579 h 1362740"/>
                <a:gd name="connsiteX36" fmla="*/ 100373 w 531885"/>
                <a:gd name="connsiteY36" fmla="*/ 744942 h 1362740"/>
                <a:gd name="connsiteX37" fmla="*/ 50187 w 531885"/>
                <a:gd name="connsiteY37" fmla="*/ 795129 h 1362740"/>
                <a:gd name="connsiteX38" fmla="*/ 0 w 531885"/>
                <a:gd name="connsiteY38" fmla="*/ 744942 h 1362740"/>
                <a:gd name="connsiteX39" fmla="*/ 0 w 531885"/>
                <a:gd name="connsiteY39" fmla="*/ 429149 h 1362740"/>
                <a:gd name="connsiteX40" fmla="*/ 0 w 531885"/>
                <a:gd name="connsiteY40" fmla="*/ 390797 h 1362740"/>
                <a:gd name="connsiteX41" fmla="*/ 0 w 531885"/>
                <a:gd name="connsiteY41" fmla="*/ 382676 h 1362740"/>
                <a:gd name="connsiteX42" fmla="*/ 4960 w 531885"/>
                <a:gd name="connsiteY42" fmla="*/ 348469 h 1362740"/>
                <a:gd name="connsiteX43" fmla="*/ 8000 w 531885"/>
                <a:gd name="connsiteY43" fmla="*/ 338385 h 1362740"/>
                <a:gd name="connsiteX44" fmla="*/ 139748 w 531885"/>
                <a:gd name="connsiteY44" fmla="*/ 251049 h 1362740"/>
                <a:gd name="connsiteX45" fmla="*/ 265942 w 531885"/>
                <a:gd name="connsiteY45" fmla="*/ 0 h 1362740"/>
                <a:gd name="connsiteX46" fmla="*/ 376613 w 531885"/>
                <a:gd name="connsiteY46" fmla="*/ 110671 h 1362740"/>
                <a:gd name="connsiteX47" fmla="*/ 265942 w 531885"/>
                <a:gd name="connsiteY47" fmla="*/ 221342 h 1362740"/>
                <a:gd name="connsiteX48" fmla="*/ 155271 w 531885"/>
                <a:gd name="connsiteY48" fmla="*/ 110671 h 1362740"/>
                <a:gd name="connsiteX49" fmla="*/ 265942 w 531885"/>
                <a:gd name="connsiteY49" fmla="*/ 0 h 136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31885" h="1362740">
                  <a:moveTo>
                    <a:pt x="139748" y="251049"/>
                  </a:moveTo>
                  <a:lnTo>
                    <a:pt x="392136" y="251049"/>
                  </a:lnTo>
                  <a:cubicBezTo>
                    <a:pt x="451239" y="251049"/>
                    <a:pt x="503078" y="285778"/>
                    <a:pt x="523231" y="337732"/>
                  </a:cubicBezTo>
                  <a:cubicBezTo>
                    <a:pt x="527105" y="344480"/>
                    <a:pt x="527753" y="351099"/>
                    <a:pt x="529310" y="357137"/>
                  </a:cubicBezTo>
                  <a:lnTo>
                    <a:pt x="531885" y="382676"/>
                  </a:lnTo>
                  <a:lnTo>
                    <a:pt x="531885" y="390797"/>
                  </a:lnTo>
                  <a:lnTo>
                    <a:pt x="531885" y="429149"/>
                  </a:lnTo>
                  <a:lnTo>
                    <a:pt x="531885" y="744942"/>
                  </a:lnTo>
                  <a:cubicBezTo>
                    <a:pt x="531885" y="772660"/>
                    <a:pt x="509415" y="795129"/>
                    <a:pt x="481698" y="795129"/>
                  </a:cubicBezTo>
                  <a:cubicBezTo>
                    <a:pt x="453981" y="795129"/>
                    <a:pt x="431512" y="772660"/>
                    <a:pt x="431512" y="744942"/>
                  </a:cubicBezTo>
                  <a:lnTo>
                    <a:pt x="431512" y="562579"/>
                  </a:lnTo>
                  <a:lnTo>
                    <a:pt x="430980" y="562711"/>
                  </a:lnTo>
                  <a:lnTo>
                    <a:pt x="430980" y="427781"/>
                  </a:lnTo>
                  <a:cubicBezTo>
                    <a:pt x="430980" y="426608"/>
                    <a:pt x="430029" y="425657"/>
                    <a:pt x="428856" y="425657"/>
                  </a:cubicBezTo>
                  <a:lnTo>
                    <a:pt x="407618" y="425657"/>
                  </a:lnTo>
                  <a:cubicBezTo>
                    <a:pt x="406445" y="425657"/>
                    <a:pt x="405495" y="426608"/>
                    <a:pt x="405495" y="427781"/>
                  </a:cubicBezTo>
                  <a:cubicBezTo>
                    <a:pt x="405633" y="469517"/>
                    <a:pt x="405771" y="511254"/>
                    <a:pt x="405910" y="552990"/>
                  </a:cubicBezTo>
                  <a:lnTo>
                    <a:pt x="405910" y="1300007"/>
                  </a:lnTo>
                  <a:cubicBezTo>
                    <a:pt x="405910" y="1334653"/>
                    <a:pt x="377823" y="1362740"/>
                    <a:pt x="343177" y="1362740"/>
                  </a:cubicBezTo>
                  <a:cubicBezTo>
                    <a:pt x="308530" y="1362740"/>
                    <a:pt x="280443" y="1334653"/>
                    <a:pt x="280443" y="1300007"/>
                  </a:cubicBezTo>
                  <a:lnTo>
                    <a:pt x="280443" y="827961"/>
                  </a:lnTo>
                  <a:cubicBezTo>
                    <a:pt x="280305" y="815949"/>
                    <a:pt x="280167" y="803937"/>
                    <a:pt x="280028" y="791924"/>
                  </a:cubicBezTo>
                  <a:cubicBezTo>
                    <a:pt x="280028" y="790894"/>
                    <a:pt x="279194" y="790060"/>
                    <a:pt x="278164" y="790060"/>
                  </a:cubicBezTo>
                  <a:lnTo>
                    <a:pt x="255027" y="790060"/>
                  </a:lnTo>
                  <a:cubicBezTo>
                    <a:pt x="253998" y="790060"/>
                    <a:pt x="253164" y="790894"/>
                    <a:pt x="253164" y="791924"/>
                  </a:cubicBezTo>
                  <a:lnTo>
                    <a:pt x="253164" y="827961"/>
                  </a:lnTo>
                  <a:cubicBezTo>
                    <a:pt x="253111" y="985310"/>
                    <a:pt x="253059" y="1142658"/>
                    <a:pt x="253008" y="1300007"/>
                  </a:cubicBezTo>
                  <a:cubicBezTo>
                    <a:pt x="253008" y="1334653"/>
                    <a:pt x="224921" y="1362740"/>
                    <a:pt x="190274" y="1362740"/>
                  </a:cubicBezTo>
                  <a:cubicBezTo>
                    <a:pt x="155628" y="1362740"/>
                    <a:pt x="127541" y="1334653"/>
                    <a:pt x="127541" y="1300007"/>
                  </a:cubicBezTo>
                  <a:lnTo>
                    <a:pt x="127541" y="567971"/>
                  </a:lnTo>
                  <a:cubicBezTo>
                    <a:pt x="126888" y="521230"/>
                    <a:pt x="126237" y="474489"/>
                    <a:pt x="125584" y="427748"/>
                  </a:cubicBezTo>
                  <a:cubicBezTo>
                    <a:pt x="125584" y="426593"/>
                    <a:pt x="124648" y="425657"/>
                    <a:pt x="123493" y="425657"/>
                  </a:cubicBezTo>
                  <a:lnTo>
                    <a:pt x="102582" y="425657"/>
                  </a:lnTo>
                  <a:cubicBezTo>
                    <a:pt x="101427" y="425657"/>
                    <a:pt x="100491" y="426593"/>
                    <a:pt x="100491" y="427748"/>
                  </a:cubicBezTo>
                  <a:lnTo>
                    <a:pt x="100491" y="562608"/>
                  </a:lnTo>
                  <a:cubicBezTo>
                    <a:pt x="100449" y="562605"/>
                    <a:pt x="100411" y="562592"/>
                    <a:pt x="100373" y="562579"/>
                  </a:cubicBezTo>
                  <a:lnTo>
                    <a:pt x="100373" y="744942"/>
                  </a:lnTo>
                  <a:cubicBezTo>
                    <a:pt x="100373" y="772660"/>
                    <a:pt x="77904" y="795129"/>
                    <a:pt x="50187" y="795129"/>
                  </a:cubicBezTo>
                  <a:cubicBezTo>
                    <a:pt x="22469" y="795129"/>
                    <a:pt x="0" y="772660"/>
                    <a:pt x="0" y="744942"/>
                  </a:cubicBezTo>
                  <a:lnTo>
                    <a:pt x="0" y="429149"/>
                  </a:lnTo>
                  <a:lnTo>
                    <a:pt x="0" y="390797"/>
                  </a:lnTo>
                  <a:lnTo>
                    <a:pt x="0" y="382676"/>
                  </a:lnTo>
                  <a:cubicBezTo>
                    <a:pt x="0" y="370804"/>
                    <a:pt x="1544" y="359293"/>
                    <a:pt x="4960" y="348469"/>
                  </a:cubicBezTo>
                  <a:cubicBezTo>
                    <a:pt x="5892" y="345137"/>
                    <a:pt x="5786" y="340973"/>
                    <a:pt x="8000" y="338385"/>
                  </a:cubicBezTo>
                  <a:cubicBezTo>
                    <a:pt x="28153" y="286431"/>
                    <a:pt x="80647" y="251049"/>
                    <a:pt x="139748" y="251049"/>
                  </a:cubicBezTo>
                  <a:close/>
                  <a:moveTo>
                    <a:pt x="265942" y="0"/>
                  </a:moveTo>
                  <a:cubicBezTo>
                    <a:pt x="327064" y="0"/>
                    <a:pt x="376613" y="49549"/>
                    <a:pt x="376613" y="110671"/>
                  </a:cubicBezTo>
                  <a:cubicBezTo>
                    <a:pt x="376613" y="171793"/>
                    <a:pt x="327064" y="221342"/>
                    <a:pt x="265942" y="221342"/>
                  </a:cubicBezTo>
                  <a:cubicBezTo>
                    <a:pt x="204821" y="221342"/>
                    <a:pt x="155271" y="171793"/>
                    <a:pt x="155271" y="110671"/>
                  </a:cubicBezTo>
                  <a:cubicBezTo>
                    <a:pt x="155271" y="49549"/>
                    <a:pt x="204821" y="0"/>
                    <a:pt x="265942" y="0"/>
                  </a:cubicBezTo>
                  <a:close/>
                </a:path>
              </a:pathLst>
            </a:cu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3" tIns="121903" rIns="121903" bIns="121903" numCol="1" spcCol="0" rtlCol="0" fromWordArt="0" anchor="b" anchorCtr="0" forceAA="0" compatLnSpc="1">
              <a:prstTxWarp prst="textNoShape">
                <a:avLst/>
              </a:prstTxWarp>
              <a:noAutofit/>
            </a:bodyPr>
            <a:lstStyle/>
            <a:p>
              <a:pPr marL="0" marR="0" lvl="0" indent="0" algn="r" defTabSz="121893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351" name="Group 350"/>
            <p:cNvGrpSpPr/>
            <p:nvPr/>
          </p:nvGrpSpPr>
          <p:grpSpPr>
            <a:xfrm>
              <a:off x="4524702" y="3215449"/>
              <a:ext cx="292772" cy="237522"/>
              <a:chOff x="3348389" y="3081336"/>
              <a:chExt cx="1897027" cy="1539032"/>
            </a:xfrm>
            <a:solidFill>
              <a:schemeClr val="bg1"/>
            </a:solidFill>
          </p:grpSpPr>
          <p:sp>
            <p:nvSpPr>
              <p:cNvPr id="362" name="Rectangle 27"/>
              <p:cNvSpPr/>
              <p:nvPr>
                <p:custDataLst>
                  <p:tags r:id="rId2"/>
                </p:custDataLst>
              </p:nvPr>
            </p:nvSpPr>
            <p:spPr>
              <a:xfrm>
                <a:off x="3578420" y="3081336"/>
                <a:ext cx="1338346" cy="620713"/>
              </a:xfrm>
              <a:custGeom>
                <a:avLst/>
                <a:gdLst/>
                <a:ahLst/>
                <a:cxnLst/>
                <a:rect l="l" t="t" r="r" b="b"/>
                <a:pathLst>
                  <a:path w="1338346" h="620713">
                    <a:moveTo>
                      <a:pt x="840269" y="504504"/>
                    </a:moveTo>
                    <a:cubicBezTo>
                      <a:pt x="861880" y="504504"/>
                      <a:pt x="861880" y="504504"/>
                      <a:pt x="861880" y="504504"/>
                    </a:cubicBezTo>
                    <a:cubicBezTo>
                      <a:pt x="861880" y="504550"/>
                      <a:pt x="861735" y="559230"/>
                      <a:pt x="861574" y="620713"/>
                    </a:cubicBezTo>
                    <a:lnTo>
                      <a:pt x="840269" y="620713"/>
                    </a:lnTo>
                    <a:cubicBezTo>
                      <a:pt x="840269" y="550675"/>
                      <a:pt x="840269" y="504504"/>
                      <a:pt x="840269" y="504504"/>
                    </a:cubicBezTo>
                    <a:close/>
                    <a:moveTo>
                      <a:pt x="572741" y="504504"/>
                    </a:moveTo>
                    <a:cubicBezTo>
                      <a:pt x="572750" y="504504"/>
                      <a:pt x="573184" y="504504"/>
                      <a:pt x="594351" y="504504"/>
                    </a:cubicBezTo>
                    <a:cubicBezTo>
                      <a:pt x="594351" y="504540"/>
                      <a:pt x="594351" y="550703"/>
                      <a:pt x="594351" y="620713"/>
                    </a:cubicBezTo>
                    <a:lnTo>
                      <a:pt x="573353" y="620713"/>
                    </a:lnTo>
                    <a:cubicBezTo>
                      <a:pt x="573029" y="559204"/>
                      <a:pt x="572741" y="504504"/>
                      <a:pt x="572741" y="504504"/>
                    </a:cubicBezTo>
                    <a:close/>
                    <a:moveTo>
                      <a:pt x="0" y="0"/>
                    </a:moveTo>
                    <a:lnTo>
                      <a:pt x="1338346" y="0"/>
                    </a:lnTo>
                    <a:lnTo>
                      <a:pt x="1338346" y="620713"/>
                    </a:lnTo>
                    <a:lnTo>
                      <a:pt x="943852" y="620713"/>
                    </a:lnTo>
                    <a:cubicBezTo>
                      <a:pt x="943852" y="554439"/>
                      <a:pt x="943852" y="490317"/>
                      <a:pt x="943852" y="473149"/>
                    </a:cubicBezTo>
                    <a:cubicBezTo>
                      <a:pt x="943852" y="404008"/>
                      <a:pt x="893178" y="346926"/>
                      <a:pt x="829091" y="342906"/>
                    </a:cubicBezTo>
                    <a:cubicBezTo>
                      <a:pt x="828063" y="342906"/>
                      <a:pt x="796294" y="342906"/>
                      <a:pt x="756911" y="342906"/>
                    </a:cubicBezTo>
                    <a:cubicBezTo>
                      <a:pt x="789599" y="329244"/>
                      <a:pt x="813435" y="299308"/>
                      <a:pt x="817163" y="262684"/>
                    </a:cubicBezTo>
                    <a:lnTo>
                      <a:pt x="1041484" y="262684"/>
                    </a:lnTo>
                    <a:lnTo>
                      <a:pt x="1041484" y="235252"/>
                    </a:lnTo>
                    <a:lnTo>
                      <a:pt x="816445" y="235252"/>
                    </a:lnTo>
                    <a:cubicBezTo>
                      <a:pt x="814689" y="217709"/>
                      <a:pt x="808287" y="201587"/>
                      <a:pt x="797264" y="188956"/>
                    </a:cubicBezTo>
                    <a:lnTo>
                      <a:pt x="1041484" y="188956"/>
                    </a:lnTo>
                    <a:lnTo>
                      <a:pt x="1041484" y="161524"/>
                    </a:lnTo>
                    <a:lnTo>
                      <a:pt x="766890" y="161524"/>
                    </a:lnTo>
                    <a:cubicBezTo>
                      <a:pt x="753018" y="151689"/>
                      <a:pt x="736020" y="146846"/>
                      <a:pt x="718004" y="146846"/>
                    </a:cubicBezTo>
                    <a:cubicBezTo>
                      <a:pt x="717198" y="146846"/>
                      <a:pt x="717155" y="146846"/>
                      <a:pt x="716397" y="146846"/>
                    </a:cubicBezTo>
                    <a:cubicBezTo>
                      <a:pt x="698382" y="146846"/>
                      <a:pt x="681471" y="151688"/>
                      <a:pt x="667719" y="161524"/>
                    </a:cubicBezTo>
                    <a:lnTo>
                      <a:pt x="134227" y="161524"/>
                    </a:lnTo>
                    <a:lnTo>
                      <a:pt x="134227" y="188956"/>
                    </a:lnTo>
                    <a:lnTo>
                      <a:pt x="637636" y="188956"/>
                    </a:lnTo>
                    <a:cubicBezTo>
                      <a:pt x="626736" y="201595"/>
                      <a:pt x="620440" y="217715"/>
                      <a:pt x="618716" y="235252"/>
                    </a:cubicBezTo>
                    <a:lnTo>
                      <a:pt x="134227" y="235252"/>
                    </a:lnTo>
                    <a:lnTo>
                      <a:pt x="134227" y="262684"/>
                    </a:lnTo>
                    <a:lnTo>
                      <a:pt x="618003" y="262684"/>
                    </a:lnTo>
                    <a:cubicBezTo>
                      <a:pt x="621663" y="299305"/>
                      <a:pt x="645055" y="329243"/>
                      <a:pt x="676947" y="342906"/>
                    </a:cubicBezTo>
                    <a:cubicBezTo>
                      <a:pt x="638089" y="342906"/>
                      <a:pt x="607020" y="342906"/>
                      <a:pt x="607020" y="342906"/>
                    </a:cubicBezTo>
                    <a:cubicBezTo>
                      <a:pt x="606275" y="342906"/>
                      <a:pt x="606275" y="342906"/>
                      <a:pt x="605530" y="342906"/>
                    </a:cubicBezTo>
                    <a:cubicBezTo>
                      <a:pt x="541442" y="346926"/>
                      <a:pt x="490768" y="404008"/>
                      <a:pt x="490768" y="473149"/>
                    </a:cubicBezTo>
                    <a:cubicBezTo>
                      <a:pt x="490768" y="490317"/>
                      <a:pt x="490768" y="554439"/>
                      <a:pt x="490768" y="620713"/>
                    </a:cubicBezTo>
                    <a:lnTo>
                      <a:pt x="0" y="62071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363" name="Group 362"/>
              <p:cNvGrpSpPr>
                <a:grpSpLocks noChangeAspect="1"/>
              </p:cNvGrpSpPr>
              <p:nvPr>
                <p:custDataLst>
                  <p:tags r:id="rId3"/>
                </p:custDataLst>
              </p:nvPr>
            </p:nvGrpSpPr>
            <p:grpSpPr>
              <a:xfrm>
                <a:off x="4086300" y="3242860"/>
                <a:ext cx="418860" cy="1060704"/>
                <a:chOff x="4951413" y="542925"/>
                <a:chExt cx="2281237" cy="5776913"/>
              </a:xfrm>
              <a:grpFill/>
            </p:grpSpPr>
            <p:sp>
              <p:nvSpPr>
                <p:cNvPr id="388" name="Freeform 16"/>
                <p:cNvSpPr>
                  <a:spLocks/>
                </p:cNvSpPr>
                <p:nvPr/>
              </p:nvSpPr>
              <p:spPr bwMode="auto">
                <a:xfrm>
                  <a:off x="5619750" y="542925"/>
                  <a:ext cx="947738" cy="952498"/>
                </a:xfrm>
                <a:custGeom>
                  <a:avLst/>
                  <a:gdLst>
                    <a:gd name="T0" fmla="*/ 125 w 253"/>
                    <a:gd name="T1" fmla="*/ 254 h 254"/>
                    <a:gd name="T2" fmla="*/ 126 w 253"/>
                    <a:gd name="T3" fmla="*/ 254 h 254"/>
                    <a:gd name="T4" fmla="*/ 127 w 253"/>
                    <a:gd name="T5" fmla="*/ 254 h 254"/>
                    <a:gd name="T6" fmla="*/ 253 w 253"/>
                    <a:gd name="T7" fmla="*/ 127 h 254"/>
                    <a:gd name="T8" fmla="*/ 127 w 253"/>
                    <a:gd name="T9" fmla="*/ 0 h 254"/>
                    <a:gd name="T10" fmla="*/ 126 w 253"/>
                    <a:gd name="T11" fmla="*/ 0 h 254"/>
                    <a:gd name="T12" fmla="*/ 125 w 253"/>
                    <a:gd name="T13" fmla="*/ 0 h 254"/>
                    <a:gd name="T14" fmla="*/ 0 w 253"/>
                    <a:gd name="T15" fmla="*/ 127 h 254"/>
                    <a:gd name="T16" fmla="*/ 125 w 253"/>
                    <a:gd name="T17"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3" h="254">
                      <a:moveTo>
                        <a:pt x="125" y="254"/>
                      </a:moveTo>
                      <a:cubicBezTo>
                        <a:pt x="126" y="254"/>
                        <a:pt x="126" y="254"/>
                        <a:pt x="126" y="254"/>
                      </a:cubicBezTo>
                      <a:cubicBezTo>
                        <a:pt x="126" y="254"/>
                        <a:pt x="127" y="254"/>
                        <a:pt x="127" y="254"/>
                      </a:cubicBezTo>
                      <a:cubicBezTo>
                        <a:pt x="196" y="254"/>
                        <a:pt x="253" y="198"/>
                        <a:pt x="253" y="127"/>
                      </a:cubicBezTo>
                      <a:cubicBezTo>
                        <a:pt x="253" y="57"/>
                        <a:pt x="196" y="0"/>
                        <a:pt x="127" y="0"/>
                      </a:cubicBezTo>
                      <a:cubicBezTo>
                        <a:pt x="127" y="0"/>
                        <a:pt x="126" y="0"/>
                        <a:pt x="126" y="0"/>
                      </a:cubicBezTo>
                      <a:cubicBezTo>
                        <a:pt x="126" y="0"/>
                        <a:pt x="126" y="0"/>
                        <a:pt x="125" y="0"/>
                      </a:cubicBezTo>
                      <a:cubicBezTo>
                        <a:pt x="56" y="0"/>
                        <a:pt x="0" y="57"/>
                        <a:pt x="0" y="127"/>
                      </a:cubicBezTo>
                      <a:cubicBezTo>
                        <a:pt x="0" y="198"/>
                        <a:pt x="56" y="254"/>
                        <a:pt x="125" y="25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9" name="Freeform 17"/>
                <p:cNvSpPr>
                  <a:spLocks/>
                </p:cNvSpPr>
                <p:nvPr/>
              </p:nvSpPr>
              <p:spPr bwMode="auto">
                <a:xfrm>
                  <a:off x="4951413" y="1614490"/>
                  <a:ext cx="2281237" cy="4705348"/>
                </a:xfrm>
                <a:custGeom>
                  <a:avLst/>
                  <a:gdLst>
                    <a:gd name="T0" fmla="*/ 454 w 608"/>
                    <a:gd name="T1" fmla="*/ 0 h 1255"/>
                    <a:gd name="T2" fmla="*/ 453 w 608"/>
                    <a:gd name="T3" fmla="*/ 0 h 1255"/>
                    <a:gd name="T4" fmla="*/ 156 w 608"/>
                    <a:gd name="T5" fmla="*/ 0 h 1255"/>
                    <a:gd name="T6" fmla="*/ 154 w 608"/>
                    <a:gd name="T7" fmla="*/ 0 h 1255"/>
                    <a:gd name="T8" fmla="*/ 0 w 608"/>
                    <a:gd name="T9" fmla="*/ 162 h 1255"/>
                    <a:gd name="T10" fmla="*/ 0 w 608"/>
                    <a:gd name="T11" fmla="*/ 556 h 1255"/>
                    <a:gd name="T12" fmla="*/ 53 w 608"/>
                    <a:gd name="T13" fmla="*/ 611 h 1255"/>
                    <a:gd name="T14" fmla="*/ 56 w 608"/>
                    <a:gd name="T15" fmla="*/ 611 h 1255"/>
                    <a:gd name="T16" fmla="*/ 56 w 608"/>
                    <a:gd name="T17" fmla="*/ 611 h 1255"/>
                    <a:gd name="T18" fmla="*/ 56 w 608"/>
                    <a:gd name="T19" fmla="*/ 611 h 1255"/>
                    <a:gd name="T20" fmla="*/ 72 w 608"/>
                    <a:gd name="T21" fmla="*/ 609 h 1255"/>
                    <a:gd name="T22" fmla="*/ 112 w 608"/>
                    <a:gd name="T23" fmla="*/ 556 h 1255"/>
                    <a:gd name="T24" fmla="*/ 110 w 608"/>
                    <a:gd name="T25" fmla="*/ 201 h 1255"/>
                    <a:gd name="T26" fmla="*/ 139 w 608"/>
                    <a:gd name="T27" fmla="*/ 201 h 1255"/>
                    <a:gd name="T28" fmla="*/ 139 w 608"/>
                    <a:gd name="T29" fmla="*/ 1182 h 1255"/>
                    <a:gd name="T30" fmla="*/ 214 w 608"/>
                    <a:gd name="T31" fmla="*/ 1255 h 1255"/>
                    <a:gd name="T32" fmla="*/ 215 w 608"/>
                    <a:gd name="T33" fmla="*/ 1255 h 1255"/>
                    <a:gd name="T34" fmla="*/ 216 w 608"/>
                    <a:gd name="T35" fmla="*/ 1255 h 1255"/>
                    <a:gd name="T36" fmla="*/ 290 w 608"/>
                    <a:gd name="T37" fmla="*/ 1182 h 1255"/>
                    <a:gd name="T38" fmla="*/ 290 w 608"/>
                    <a:gd name="T39" fmla="*/ 614 h 1255"/>
                    <a:gd name="T40" fmla="*/ 318 w 608"/>
                    <a:gd name="T41" fmla="*/ 614 h 1255"/>
                    <a:gd name="T42" fmla="*/ 318 w 608"/>
                    <a:gd name="T43" fmla="*/ 1182 h 1255"/>
                    <a:gd name="T44" fmla="*/ 393 w 608"/>
                    <a:gd name="T45" fmla="*/ 1255 h 1255"/>
                    <a:gd name="T46" fmla="*/ 393 w 608"/>
                    <a:gd name="T47" fmla="*/ 1255 h 1255"/>
                    <a:gd name="T48" fmla="*/ 394 w 608"/>
                    <a:gd name="T49" fmla="*/ 1255 h 1255"/>
                    <a:gd name="T50" fmla="*/ 469 w 608"/>
                    <a:gd name="T51" fmla="*/ 1182 h 1255"/>
                    <a:gd name="T52" fmla="*/ 469 w 608"/>
                    <a:gd name="T53" fmla="*/ 201 h 1255"/>
                    <a:gd name="T54" fmla="*/ 498 w 608"/>
                    <a:gd name="T55" fmla="*/ 201 h 1255"/>
                    <a:gd name="T56" fmla="*/ 497 w 608"/>
                    <a:gd name="T57" fmla="*/ 556 h 1255"/>
                    <a:gd name="T58" fmla="*/ 537 w 608"/>
                    <a:gd name="T59" fmla="*/ 609 h 1255"/>
                    <a:gd name="T60" fmla="*/ 552 w 608"/>
                    <a:gd name="T61" fmla="*/ 611 h 1255"/>
                    <a:gd name="T62" fmla="*/ 552 w 608"/>
                    <a:gd name="T63" fmla="*/ 611 h 1255"/>
                    <a:gd name="T64" fmla="*/ 552 w 608"/>
                    <a:gd name="T65" fmla="*/ 611 h 1255"/>
                    <a:gd name="T66" fmla="*/ 555 w 608"/>
                    <a:gd name="T67" fmla="*/ 611 h 1255"/>
                    <a:gd name="T68" fmla="*/ 608 w 608"/>
                    <a:gd name="T69" fmla="*/ 556 h 1255"/>
                    <a:gd name="T70" fmla="*/ 608 w 608"/>
                    <a:gd name="T71" fmla="*/ 162 h 1255"/>
                    <a:gd name="T72" fmla="*/ 454 w 608"/>
                    <a:gd name="T73" fmla="*/ 0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8" h="1255">
                      <a:moveTo>
                        <a:pt x="454" y="0"/>
                      </a:moveTo>
                      <a:cubicBezTo>
                        <a:pt x="454" y="0"/>
                        <a:pt x="453" y="0"/>
                        <a:pt x="453" y="0"/>
                      </a:cubicBezTo>
                      <a:cubicBezTo>
                        <a:pt x="452" y="0"/>
                        <a:pt x="156" y="0"/>
                        <a:pt x="156" y="0"/>
                      </a:cubicBezTo>
                      <a:cubicBezTo>
                        <a:pt x="155" y="0"/>
                        <a:pt x="155" y="0"/>
                        <a:pt x="154" y="0"/>
                      </a:cubicBezTo>
                      <a:cubicBezTo>
                        <a:pt x="68" y="5"/>
                        <a:pt x="0" y="76"/>
                        <a:pt x="0" y="162"/>
                      </a:cubicBezTo>
                      <a:cubicBezTo>
                        <a:pt x="0" y="208"/>
                        <a:pt x="0" y="525"/>
                        <a:pt x="0" y="556"/>
                      </a:cubicBezTo>
                      <a:cubicBezTo>
                        <a:pt x="0" y="585"/>
                        <a:pt x="24" y="610"/>
                        <a:pt x="53" y="611"/>
                      </a:cubicBezTo>
                      <a:cubicBezTo>
                        <a:pt x="54" y="611"/>
                        <a:pt x="55" y="611"/>
                        <a:pt x="56" y="611"/>
                      </a:cubicBezTo>
                      <a:cubicBezTo>
                        <a:pt x="56" y="611"/>
                        <a:pt x="56" y="611"/>
                        <a:pt x="56" y="611"/>
                      </a:cubicBezTo>
                      <a:cubicBezTo>
                        <a:pt x="56" y="611"/>
                        <a:pt x="56" y="611"/>
                        <a:pt x="56" y="611"/>
                      </a:cubicBezTo>
                      <a:cubicBezTo>
                        <a:pt x="62" y="611"/>
                        <a:pt x="67" y="610"/>
                        <a:pt x="72" y="609"/>
                      </a:cubicBezTo>
                      <a:cubicBezTo>
                        <a:pt x="95" y="602"/>
                        <a:pt x="112" y="581"/>
                        <a:pt x="112" y="556"/>
                      </a:cubicBezTo>
                      <a:cubicBezTo>
                        <a:pt x="112" y="552"/>
                        <a:pt x="110" y="201"/>
                        <a:pt x="110" y="201"/>
                      </a:cubicBezTo>
                      <a:cubicBezTo>
                        <a:pt x="110" y="201"/>
                        <a:pt x="110" y="201"/>
                        <a:pt x="139" y="201"/>
                      </a:cubicBezTo>
                      <a:cubicBezTo>
                        <a:pt x="139" y="201"/>
                        <a:pt x="139" y="1120"/>
                        <a:pt x="139" y="1182"/>
                      </a:cubicBezTo>
                      <a:cubicBezTo>
                        <a:pt x="139" y="1223"/>
                        <a:pt x="173" y="1255"/>
                        <a:pt x="214" y="1255"/>
                      </a:cubicBezTo>
                      <a:cubicBezTo>
                        <a:pt x="214" y="1255"/>
                        <a:pt x="215" y="1255"/>
                        <a:pt x="215" y="1255"/>
                      </a:cubicBezTo>
                      <a:cubicBezTo>
                        <a:pt x="215" y="1255"/>
                        <a:pt x="215" y="1255"/>
                        <a:pt x="216" y="1255"/>
                      </a:cubicBezTo>
                      <a:cubicBezTo>
                        <a:pt x="257" y="1255"/>
                        <a:pt x="290" y="1223"/>
                        <a:pt x="290" y="1182"/>
                      </a:cubicBezTo>
                      <a:cubicBezTo>
                        <a:pt x="290" y="1120"/>
                        <a:pt x="290" y="614"/>
                        <a:pt x="290" y="614"/>
                      </a:cubicBezTo>
                      <a:cubicBezTo>
                        <a:pt x="293" y="614"/>
                        <a:pt x="299" y="614"/>
                        <a:pt x="318" y="614"/>
                      </a:cubicBezTo>
                      <a:cubicBezTo>
                        <a:pt x="318" y="614"/>
                        <a:pt x="318" y="1120"/>
                        <a:pt x="318" y="1182"/>
                      </a:cubicBezTo>
                      <a:cubicBezTo>
                        <a:pt x="318" y="1223"/>
                        <a:pt x="352" y="1255"/>
                        <a:pt x="393" y="1255"/>
                      </a:cubicBezTo>
                      <a:cubicBezTo>
                        <a:pt x="393" y="1255"/>
                        <a:pt x="393" y="1255"/>
                        <a:pt x="393" y="1255"/>
                      </a:cubicBezTo>
                      <a:cubicBezTo>
                        <a:pt x="394" y="1255"/>
                        <a:pt x="394" y="1255"/>
                        <a:pt x="394" y="1255"/>
                      </a:cubicBezTo>
                      <a:cubicBezTo>
                        <a:pt x="435" y="1255"/>
                        <a:pt x="469" y="1223"/>
                        <a:pt x="469" y="1182"/>
                      </a:cubicBezTo>
                      <a:cubicBezTo>
                        <a:pt x="469" y="1120"/>
                        <a:pt x="469" y="201"/>
                        <a:pt x="469" y="201"/>
                      </a:cubicBezTo>
                      <a:cubicBezTo>
                        <a:pt x="498" y="201"/>
                        <a:pt x="498" y="201"/>
                        <a:pt x="498" y="201"/>
                      </a:cubicBezTo>
                      <a:cubicBezTo>
                        <a:pt x="498" y="201"/>
                        <a:pt x="497" y="552"/>
                        <a:pt x="497" y="556"/>
                      </a:cubicBezTo>
                      <a:cubicBezTo>
                        <a:pt x="497" y="581"/>
                        <a:pt x="514" y="602"/>
                        <a:pt x="537" y="609"/>
                      </a:cubicBezTo>
                      <a:cubicBezTo>
                        <a:pt x="541" y="610"/>
                        <a:pt x="547" y="611"/>
                        <a:pt x="552" y="611"/>
                      </a:cubicBezTo>
                      <a:cubicBezTo>
                        <a:pt x="552" y="611"/>
                        <a:pt x="552" y="611"/>
                        <a:pt x="552" y="611"/>
                      </a:cubicBezTo>
                      <a:cubicBezTo>
                        <a:pt x="552" y="611"/>
                        <a:pt x="552" y="611"/>
                        <a:pt x="552" y="611"/>
                      </a:cubicBezTo>
                      <a:cubicBezTo>
                        <a:pt x="553" y="611"/>
                        <a:pt x="554" y="611"/>
                        <a:pt x="555" y="611"/>
                      </a:cubicBezTo>
                      <a:cubicBezTo>
                        <a:pt x="585" y="610"/>
                        <a:pt x="608" y="585"/>
                        <a:pt x="608" y="556"/>
                      </a:cubicBezTo>
                      <a:cubicBezTo>
                        <a:pt x="608" y="525"/>
                        <a:pt x="608" y="208"/>
                        <a:pt x="608" y="162"/>
                      </a:cubicBezTo>
                      <a:cubicBezTo>
                        <a:pt x="608" y="76"/>
                        <a:pt x="540" y="5"/>
                        <a:pt x="45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grpSp>
            <p:nvGrpSpPr>
              <p:cNvPr id="364" name="Group 363"/>
              <p:cNvGrpSpPr/>
              <p:nvPr/>
            </p:nvGrpSpPr>
            <p:grpSpPr>
              <a:xfrm>
                <a:off x="3348389" y="3871587"/>
                <a:ext cx="365208" cy="748781"/>
                <a:chOff x="3485273" y="3773212"/>
                <a:chExt cx="365208" cy="748781"/>
              </a:xfrm>
              <a:grpFill/>
            </p:grpSpPr>
            <p:sp>
              <p:nvSpPr>
                <p:cNvPr id="383" name="Freeform 16"/>
                <p:cNvSpPr>
                  <a:spLocks/>
                </p:cNvSpPr>
                <p:nvPr/>
              </p:nvSpPr>
              <p:spPr bwMode="auto">
                <a:xfrm>
                  <a:off x="3523667" y="3773212"/>
                  <a:ext cx="302098" cy="222792"/>
                </a:xfrm>
                <a:custGeom>
                  <a:avLst/>
                  <a:gdLst/>
                  <a:ahLst/>
                  <a:cxnLst/>
                  <a:rect l="l" t="t" r="r" b="b"/>
                  <a:pathLst>
                    <a:path w="302098" h="222792">
                      <a:moveTo>
                        <a:pt x="75636" y="142523"/>
                      </a:moveTo>
                      <a:cubicBezTo>
                        <a:pt x="76135" y="142523"/>
                        <a:pt x="76135" y="142523"/>
                        <a:pt x="76634" y="142523"/>
                      </a:cubicBezTo>
                      <a:cubicBezTo>
                        <a:pt x="76694" y="142523"/>
                        <a:pt x="224350" y="142523"/>
                        <a:pt x="224849" y="142523"/>
                      </a:cubicBezTo>
                      <a:cubicBezTo>
                        <a:pt x="268091" y="145006"/>
                        <a:pt x="301927" y="180138"/>
                        <a:pt x="302098" y="222792"/>
                      </a:cubicBezTo>
                      <a:lnTo>
                        <a:pt x="282652" y="214737"/>
                      </a:lnTo>
                      <a:lnTo>
                        <a:pt x="5768" y="214737"/>
                      </a:lnTo>
                      <a:lnTo>
                        <a:pt x="0" y="217126"/>
                      </a:lnTo>
                      <a:cubicBezTo>
                        <a:pt x="2137" y="177026"/>
                        <a:pt x="34825" y="144894"/>
                        <a:pt x="75636" y="142523"/>
                      </a:cubicBezTo>
                      <a:close/>
                      <a:moveTo>
                        <a:pt x="149956" y="0"/>
                      </a:moveTo>
                      <a:cubicBezTo>
                        <a:pt x="185331" y="0"/>
                        <a:pt x="213730" y="28430"/>
                        <a:pt x="213730" y="63344"/>
                      </a:cubicBezTo>
                      <a:cubicBezTo>
                        <a:pt x="213730" y="98756"/>
                        <a:pt x="185331" y="126687"/>
                        <a:pt x="150952" y="126687"/>
                      </a:cubicBezTo>
                      <a:cubicBezTo>
                        <a:pt x="115577" y="126687"/>
                        <a:pt x="87676" y="98756"/>
                        <a:pt x="87676" y="63344"/>
                      </a:cubicBezTo>
                      <a:cubicBezTo>
                        <a:pt x="87676" y="28430"/>
                        <a:pt x="115577" y="0"/>
                        <a:pt x="1499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4" name="Round Same Side Corner Rectangle 734"/>
                <p:cNvSpPr/>
                <p:nvPr/>
              </p:nvSpPr>
              <p:spPr>
                <a:xfrm>
                  <a:off x="3485273" y="4008241"/>
                  <a:ext cx="365208" cy="26496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5" name="Rectangle 384"/>
                <p:cNvSpPr/>
                <p:nvPr/>
              </p:nvSpPr>
              <p:spPr>
                <a:xfrm>
                  <a:off x="3485273" y="4296719"/>
                  <a:ext cx="365208" cy="5179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6" name="Rectangle 385"/>
                <p:cNvSpPr/>
                <p:nvPr/>
              </p:nvSpPr>
              <p:spPr>
                <a:xfrm>
                  <a:off x="3645018" y="4348509"/>
                  <a:ext cx="45719" cy="1282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7" name="Isosceles Triangle 386"/>
                <p:cNvSpPr/>
                <p:nvPr/>
              </p:nvSpPr>
              <p:spPr>
                <a:xfrm>
                  <a:off x="3578981" y="4448174"/>
                  <a:ext cx="177792" cy="738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grpSp>
            <p:nvGrpSpPr>
              <p:cNvPr id="365" name="Group 364"/>
              <p:cNvGrpSpPr/>
              <p:nvPr/>
            </p:nvGrpSpPr>
            <p:grpSpPr>
              <a:xfrm>
                <a:off x="3766375" y="3871587"/>
                <a:ext cx="365208" cy="748781"/>
                <a:chOff x="3485273" y="3773212"/>
                <a:chExt cx="365208" cy="748781"/>
              </a:xfrm>
              <a:grpFill/>
            </p:grpSpPr>
            <p:sp>
              <p:nvSpPr>
                <p:cNvPr id="378" name="Freeform 16"/>
                <p:cNvSpPr>
                  <a:spLocks/>
                </p:cNvSpPr>
                <p:nvPr/>
              </p:nvSpPr>
              <p:spPr bwMode="auto">
                <a:xfrm>
                  <a:off x="3523667" y="3773212"/>
                  <a:ext cx="302098" cy="222792"/>
                </a:xfrm>
                <a:custGeom>
                  <a:avLst/>
                  <a:gdLst/>
                  <a:ahLst/>
                  <a:cxnLst/>
                  <a:rect l="l" t="t" r="r" b="b"/>
                  <a:pathLst>
                    <a:path w="302098" h="222792">
                      <a:moveTo>
                        <a:pt x="75636" y="142523"/>
                      </a:moveTo>
                      <a:cubicBezTo>
                        <a:pt x="76135" y="142523"/>
                        <a:pt x="76135" y="142523"/>
                        <a:pt x="76634" y="142523"/>
                      </a:cubicBezTo>
                      <a:cubicBezTo>
                        <a:pt x="76694" y="142523"/>
                        <a:pt x="224350" y="142523"/>
                        <a:pt x="224849" y="142523"/>
                      </a:cubicBezTo>
                      <a:cubicBezTo>
                        <a:pt x="268091" y="145006"/>
                        <a:pt x="301927" y="180138"/>
                        <a:pt x="302098" y="222792"/>
                      </a:cubicBezTo>
                      <a:lnTo>
                        <a:pt x="282652" y="214737"/>
                      </a:lnTo>
                      <a:lnTo>
                        <a:pt x="5768" y="214737"/>
                      </a:lnTo>
                      <a:lnTo>
                        <a:pt x="0" y="217126"/>
                      </a:lnTo>
                      <a:cubicBezTo>
                        <a:pt x="2137" y="177026"/>
                        <a:pt x="34825" y="144894"/>
                        <a:pt x="75636" y="142523"/>
                      </a:cubicBezTo>
                      <a:close/>
                      <a:moveTo>
                        <a:pt x="149956" y="0"/>
                      </a:moveTo>
                      <a:cubicBezTo>
                        <a:pt x="185331" y="0"/>
                        <a:pt x="213730" y="28430"/>
                        <a:pt x="213730" y="63344"/>
                      </a:cubicBezTo>
                      <a:cubicBezTo>
                        <a:pt x="213730" y="98756"/>
                        <a:pt x="185331" y="126687"/>
                        <a:pt x="150952" y="126687"/>
                      </a:cubicBezTo>
                      <a:cubicBezTo>
                        <a:pt x="115577" y="126687"/>
                        <a:pt x="87676" y="98756"/>
                        <a:pt x="87676" y="63344"/>
                      </a:cubicBezTo>
                      <a:cubicBezTo>
                        <a:pt x="87676" y="28430"/>
                        <a:pt x="115577" y="0"/>
                        <a:pt x="1499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79" name="Round Same Side Corner Rectangle 729"/>
                <p:cNvSpPr/>
                <p:nvPr/>
              </p:nvSpPr>
              <p:spPr>
                <a:xfrm>
                  <a:off x="3485273" y="4008241"/>
                  <a:ext cx="365208" cy="26496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0" name="Rectangle 379"/>
                <p:cNvSpPr/>
                <p:nvPr/>
              </p:nvSpPr>
              <p:spPr>
                <a:xfrm>
                  <a:off x="3485273" y="4296719"/>
                  <a:ext cx="365208" cy="5179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1" name="Rectangle 380"/>
                <p:cNvSpPr/>
                <p:nvPr/>
              </p:nvSpPr>
              <p:spPr>
                <a:xfrm>
                  <a:off x="3645018" y="4348509"/>
                  <a:ext cx="45719" cy="1282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82" name="Isosceles Triangle 381"/>
                <p:cNvSpPr/>
                <p:nvPr/>
              </p:nvSpPr>
              <p:spPr>
                <a:xfrm>
                  <a:off x="3578981" y="4448174"/>
                  <a:ext cx="177792" cy="738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grpSp>
            <p:nvGrpSpPr>
              <p:cNvPr id="366" name="Group 365"/>
              <p:cNvGrpSpPr/>
              <p:nvPr/>
            </p:nvGrpSpPr>
            <p:grpSpPr>
              <a:xfrm>
                <a:off x="4462019" y="3871587"/>
                <a:ext cx="365208" cy="748781"/>
                <a:chOff x="3485273" y="3773212"/>
                <a:chExt cx="365208" cy="748781"/>
              </a:xfrm>
              <a:grpFill/>
            </p:grpSpPr>
            <p:sp>
              <p:nvSpPr>
                <p:cNvPr id="373" name="Freeform 16"/>
                <p:cNvSpPr>
                  <a:spLocks/>
                </p:cNvSpPr>
                <p:nvPr/>
              </p:nvSpPr>
              <p:spPr bwMode="auto">
                <a:xfrm>
                  <a:off x="3523667" y="3773212"/>
                  <a:ext cx="302098" cy="222792"/>
                </a:xfrm>
                <a:custGeom>
                  <a:avLst/>
                  <a:gdLst/>
                  <a:ahLst/>
                  <a:cxnLst/>
                  <a:rect l="l" t="t" r="r" b="b"/>
                  <a:pathLst>
                    <a:path w="302098" h="222792">
                      <a:moveTo>
                        <a:pt x="75636" y="142523"/>
                      </a:moveTo>
                      <a:cubicBezTo>
                        <a:pt x="76135" y="142523"/>
                        <a:pt x="76135" y="142523"/>
                        <a:pt x="76634" y="142523"/>
                      </a:cubicBezTo>
                      <a:cubicBezTo>
                        <a:pt x="76694" y="142523"/>
                        <a:pt x="224350" y="142523"/>
                        <a:pt x="224849" y="142523"/>
                      </a:cubicBezTo>
                      <a:cubicBezTo>
                        <a:pt x="268091" y="145006"/>
                        <a:pt x="301927" y="180138"/>
                        <a:pt x="302098" y="222792"/>
                      </a:cubicBezTo>
                      <a:lnTo>
                        <a:pt x="282652" y="214737"/>
                      </a:lnTo>
                      <a:lnTo>
                        <a:pt x="5768" y="214737"/>
                      </a:lnTo>
                      <a:lnTo>
                        <a:pt x="0" y="217126"/>
                      </a:lnTo>
                      <a:cubicBezTo>
                        <a:pt x="2137" y="177026"/>
                        <a:pt x="34825" y="144894"/>
                        <a:pt x="75636" y="142523"/>
                      </a:cubicBezTo>
                      <a:close/>
                      <a:moveTo>
                        <a:pt x="149956" y="0"/>
                      </a:moveTo>
                      <a:cubicBezTo>
                        <a:pt x="185331" y="0"/>
                        <a:pt x="213730" y="28430"/>
                        <a:pt x="213730" y="63344"/>
                      </a:cubicBezTo>
                      <a:cubicBezTo>
                        <a:pt x="213730" y="98756"/>
                        <a:pt x="185331" y="126687"/>
                        <a:pt x="150952" y="126687"/>
                      </a:cubicBezTo>
                      <a:cubicBezTo>
                        <a:pt x="115577" y="126687"/>
                        <a:pt x="87676" y="98756"/>
                        <a:pt x="87676" y="63344"/>
                      </a:cubicBezTo>
                      <a:cubicBezTo>
                        <a:pt x="87676" y="28430"/>
                        <a:pt x="115577" y="0"/>
                        <a:pt x="1499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74" name="Round Same Side Corner Rectangle 724"/>
                <p:cNvSpPr/>
                <p:nvPr/>
              </p:nvSpPr>
              <p:spPr>
                <a:xfrm>
                  <a:off x="3485273" y="4008241"/>
                  <a:ext cx="365208" cy="26496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75" name="Rectangle 374"/>
                <p:cNvSpPr/>
                <p:nvPr/>
              </p:nvSpPr>
              <p:spPr>
                <a:xfrm>
                  <a:off x="3485273" y="4296719"/>
                  <a:ext cx="365208" cy="5179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76" name="Rectangle 375"/>
                <p:cNvSpPr/>
                <p:nvPr/>
              </p:nvSpPr>
              <p:spPr>
                <a:xfrm>
                  <a:off x="3645018" y="4348509"/>
                  <a:ext cx="45719" cy="1282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77" name="Isosceles Triangle 376"/>
                <p:cNvSpPr/>
                <p:nvPr/>
              </p:nvSpPr>
              <p:spPr>
                <a:xfrm>
                  <a:off x="3578981" y="4448174"/>
                  <a:ext cx="177792" cy="738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grpSp>
            <p:nvGrpSpPr>
              <p:cNvPr id="367" name="Group 366"/>
              <p:cNvGrpSpPr/>
              <p:nvPr/>
            </p:nvGrpSpPr>
            <p:grpSpPr>
              <a:xfrm>
                <a:off x="4880208" y="3871587"/>
                <a:ext cx="365208" cy="748781"/>
                <a:chOff x="3485273" y="3773212"/>
                <a:chExt cx="365208" cy="748781"/>
              </a:xfrm>
              <a:grpFill/>
            </p:grpSpPr>
            <p:sp>
              <p:nvSpPr>
                <p:cNvPr id="368" name="Freeform 16"/>
                <p:cNvSpPr>
                  <a:spLocks/>
                </p:cNvSpPr>
                <p:nvPr/>
              </p:nvSpPr>
              <p:spPr bwMode="auto">
                <a:xfrm>
                  <a:off x="3523667" y="3773212"/>
                  <a:ext cx="302098" cy="222792"/>
                </a:xfrm>
                <a:custGeom>
                  <a:avLst/>
                  <a:gdLst/>
                  <a:ahLst/>
                  <a:cxnLst/>
                  <a:rect l="l" t="t" r="r" b="b"/>
                  <a:pathLst>
                    <a:path w="302098" h="222792">
                      <a:moveTo>
                        <a:pt x="75636" y="142523"/>
                      </a:moveTo>
                      <a:cubicBezTo>
                        <a:pt x="76135" y="142523"/>
                        <a:pt x="76135" y="142523"/>
                        <a:pt x="76634" y="142523"/>
                      </a:cubicBezTo>
                      <a:cubicBezTo>
                        <a:pt x="76694" y="142523"/>
                        <a:pt x="224350" y="142523"/>
                        <a:pt x="224849" y="142523"/>
                      </a:cubicBezTo>
                      <a:cubicBezTo>
                        <a:pt x="268091" y="145006"/>
                        <a:pt x="301927" y="180138"/>
                        <a:pt x="302098" y="222792"/>
                      </a:cubicBezTo>
                      <a:lnTo>
                        <a:pt x="282652" y="214737"/>
                      </a:lnTo>
                      <a:lnTo>
                        <a:pt x="5768" y="214737"/>
                      </a:lnTo>
                      <a:lnTo>
                        <a:pt x="0" y="217126"/>
                      </a:lnTo>
                      <a:cubicBezTo>
                        <a:pt x="2137" y="177026"/>
                        <a:pt x="34825" y="144894"/>
                        <a:pt x="75636" y="142523"/>
                      </a:cubicBezTo>
                      <a:close/>
                      <a:moveTo>
                        <a:pt x="149956" y="0"/>
                      </a:moveTo>
                      <a:cubicBezTo>
                        <a:pt x="185331" y="0"/>
                        <a:pt x="213730" y="28430"/>
                        <a:pt x="213730" y="63344"/>
                      </a:cubicBezTo>
                      <a:cubicBezTo>
                        <a:pt x="213730" y="98756"/>
                        <a:pt x="185331" y="126687"/>
                        <a:pt x="150952" y="126687"/>
                      </a:cubicBezTo>
                      <a:cubicBezTo>
                        <a:pt x="115577" y="126687"/>
                        <a:pt x="87676" y="98756"/>
                        <a:pt x="87676" y="63344"/>
                      </a:cubicBezTo>
                      <a:cubicBezTo>
                        <a:pt x="87676" y="28430"/>
                        <a:pt x="115577" y="0"/>
                        <a:pt x="1499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69" name="Round Same Side Corner Rectangle 719"/>
                <p:cNvSpPr/>
                <p:nvPr/>
              </p:nvSpPr>
              <p:spPr>
                <a:xfrm>
                  <a:off x="3485273" y="4008241"/>
                  <a:ext cx="365208" cy="264964"/>
                </a:xfrm>
                <a:prstGeom prst="round2Same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70" name="Rectangle 369"/>
                <p:cNvSpPr/>
                <p:nvPr/>
              </p:nvSpPr>
              <p:spPr>
                <a:xfrm>
                  <a:off x="3485273" y="4296719"/>
                  <a:ext cx="365208" cy="5179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71" name="Rectangle 370"/>
                <p:cNvSpPr/>
                <p:nvPr/>
              </p:nvSpPr>
              <p:spPr>
                <a:xfrm>
                  <a:off x="3645018" y="4348509"/>
                  <a:ext cx="45719" cy="1282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72" name="Isosceles Triangle 371"/>
                <p:cNvSpPr/>
                <p:nvPr/>
              </p:nvSpPr>
              <p:spPr>
                <a:xfrm>
                  <a:off x="3578981" y="4448174"/>
                  <a:ext cx="177792" cy="7381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grpSp>
        <p:sp>
          <p:nvSpPr>
            <p:cNvPr id="352" name="Freeform 48"/>
            <p:cNvSpPr/>
            <p:nvPr/>
          </p:nvSpPr>
          <p:spPr bwMode="auto">
            <a:xfrm flipH="1">
              <a:off x="4527077" y="3805012"/>
              <a:ext cx="288022" cy="157607"/>
            </a:xfrm>
            <a:custGeom>
              <a:avLst/>
              <a:gdLst>
                <a:gd name="connsiteX0" fmla="*/ 3967828 w 4339148"/>
                <a:gd name="connsiteY0" fmla="*/ 956040 h 2374398"/>
                <a:gd name="connsiteX1" fmla="*/ 3548018 w 4339148"/>
                <a:gd name="connsiteY1" fmla="*/ 1269012 h 2374398"/>
                <a:gd name="connsiteX2" fmla="*/ 3611978 w 4339148"/>
                <a:gd name="connsiteY2" fmla="*/ 1354544 h 2374398"/>
                <a:gd name="connsiteX3" fmla="*/ 3843046 w 4339148"/>
                <a:gd name="connsiteY3" fmla="*/ 2111011 h 2374398"/>
                <a:gd name="connsiteX4" fmla="*/ 3840047 w 4339148"/>
                <a:gd name="connsiteY4" fmla="*/ 2170400 h 2374398"/>
                <a:gd name="connsiteX5" fmla="*/ 4339148 w 4339148"/>
                <a:gd name="connsiteY5" fmla="*/ 2170400 h 2374398"/>
                <a:gd name="connsiteX6" fmla="*/ 3968478 w 4339148"/>
                <a:gd name="connsiteY6" fmla="*/ 956909 h 2374398"/>
                <a:gd name="connsiteX7" fmla="*/ 485438 w 4339148"/>
                <a:gd name="connsiteY7" fmla="*/ 801223 h 2374398"/>
                <a:gd name="connsiteX8" fmla="*/ 369018 w 4339148"/>
                <a:gd name="connsiteY8" fmla="*/ 956909 h 2374398"/>
                <a:gd name="connsiteX9" fmla="*/ 9554 w 4339148"/>
                <a:gd name="connsiteY9" fmla="*/ 1948489 h 2374398"/>
                <a:gd name="connsiteX10" fmla="*/ 0 w 4339148"/>
                <a:gd name="connsiteY10" fmla="*/ 2137677 h 2374398"/>
                <a:gd name="connsiteX11" fmla="*/ 1645 w 4339148"/>
                <a:gd name="connsiteY11" fmla="*/ 2170400 h 2374398"/>
                <a:gd name="connsiteX12" fmla="*/ 1140073 w 4339148"/>
                <a:gd name="connsiteY12" fmla="*/ 2170400 h 2374398"/>
                <a:gd name="connsiteX13" fmla="*/ 1137074 w 4339148"/>
                <a:gd name="connsiteY13" fmla="*/ 2111011 h 2374398"/>
                <a:gd name="connsiteX14" fmla="*/ 1144059 w 4339148"/>
                <a:gd name="connsiteY14" fmla="*/ 1972676 h 2374398"/>
                <a:gd name="connsiteX15" fmla="*/ 1147816 w 4339148"/>
                <a:gd name="connsiteY15" fmla="*/ 1948060 h 2374398"/>
                <a:gd name="connsiteX16" fmla="*/ 375579 w 4339148"/>
                <a:gd name="connsiteY16" fmla="*/ 1573633 h 2374398"/>
                <a:gd name="connsiteX17" fmla="*/ 590050 w 4339148"/>
                <a:gd name="connsiteY17" fmla="*/ 1632573 h 2374398"/>
                <a:gd name="connsiteX18" fmla="*/ 590046 w 4339148"/>
                <a:gd name="connsiteY18" fmla="*/ 1632573 h 2374398"/>
                <a:gd name="connsiteX19" fmla="*/ 1006830 w 4339148"/>
                <a:gd name="connsiteY19" fmla="*/ 1747111 h 2374398"/>
                <a:gd name="connsiteX20" fmla="*/ 1176060 w 4339148"/>
                <a:gd name="connsiteY20" fmla="*/ 1793618 h 2374398"/>
                <a:gd name="connsiteX21" fmla="*/ 1176060 w 4339148"/>
                <a:gd name="connsiteY21" fmla="*/ 1793618 h 2374398"/>
                <a:gd name="connsiteX22" fmla="*/ 2154377 w 4339148"/>
                <a:gd name="connsiteY22" fmla="*/ 2062474 h 2374398"/>
                <a:gd name="connsiteX23" fmla="*/ 2154378 w 4339148"/>
                <a:gd name="connsiteY23" fmla="*/ 2062475 h 2374398"/>
                <a:gd name="connsiteX24" fmla="*/ 590046 w 4339148"/>
                <a:gd name="connsiteY24" fmla="*/ 1632574 h 2374398"/>
                <a:gd name="connsiteX25" fmla="*/ 2158838 w 4339148"/>
                <a:gd name="connsiteY25" fmla="*/ 2316323 h 2374398"/>
                <a:gd name="connsiteX26" fmla="*/ 2253972 w 4339148"/>
                <a:gd name="connsiteY26" fmla="*/ 2364852 h 2374398"/>
                <a:gd name="connsiteX27" fmla="*/ 2579937 w 4339148"/>
                <a:gd name="connsiteY27" fmla="*/ 2179425 h 2374398"/>
                <a:gd name="connsiteX28" fmla="*/ 2484469 w 4339148"/>
                <a:gd name="connsiteY28" fmla="*/ 2153189 h 2374398"/>
                <a:gd name="connsiteX29" fmla="*/ 2479665 w 4339148"/>
                <a:gd name="connsiteY29" fmla="*/ 2176980 h 2374398"/>
                <a:gd name="connsiteX30" fmla="*/ 2330465 w 4339148"/>
                <a:gd name="connsiteY30" fmla="*/ 2275877 h 2374398"/>
                <a:gd name="connsiteX31" fmla="*/ 2168540 w 4339148"/>
                <a:gd name="connsiteY31" fmla="*/ 2113952 h 2374398"/>
                <a:gd name="connsiteX32" fmla="*/ 2330465 w 4339148"/>
                <a:gd name="connsiteY32" fmla="*/ 1952027 h 2374398"/>
                <a:gd name="connsiteX33" fmla="*/ 2492390 w 4339148"/>
                <a:gd name="connsiteY33" fmla="*/ 2113952 h 2374398"/>
                <a:gd name="connsiteX34" fmla="*/ 2484469 w 4339148"/>
                <a:gd name="connsiteY34" fmla="*/ 2153188 h 2374398"/>
                <a:gd name="connsiteX35" fmla="*/ 2579937 w 4339148"/>
                <a:gd name="connsiteY35" fmla="*/ 2179424 h 2374398"/>
                <a:gd name="connsiteX36" fmla="*/ 2394510 w 4339148"/>
                <a:gd name="connsiteY36" fmla="*/ 1853459 h 2374398"/>
                <a:gd name="connsiteX37" fmla="*/ 2287937 w 4339148"/>
                <a:gd name="connsiteY37" fmla="*/ 1846556 h 2374398"/>
                <a:gd name="connsiteX38" fmla="*/ 590060 w 4339148"/>
                <a:gd name="connsiteY38" fmla="*/ 1632575 h 2374398"/>
                <a:gd name="connsiteX39" fmla="*/ 375580 w 4339148"/>
                <a:gd name="connsiteY39" fmla="*/ 1573632 h 2374398"/>
                <a:gd name="connsiteX40" fmla="*/ 1220986 w 4339148"/>
                <a:gd name="connsiteY40" fmla="*/ 1645602 h 2374398"/>
                <a:gd name="connsiteX41" fmla="*/ 1243398 w 4339148"/>
                <a:gd name="connsiteY41" fmla="*/ 1584368 h 2374398"/>
                <a:gd name="connsiteX42" fmla="*/ 1300372 w 4339148"/>
                <a:gd name="connsiteY42" fmla="*/ 1466098 h 2374398"/>
                <a:gd name="connsiteX43" fmla="*/ 1324345 w 4339148"/>
                <a:gd name="connsiteY43" fmla="*/ 1426636 h 2374398"/>
                <a:gd name="connsiteX44" fmla="*/ 2988440 w 4339148"/>
                <a:gd name="connsiteY44" fmla="*/ 161365 h 2374398"/>
                <a:gd name="connsiteX45" fmla="*/ 2793758 w 4339148"/>
                <a:gd name="connsiteY45" fmla="*/ 793490 h 2374398"/>
                <a:gd name="connsiteX46" fmla="*/ 2892397 w 4339148"/>
                <a:gd name="connsiteY46" fmla="*/ 818853 h 2374398"/>
                <a:gd name="connsiteX47" fmla="*/ 3446766 w 4339148"/>
                <a:gd name="connsiteY47" fmla="*/ 1154306 h 2374398"/>
                <a:gd name="connsiteX48" fmla="*/ 3510328 w 4339148"/>
                <a:gd name="connsiteY48" fmla="*/ 1224242 h 2374398"/>
                <a:gd name="connsiteX49" fmla="*/ 3932430 w 4339148"/>
                <a:gd name="connsiteY49" fmla="*/ 908703 h 2374398"/>
                <a:gd name="connsiteX50" fmla="*/ 3843534 w 4339148"/>
                <a:gd name="connsiteY50" fmla="*/ 789824 h 2374398"/>
                <a:gd name="connsiteX51" fmla="*/ 3013566 w 4339148"/>
                <a:gd name="connsiteY51" fmla="*/ 170561 h 2374398"/>
                <a:gd name="connsiteX52" fmla="*/ 1643343 w 4339148"/>
                <a:gd name="connsiteY52" fmla="*/ 66720 h 2374398"/>
                <a:gd name="connsiteX53" fmla="*/ 1523337 w 4339148"/>
                <a:gd name="connsiteY53" fmla="*/ 97577 h 2374398"/>
                <a:gd name="connsiteX54" fmla="*/ 634043 w 4339148"/>
                <a:gd name="connsiteY54" fmla="*/ 635696 h 2374398"/>
                <a:gd name="connsiteX55" fmla="*/ 524512 w 4339148"/>
                <a:gd name="connsiteY55" fmla="*/ 756211 h 2374398"/>
                <a:gd name="connsiteX56" fmla="*/ 1354641 w 4339148"/>
                <a:gd name="connsiteY56" fmla="*/ 1376767 h 2374398"/>
                <a:gd name="connsiteX57" fmla="*/ 1368143 w 4339148"/>
                <a:gd name="connsiteY57" fmla="*/ 1354544 h 2374398"/>
                <a:gd name="connsiteX58" fmla="*/ 1845146 w 4339148"/>
                <a:gd name="connsiteY58" fmla="*/ 921323 h 2374398"/>
                <a:gd name="connsiteX59" fmla="*/ 1898612 w 4339148"/>
                <a:gd name="connsiteY59" fmla="*/ 895568 h 2374398"/>
                <a:gd name="connsiteX60" fmla="*/ 2168748 w 4339148"/>
                <a:gd name="connsiteY60" fmla="*/ 0 h 2374398"/>
                <a:gd name="connsiteX61" fmla="*/ 1731337 w 4339148"/>
                <a:gd name="connsiteY61" fmla="*/ 44095 h 2374398"/>
                <a:gd name="connsiteX62" fmla="*/ 1702596 w 4339148"/>
                <a:gd name="connsiteY62" fmla="*/ 51485 h 2374398"/>
                <a:gd name="connsiteX63" fmla="*/ 1953279 w 4339148"/>
                <a:gd name="connsiteY63" fmla="*/ 869233 h 2374398"/>
                <a:gd name="connsiteX64" fmla="*/ 1963417 w 4339148"/>
                <a:gd name="connsiteY64" fmla="*/ 864350 h 2374398"/>
                <a:gd name="connsiteX65" fmla="*/ 2490060 w 4339148"/>
                <a:gd name="connsiteY65" fmla="*/ 758025 h 2374398"/>
                <a:gd name="connsiteX66" fmla="*/ 2628395 w 4339148"/>
                <a:gd name="connsiteY66" fmla="*/ 765011 h 2374398"/>
                <a:gd name="connsiteX67" fmla="*/ 2736421 w 4339148"/>
                <a:gd name="connsiteY67" fmla="*/ 781497 h 2374398"/>
                <a:gd name="connsiteX68" fmla="*/ 2932770 w 4339148"/>
                <a:gd name="connsiteY68" fmla="*/ 140989 h 2374398"/>
                <a:gd name="connsiteX69" fmla="*/ 2814159 w 4339148"/>
                <a:gd name="connsiteY69" fmla="*/ 97577 h 2374398"/>
                <a:gd name="connsiteX70" fmla="*/ 2168748 w 4339148"/>
                <a:gd name="connsiteY70" fmla="*/ 0 h 237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339148" h="2374398">
                  <a:moveTo>
                    <a:pt x="3967828" y="956040"/>
                  </a:moveTo>
                  <a:lnTo>
                    <a:pt x="3548018" y="1269012"/>
                  </a:lnTo>
                  <a:lnTo>
                    <a:pt x="3611978" y="1354544"/>
                  </a:lnTo>
                  <a:cubicBezTo>
                    <a:pt x="3757862" y="1570482"/>
                    <a:pt x="3843046" y="1830799"/>
                    <a:pt x="3843046" y="2111011"/>
                  </a:cubicBezTo>
                  <a:lnTo>
                    <a:pt x="3840047" y="2170400"/>
                  </a:lnTo>
                  <a:lnTo>
                    <a:pt x="4339148" y="2170400"/>
                  </a:lnTo>
                  <a:cubicBezTo>
                    <a:pt x="4339148" y="1720896"/>
                    <a:pt x="4202500" y="1303307"/>
                    <a:pt x="3968478" y="956909"/>
                  </a:cubicBezTo>
                  <a:close/>
                  <a:moveTo>
                    <a:pt x="485438" y="801223"/>
                  </a:moveTo>
                  <a:lnTo>
                    <a:pt x="369018" y="956909"/>
                  </a:lnTo>
                  <a:cubicBezTo>
                    <a:pt x="174000" y="1245574"/>
                    <a:pt x="46602" y="1583677"/>
                    <a:pt x="9554" y="1948489"/>
                  </a:cubicBezTo>
                  <a:lnTo>
                    <a:pt x="0" y="2137677"/>
                  </a:lnTo>
                  <a:lnTo>
                    <a:pt x="1645" y="2170400"/>
                  </a:lnTo>
                  <a:lnTo>
                    <a:pt x="1140073" y="2170400"/>
                  </a:lnTo>
                  <a:lnTo>
                    <a:pt x="1137074" y="2111011"/>
                  </a:lnTo>
                  <a:cubicBezTo>
                    <a:pt x="1137074" y="2064309"/>
                    <a:pt x="1139440" y="2018160"/>
                    <a:pt x="1144059" y="1972676"/>
                  </a:cubicBezTo>
                  <a:lnTo>
                    <a:pt x="1147816" y="1948060"/>
                  </a:lnTo>
                  <a:lnTo>
                    <a:pt x="375579" y="1573633"/>
                  </a:lnTo>
                  <a:lnTo>
                    <a:pt x="590050" y="1632573"/>
                  </a:lnTo>
                  <a:lnTo>
                    <a:pt x="590046" y="1632573"/>
                  </a:lnTo>
                  <a:lnTo>
                    <a:pt x="1006830" y="1747111"/>
                  </a:lnTo>
                  <a:lnTo>
                    <a:pt x="1176060" y="1793618"/>
                  </a:lnTo>
                  <a:lnTo>
                    <a:pt x="1176060" y="1793618"/>
                  </a:lnTo>
                  <a:lnTo>
                    <a:pt x="2154377" y="2062474"/>
                  </a:lnTo>
                  <a:lnTo>
                    <a:pt x="2154378" y="2062475"/>
                  </a:lnTo>
                  <a:lnTo>
                    <a:pt x="590046" y="1632574"/>
                  </a:lnTo>
                  <a:lnTo>
                    <a:pt x="2158838" y="2316323"/>
                  </a:lnTo>
                  <a:cubicBezTo>
                    <a:pt x="2186046" y="2338256"/>
                    <a:pt x="2218135" y="2355004"/>
                    <a:pt x="2253972" y="2364852"/>
                  </a:cubicBezTo>
                  <a:cubicBezTo>
                    <a:pt x="2395189" y="2403661"/>
                    <a:pt x="2541129" y="2320642"/>
                    <a:pt x="2579937" y="2179425"/>
                  </a:cubicBezTo>
                  <a:lnTo>
                    <a:pt x="2484469" y="2153189"/>
                  </a:lnTo>
                  <a:lnTo>
                    <a:pt x="2479665" y="2176980"/>
                  </a:lnTo>
                  <a:cubicBezTo>
                    <a:pt x="2455084" y="2235098"/>
                    <a:pt x="2397537" y="2275878"/>
                    <a:pt x="2330465" y="2275877"/>
                  </a:cubicBezTo>
                  <a:cubicBezTo>
                    <a:pt x="2241036" y="2275877"/>
                    <a:pt x="2168540" y="2203381"/>
                    <a:pt x="2168540" y="2113952"/>
                  </a:cubicBezTo>
                  <a:cubicBezTo>
                    <a:pt x="2168541" y="2024523"/>
                    <a:pt x="2241036" y="1952027"/>
                    <a:pt x="2330465" y="1952027"/>
                  </a:cubicBezTo>
                  <a:cubicBezTo>
                    <a:pt x="2419894" y="1952027"/>
                    <a:pt x="2492390" y="2024523"/>
                    <a:pt x="2492390" y="2113952"/>
                  </a:cubicBezTo>
                  <a:lnTo>
                    <a:pt x="2484469" y="2153188"/>
                  </a:lnTo>
                  <a:lnTo>
                    <a:pt x="2579937" y="2179424"/>
                  </a:lnTo>
                  <a:cubicBezTo>
                    <a:pt x="2618746" y="2038207"/>
                    <a:pt x="2535728" y="1892267"/>
                    <a:pt x="2394510" y="1853459"/>
                  </a:cubicBezTo>
                  <a:cubicBezTo>
                    <a:pt x="2358674" y="1843610"/>
                    <a:pt x="2322533" y="1841608"/>
                    <a:pt x="2287937" y="1846556"/>
                  </a:cubicBezTo>
                  <a:lnTo>
                    <a:pt x="590060" y="1632575"/>
                  </a:lnTo>
                  <a:lnTo>
                    <a:pt x="375580" y="1573632"/>
                  </a:lnTo>
                  <a:lnTo>
                    <a:pt x="1220986" y="1645602"/>
                  </a:lnTo>
                  <a:lnTo>
                    <a:pt x="1243398" y="1584368"/>
                  </a:lnTo>
                  <a:cubicBezTo>
                    <a:pt x="1260514" y="1543901"/>
                    <a:pt x="1279544" y="1504439"/>
                    <a:pt x="1300372" y="1466098"/>
                  </a:cubicBezTo>
                  <a:lnTo>
                    <a:pt x="1324345" y="1426636"/>
                  </a:lnTo>
                  <a:close/>
                  <a:moveTo>
                    <a:pt x="2988440" y="161365"/>
                  </a:moveTo>
                  <a:lnTo>
                    <a:pt x="2793758" y="793490"/>
                  </a:lnTo>
                  <a:lnTo>
                    <a:pt x="2892397" y="818853"/>
                  </a:lnTo>
                  <a:cubicBezTo>
                    <a:pt x="3104227" y="884739"/>
                    <a:pt x="3293740" y="1001279"/>
                    <a:pt x="3446766" y="1154306"/>
                  </a:cubicBezTo>
                  <a:lnTo>
                    <a:pt x="3510328" y="1224242"/>
                  </a:lnTo>
                  <a:lnTo>
                    <a:pt x="3932430" y="908703"/>
                  </a:lnTo>
                  <a:lnTo>
                    <a:pt x="3843534" y="789824"/>
                  </a:lnTo>
                  <a:cubicBezTo>
                    <a:pt x="3622377" y="521843"/>
                    <a:pt x="3338145" y="307846"/>
                    <a:pt x="3013566" y="170561"/>
                  </a:cubicBezTo>
                  <a:close/>
                  <a:moveTo>
                    <a:pt x="1643343" y="66720"/>
                  </a:moveTo>
                  <a:lnTo>
                    <a:pt x="1523337" y="97577"/>
                  </a:lnTo>
                  <a:cubicBezTo>
                    <a:pt x="1183529" y="203268"/>
                    <a:pt x="879522" y="390217"/>
                    <a:pt x="634043" y="635696"/>
                  </a:cubicBezTo>
                  <a:lnTo>
                    <a:pt x="524512" y="756211"/>
                  </a:lnTo>
                  <a:lnTo>
                    <a:pt x="1354641" y="1376767"/>
                  </a:lnTo>
                  <a:lnTo>
                    <a:pt x="1368143" y="1354544"/>
                  </a:lnTo>
                  <a:cubicBezTo>
                    <a:pt x="1489713" y="1174595"/>
                    <a:pt x="1653437" y="1025466"/>
                    <a:pt x="1845146" y="921323"/>
                  </a:cubicBezTo>
                  <a:lnTo>
                    <a:pt x="1898612" y="895568"/>
                  </a:lnTo>
                  <a:close/>
                  <a:moveTo>
                    <a:pt x="2168748" y="0"/>
                  </a:moveTo>
                  <a:cubicBezTo>
                    <a:pt x="2018913" y="0"/>
                    <a:pt x="1872624" y="15183"/>
                    <a:pt x="1731337" y="44095"/>
                  </a:cubicBezTo>
                  <a:lnTo>
                    <a:pt x="1702596" y="51485"/>
                  </a:lnTo>
                  <a:lnTo>
                    <a:pt x="1953279" y="869233"/>
                  </a:lnTo>
                  <a:lnTo>
                    <a:pt x="1963417" y="864350"/>
                  </a:lnTo>
                  <a:cubicBezTo>
                    <a:pt x="2125286" y="795885"/>
                    <a:pt x="2303252" y="758025"/>
                    <a:pt x="2490060" y="758025"/>
                  </a:cubicBezTo>
                  <a:cubicBezTo>
                    <a:pt x="2536762" y="758025"/>
                    <a:pt x="2582912" y="760392"/>
                    <a:pt x="2628395" y="765011"/>
                  </a:cubicBezTo>
                  <a:lnTo>
                    <a:pt x="2736421" y="781497"/>
                  </a:lnTo>
                  <a:lnTo>
                    <a:pt x="2932770" y="140989"/>
                  </a:lnTo>
                  <a:lnTo>
                    <a:pt x="2814159" y="97577"/>
                  </a:lnTo>
                  <a:cubicBezTo>
                    <a:pt x="2610274" y="34162"/>
                    <a:pt x="2393501" y="0"/>
                    <a:pt x="2168748" y="0"/>
                  </a:cubicBezTo>
                  <a:close/>
                </a:path>
              </a:pathLst>
            </a:custGeom>
            <a:solidFill>
              <a:schemeClr val="bg1"/>
            </a:solidFill>
            <a:ln w="9525" cap="flat" cmpd="sng" algn="ctr">
              <a:noFill/>
              <a:prstDash val="solid"/>
              <a:round/>
              <a:headEnd type="none" w="med" len="med"/>
              <a:tailEnd type="none" w="med" len="med"/>
            </a:ln>
            <a:effectLst/>
          </p:spPr>
          <p:txBody>
            <a:bodyPr vert="horz" wrap="square" lIns="91427" tIns="45713" rIns="91427" bIns="45713" numCol="1" rtlCol="0" anchor="t" anchorCtr="0" compatLnSpc="1">
              <a:prstTxWarp prst="textNoShape">
                <a:avLst/>
              </a:prstTxWarp>
              <a:noAutofit/>
            </a:bodyPr>
            <a:lstStyle/>
            <a:p>
              <a:pPr marL="0" marR="0" lvl="0" indent="0" algn="l" defTabSz="914225" rtl="0" eaLnBrk="0" fontAlgn="base" latinLnBrk="0" hangingPunct="0">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353" name="Frame 21"/>
            <p:cNvSpPr/>
            <p:nvPr/>
          </p:nvSpPr>
          <p:spPr bwMode="auto">
            <a:xfrm>
              <a:off x="4523130" y="4276496"/>
              <a:ext cx="295916" cy="313844"/>
            </a:xfrm>
            <a:custGeom>
              <a:avLst/>
              <a:gdLst/>
              <a:ahLst/>
              <a:cxnLst/>
              <a:rect l="l" t="t" r="r" b="b"/>
              <a:pathLst>
                <a:path w="8292376" h="8794752">
                  <a:moveTo>
                    <a:pt x="6652691" y="2433077"/>
                  </a:moveTo>
                  <a:lnTo>
                    <a:pt x="6846364" y="2433077"/>
                  </a:lnTo>
                  <a:lnTo>
                    <a:pt x="6754525" y="2768331"/>
                  </a:lnTo>
                  <a:lnTo>
                    <a:pt x="6846365" y="3716846"/>
                  </a:lnTo>
                  <a:lnTo>
                    <a:pt x="6652690" y="3716847"/>
                  </a:lnTo>
                  <a:lnTo>
                    <a:pt x="6744530" y="2768331"/>
                  </a:lnTo>
                  <a:close/>
                  <a:moveTo>
                    <a:pt x="6783889" y="685800"/>
                  </a:moveTo>
                  <a:cubicBezTo>
                    <a:pt x="7180375" y="685801"/>
                    <a:pt x="7501793" y="1033667"/>
                    <a:pt x="7501792" y="1462781"/>
                  </a:cubicBezTo>
                  <a:cubicBezTo>
                    <a:pt x="7501792" y="1891896"/>
                    <a:pt x="7180376" y="2239762"/>
                    <a:pt x="6783889" y="2239762"/>
                  </a:cubicBezTo>
                  <a:cubicBezTo>
                    <a:pt x="6387401" y="2239762"/>
                    <a:pt x="6065985" y="1891896"/>
                    <a:pt x="6065984" y="1462781"/>
                  </a:cubicBezTo>
                  <a:cubicBezTo>
                    <a:pt x="6065984" y="1033666"/>
                    <a:pt x="6387401" y="685800"/>
                    <a:pt x="6783889" y="685800"/>
                  </a:cubicBezTo>
                  <a:close/>
                  <a:moveTo>
                    <a:pt x="4618762" y="523061"/>
                  </a:moveTo>
                  <a:lnTo>
                    <a:pt x="4459193" y="952807"/>
                  </a:lnTo>
                  <a:lnTo>
                    <a:pt x="4365784" y="861740"/>
                  </a:lnTo>
                  <a:lnTo>
                    <a:pt x="3072313" y="1984375"/>
                  </a:lnTo>
                  <a:lnTo>
                    <a:pt x="2665913" y="1831975"/>
                  </a:lnTo>
                  <a:lnTo>
                    <a:pt x="1726113" y="2720975"/>
                  </a:lnTo>
                  <a:lnTo>
                    <a:pt x="1287963" y="2390775"/>
                  </a:lnTo>
                  <a:lnTo>
                    <a:pt x="297363" y="3394075"/>
                  </a:lnTo>
                  <a:lnTo>
                    <a:pt x="284663" y="3292475"/>
                  </a:lnTo>
                  <a:lnTo>
                    <a:pt x="1281613" y="2282825"/>
                  </a:lnTo>
                  <a:lnTo>
                    <a:pt x="1738813" y="2613025"/>
                  </a:lnTo>
                  <a:lnTo>
                    <a:pt x="2653213" y="1749425"/>
                  </a:lnTo>
                  <a:lnTo>
                    <a:pt x="3059613" y="1901825"/>
                  </a:lnTo>
                  <a:lnTo>
                    <a:pt x="4295470" y="793189"/>
                  </a:lnTo>
                  <a:lnTo>
                    <a:pt x="4193207" y="693491"/>
                  </a:lnTo>
                  <a:close/>
                  <a:moveTo>
                    <a:pt x="131694" y="131694"/>
                  </a:moveTo>
                  <a:lnTo>
                    <a:pt x="131694" y="4262506"/>
                  </a:lnTo>
                  <a:lnTo>
                    <a:pt x="5039293" y="4262506"/>
                  </a:lnTo>
                  <a:lnTo>
                    <a:pt x="5039293" y="3910664"/>
                  </a:lnTo>
                  <a:lnTo>
                    <a:pt x="4448461" y="3808162"/>
                  </a:lnTo>
                  <a:cubicBezTo>
                    <a:pt x="4327522" y="3787181"/>
                    <a:pt x="4246491" y="3672131"/>
                    <a:pt x="4267473" y="3551193"/>
                  </a:cubicBezTo>
                  <a:cubicBezTo>
                    <a:pt x="4273857" y="3514391"/>
                    <a:pt x="4288952" y="3481283"/>
                    <a:pt x="4312516" y="3455350"/>
                  </a:cubicBezTo>
                  <a:lnTo>
                    <a:pt x="3049181" y="2338552"/>
                  </a:lnTo>
                  <a:cubicBezTo>
                    <a:pt x="3030263" y="2321828"/>
                    <a:pt x="3028484" y="2292934"/>
                    <a:pt x="3045208" y="2274016"/>
                  </a:cubicBezTo>
                  <a:cubicBezTo>
                    <a:pt x="3053569" y="2264557"/>
                    <a:pt x="3064974" y="2259383"/>
                    <a:pt x="3076652" y="2258664"/>
                  </a:cubicBezTo>
                  <a:cubicBezTo>
                    <a:pt x="3088331" y="2257945"/>
                    <a:pt x="3100284" y="2261681"/>
                    <a:pt x="3109743" y="2270043"/>
                  </a:cubicBezTo>
                  <a:lnTo>
                    <a:pt x="4381077" y="3393913"/>
                  </a:lnTo>
                  <a:lnTo>
                    <a:pt x="4381338" y="3394446"/>
                  </a:lnTo>
                  <a:cubicBezTo>
                    <a:pt x="4423239" y="3370696"/>
                    <a:pt x="4473314" y="3361334"/>
                    <a:pt x="4524442" y="3370204"/>
                  </a:cubicBezTo>
                  <a:lnTo>
                    <a:pt x="5039293" y="3459525"/>
                  </a:lnTo>
                  <a:lnTo>
                    <a:pt x="5039293" y="131694"/>
                  </a:lnTo>
                  <a:close/>
                  <a:moveTo>
                    <a:pt x="0" y="0"/>
                  </a:moveTo>
                  <a:lnTo>
                    <a:pt x="5170987" y="0"/>
                  </a:lnTo>
                  <a:lnTo>
                    <a:pt x="5170987" y="3482373"/>
                  </a:lnTo>
                  <a:lnTo>
                    <a:pt x="5548601" y="3547884"/>
                  </a:lnTo>
                  <a:lnTo>
                    <a:pt x="5995669" y="2555786"/>
                  </a:lnTo>
                  <a:cubicBezTo>
                    <a:pt x="6033491" y="2471855"/>
                    <a:pt x="6116972" y="2422838"/>
                    <a:pt x="6203559" y="2424850"/>
                  </a:cubicBezTo>
                  <a:cubicBezTo>
                    <a:pt x="6220947" y="2425255"/>
                    <a:pt x="6238460" y="2427716"/>
                    <a:pt x="6255561" y="2433076"/>
                  </a:cubicBezTo>
                  <a:lnTo>
                    <a:pt x="6361779" y="2433076"/>
                  </a:lnTo>
                  <a:lnTo>
                    <a:pt x="6536435" y="3729550"/>
                  </a:lnTo>
                  <a:lnTo>
                    <a:pt x="6962621" y="3729550"/>
                  </a:lnTo>
                  <a:lnTo>
                    <a:pt x="7137277" y="2433077"/>
                  </a:lnTo>
                  <a:lnTo>
                    <a:pt x="7320347" y="2433077"/>
                  </a:lnTo>
                  <a:cubicBezTo>
                    <a:pt x="7339436" y="2428524"/>
                    <a:pt x="7358732" y="2427668"/>
                    <a:pt x="7377603" y="2429291"/>
                  </a:cubicBezTo>
                  <a:cubicBezTo>
                    <a:pt x="7461430" y="2436504"/>
                    <a:pt x="7536860" y="2492665"/>
                    <a:pt x="7564508" y="2577712"/>
                  </a:cubicBezTo>
                  <a:lnTo>
                    <a:pt x="8281741" y="4783955"/>
                  </a:lnTo>
                  <a:cubicBezTo>
                    <a:pt x="8318606" y="4897351"/>
                    <a:pt x="8256563" y="5019163"/>
                    <a:pt x="8143166" y="5056027"/>
                  </a:cubicBezTo>
                  <a:cubicBezTo>
                    <a:pt x="8029769" y="5092892"/>
                    <a:pt x="7907959" y="5030849"/>
                    <a:pt x="7871095" y="4917452"/>
                  </a:cubicBezTo>
                  <a:lnTo>
                    <a:pt x="7527302" y="3859926"/>
                  </a:lnTo>
                  <a:lnTo>
                    <a:pt x="7527301" y="6251887"/>
                  </a:lnTo>
                  <a:lnTo>
                    <a:pt x="7527302" y="8416668"/>
                  </a:lnTo>
                  <a:lnTo>
                    <a:pt x="7527302" y="8557135"/>
                  </a:lnTo>
                  <a:cubicBezTo>
                    <a:pt x="7527303" y="8688367"/>
                    <a:pt x="7420918" y="8794751"/>
                    <a:pt x="7289687" y="8794751"/>
                  </a:cubicBezTo>
                  <a:lnTo>
                    <a:pt x="7150941" y="8794752"/>
                  </a:lnTo>
                  <a:cubicBezTo>
                    <a:pt x="7024894" y="8794752"/>
                    <a:pt x="6921770" y="8696606"/>
                    <a:pt x="6914875" y="8572499"/>
                  </a:cubicBezTo>
                  <a:lnTo>
                    <a:pt x="6902142" y="8572501"/>
                  </a:lnTo>
                  <a:cubicBezTo>
                    <a:pt x="6909614" y="8559564"/>
                    <a:pt x="6913326" y="8544514"/>
                    <a:pt x="6913326" y="8528594"/>
                  </a:cubicBezTo>
                  <a:lnTo>
                    <a:pt x="6913324" y="6251888"/>
                  </a:lnTo>
                  <a:lnTo>
                    <a:pt x="6913325" y="6069135"/>
                  </a:lnTo>
                  <a:cubicBezTo>
                    <a:pt x="6913325" y="6013805"/>
                    <a:pt x="6868470" y="5968950"/>
                    <a:pt x="6813139" y="5968949"/>
                  </a:cubicBezTo>
                  <a:lnTo>
                    <a:pt x="6754638" y="5968949"/>
                  </a:lnTo>
                  <a:cubicBezTo>
                    <a:pt x="6699307" y="5968950"/>
                    <a:pt x="6654452" y="6013805"/>
                    <a:pt x="6654453" y="6069135"/>
                  </a:cubicBezTo>
                  <a:lnTo>
                    <a:pt x="6654452" y="8528594"/>
                  </a:lnTo>
                  <a:cubicBezTo>
                    <a:pt x="6654452" y="8544512"/>
                    <a:pt x="6658165" y="8559561"/>
                    <a:pt x="6665636" y="8572500"/>
                  </a:cubicBezTo>
                  <a:lnTo>
                    <a:pt x="6653154" y="8572501"/>
                  </a:lnTo>
                  <a:cubicBezTo>
                    <a:pt x="6647397" y="8696397"/>
                    <a:pt x="6544852" y="8794750"/>
                    <a:pt x="6419334" y="8794752"/>
                  </a:cubicBezTo>
                  <a:lnTo>
                    <a:pt x="6282048" y="8794752"/>
                  </a:lnTo>
                  <a:cubicBezTo>
                    <a:pt x="6152198" y="8794751"/>
                    <a:pt x="6046932" y="8689485"/>
                    <a:pt x="6046932" y="8559635"/>
                  </a:cubicBezTo>
                  <a:lnTo>
                    <a:pt x="6046932" y="8504999"/>
                  </a:lnTo>
                  <a:cubicBezTo>
                    <a:pt x="6042519" y="8488807"/>
                    <a:pt x="6040474" y="8471785"/>
                    <a:pt x="6040474" y="8454283"/>
                  </a:cubicBezTo>
                  <a:lnTo>
                    <a:pt x="6040475" y="8416667"/>
                  </a:lnTo>
                  <a:lnTo>
                    <a:pt x="6040475" y="6234090"/>
                  </a:lnTo>
                  <a:lnTo>
                    <a:pt x="6040475" y="3538284"/>
                  </a:lnTo>
                  <a:lnTo>
                    <a:pt x="5909878" y="3828095"/>
                  </a:lnTo>
                  <a:cubicBezTo>
                    <a:pt x="5910171" y="3830798"/>
                    <a:pt x="5909764" y="3833414"/>
                    <a:pt x="5909310" y="3836033"/>
                  </a:cubicBezTo>
                  <a:cubicBezTo>
                    <a:pt x="5888329" y="3956972"/>
                    <a:pt x="5773280" y="4038003"/>
                    <a:pt x="5652341" y="4017021"/>
                  </a:cubicBezTo>
                  <a:lnTo>
                    <a:pt x="5170987" y="3933512"/>
                  </a:lnTo>
                  <a:lnTo>
                    <a:pt x="5170987" y="4394200"/>
                  </a:lnTo>
                  <a:lnTo>
                    <a:pt x="2706074" y="4394200"/>
                  </a:lnTo>
                  <a:lnTo>
                    <a:pt x="2706074" y="8394700"/>
                  </a:lnTo>
                  <a:lnTo>
                    <a:pt x="3369264" y="8394700"/>
                  </a:lnTo>
                  <a:lnTo>
                    <a:pt x="3369264" y="8628778"/>
                  </a:lnTo>
                  <a:lnTo>
                    <a:pt x="1801722" y="8628778"/>
                  </a:lnTo>
                  <a:lnTo>
                    <a:pt x="1801722" y="8394700"/>
                  </a:lnTo>
                  <a:lnTo>
                    <a:pt x="2464912" y="8394700"/>
                  </a:lnTo>
                  <a:lnTo>
                    <a:pt x="2464912" y="4394200"/>
                  </a:lnTo>
                  <a:lnTo>
                    <a:pt x="0" y="4394200"/>
                  </a:lnTo>
                  <a:close/>
                </a:path>
              </a:pathLst>
            </a:custGeom>
            <a:solidFill>
              <a:schemeClr val="bg1"/>
            </a:solidFill>
            <a:ln>
              <a:noFill/>
            </a:ln>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sp>
          <p:nvSpPr>
            <p:cNvPr id="354" name="Freeform 31"/>
            <p:cNvSpPr>
              <a:spLocks noEditPoints="1"/>
            </p:cNvSpPr>
            <p:nvPr/>
          </p:nvSpPr>
          <p:spPr bwMode="auto">
            <a:xfrm>
              <a:off x="4549978" y="4862203"/>
              <a:ext cx="242221" cy="241639"/>
            </a:xfrm>
            <a:custGeom>
              <a:avLst/>
              <a:gdLst>
                <a:gd name="T0" fmla="*/ 0 w 1057"/>
                <a:gd name="T1" fmla="*/ 528 h 1056"/>
                <a:gd name="T2" fmla="*/ 1057 w 1057"/>
                <a:gd name="T3" fmla="*/ 528 h 1056"/>
                <a:gd name="T4" fmla="*/ 594 w 1057"/>
                <a:gd name="T5" fmla="*/ 976 h 1056"/>
                <a:gd name="T6" fmla="*/ 551 w 1057"/>
                <a:gd name="T7" fmla="*/ 779 h 1056"/>
                <a:gd name="T8" fmla="*/ 594 w 1057"/>
                <a:gd name="T9" fmla="*/ 976 h 1056"/>
                <a:gd name="T10" fmla="*/ 506 w 1057"/>
                <a:gd name="T11" fmla="*/ 779 h 1056"/>
                <a:gd name="T12" fmla="*/ 465 w 1057"/>
                <a:gd name="T13" fmla="*/ 976 h 1056"/>
                <a:gd name="T14" fmla="*/ 76 w 1057"/>
                <a:gd name="T15" fmla="*/ 550 h 1056"/>
                <a:gd name="T16" fmla="*/ 281 w 1057"/>
                <a:gd name="T17" fmla="*/ 734 h 1056"/>
                <a:gd name="T18" fmla="*/ 76 w 1057"/>
                <a:gd name="T19" fmla="*/ 550 h 1056"/>
                <a:gd name="T20" fmla="*/ 506 w 1057"/>
                <a:gd name="T21" fmla="*/ 76 h 1056"/>
                <a:gd name="T22" fmla="*/ 339 w 1057"/>
                <a:gd name="T23" fmla="*/ 280 h 1056"/>
                <a:gd name="T24" fmla="*/ 719 w 1057"/>
                <a:gd name="T25" fmla="*/ 280 h 1056"/>
                <a:gd name="T26" fmla="*/ 551 w 1057"/>
                <a:gd name="T27" fmla="*/ 75 h 1056"/>
                <a:gd name="T28" fmla="*/ 719 w 1057"/>
                <a:gd name="T29" fmla="*/ 280 h 1056"/>
                <a:gd name="T30" fmla="*/ 754 w 1057"/>
                <a:gd name="T31" fmla="*/ 506 h 1056"/>
                <a:gd name="T32" fmla="*/ 551 w 1057"/>
                <a:gd name="T33" fmla="*/ 325 h 1056"/>
                <a:gd name="T34" fmla="*/ 506 w 1057"/>
                <a:gd name="T35" fmla="*/ 325 h 1056"/>
                <a:gd name="T36" fmla="*/ 305 w 1057"/>
                <a:gd name="T37" fmla="*/ 506 h 1056"/>
                <a:gd name="T38" fmla="*/ 506 w 1057"/>
                <a:gd name="T39" fmla="*/ 325 h 1056"/>
                <a:gd name="T40" fmla="*/ 76 w 1057"/>
                <a:gd name="T41" fmla="*/ 506 h 1056"/>
                <a:gd name="T42" fmla="*/ 280 w 1057"/>
                <a:gd name="T43" fmla="*/ 325 h 1056"/>
                <a:gd name="T44" fmla="*/ 305 w 1057"/>
                <a:gd name="T45" fmla="*/ 550 h 1056"/>
                <a:gd name="T46" fmla="*/ 506 w 1057"/>
                <a:gd name="T47" fmla="*/ 734 h 1056"/>
                <a:gd name="T48" fmla="*/ 305 w 1057"/>
                <a:gd name="T49" fmla="*/ 550 h 1056"/>
                <a:gd name="T50" fmla="*/ 551 w 1057"/>
                <a:gd name="T51" fmla="*/ 550 h 1056"/>
                <a:gd name="T52" fmla="*/ 731 w 1057"/>
                <a:gd name="T53" fmla="*/ 734 h 1056"/>
                <a:gd name="T54" fmla="*/ 799 w 1057"/>
                <a:gd name="T55" fmla="*/ 550 h 1056"/>
                <a:gd name="T56" fmla="*/ 932 w 1057"/>
                <a:gd name="T57" fmla="*/ 734 h 1056"/>
                <a:gd name="T58" fmla="*/ 799 w 1057"/>
                <a:gd name="T59" fmla="*/ 550 h 1056"/>
                <a:gd name="T60" fmla="*/ 778 w 1057"/>
                <a:gd name="T61" fmla="*/ 325 h 1056"/>
                <a:gd name="T62" fmla="*/ 982 w 1057"/>
                <a:gd name="T63" fmla="*/ 506 h 1056"/>
                <a:gd name="T64" fmla="*/ 908 w 1057"/>
                <a:gd name="T65" fmla="*/ 280 h 1056"/>
                <a:gd name="T66" fmla="*/ 683 w 1057"/>
                <a:gd name="T67" fmla="*/ 102 h 1056"/>
                <a:gd name="T68" fmla="*/ 377 w 1057"/>
                <a:gd name="T69" fmla="*/ 101 h 1056"/>
                <a:gd name="T70" fmla="*/ 150 w 1057"/>
                <a:gd name="T71" fmla="*/ 280 h 1056"/>
                <a:gd name="T72" fmla="*/ 152 w 1057"/>
                <a:gd name="T73" fmla="*/ 779 h 1056"/>
                <a:gd name="T74" fmla="*/ 377 w 1057"/>
                <a:gd name="T75" fmla="*/ 955 h 1056"/>
                <a:gd name="T76" fmla="*/ 682 w 1057"/>
                <a:gd name="T77" fmla="*/ 954 h 1056"/>
                <a:gd name="T78" fmla="*/ 906 w 1057"/>
                <a:gd name="T79" fmla="*/ 779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57" h="1056">
                  <a:moveTo>
                    <a:pt x="529" y="0"/>
                  </a:moveTo>
                  <a:cubicBezTo>
                    <a:pt x="238" y="0"/>
                    <a:pt x="0" y="237"/>
                    <a:pt x="0" y="528"/>
                  </a:cubicBezTo>
                  <a:cubicBezTo>
                    <a:pt x="0" y="819"/>
                    <a:pt x="237" y="1056"/>
                    <a:pt x="529" y="1056"/>
                  </a:cubicBezTo>
                  <a:cubicBezTo>
                    <a:pt x="820" y="1056"/>
                    <a:pt x="1057" y="819"/>
                    <a:pt x="1057" y="528"/>
                  </a:cubicBezTo>
                  <a:cubicBezTo>
                    <a:pt x="1057" y="237"/>
                    <a:pt x="820" y="0"/>
                    <a:pt x="529" y="0"/>
                  </a:cubicBezTo>
                  <a:close/>
                  <a:moveTo>
                    <a:pt x="594" y="976"/>
                  </a:moveTo>
                  <a:cubicBezTo>
                    <a:pt x="580" y="978"/>
                    <a:pt x="566" y="980"/>
                    <a:pt x="551" y="980"/>
                  </a:cubicBezTo>
                  <a:cubicBezTo>
                    <a:pt x="551" y="779"/>
                    <a:pt x="551" y="779"/>
                    <a:pt x="551" y="779"/>
                  </a:cubicBezTo>
                  <a:cubicBezTo>
                    <a:pt x="718" y="779"/>
                    <a:pt x="718" y="779"/>
                    <a:pt x="718" y="779"/>
                  </a:cubicBezTo>
                  <a:cubicBezTo>
                    <a:pt x="689" y="872"/>
                    <a:pt x="645" y="944"/>
                    <a:pt x="594" y="976"/>
                  </a:cubicBezTo>
                  <a:close/>
                  <a:moveTo>
                    <a:pt x="340" y="779"/>
                  </a:moveTo>
                  <a:cubicBezTo>
                    <a:pt x="506" y="779"/>
                    <a:pt x="506" y="779"/>
                    <a:pt x="506" y="779"/>
                  </a:cubicBezTo>
                  <a:cubicBezTo>
                    <a:pt x="506" y="980"/>
                    <a:pt x="506" y="980"/>
                    <a:pt x="506" y="980"/>
                  </a:cubicBezTo>
                  <a:cubicBezTo>
                    <a:pt x="492" y="980"/>
                    <a:pt x="478" y="978"/>
                    <a:pt x="465" y="976"/>
                  </a:cubicBezTo>
                  <a:cubicBezTo>
                    <a:pt x="414" y="944"/>
                    <a:pt x="370" y="872"/>
                    <a:pt x="340" y="779"/>
                  </a:cubicBezTo>
                  <a:close/>
                  <a:moveTo>
                    <a:pt x="76" y="550"/>
                  </a:moveTo>
                  <a:cubicBezTo>
                    <a:pt x="260" y="550"/>
                    <a:pt x="260" y="550"/>
                    <a:pt x="260" y="550"/>
                  </a:cubicBezTo>
                  <a:cubicBezTo>
                    <a:pt x="261" y="616"/>
                    <a:pt x="268" y="678"/>
                    <a:pt x="281" y="734"/>
                  </a:cubicBezTo>
                  <a:cubicBezTo>
                    <a:pt x="125" y="734"/>
                    <a:pt x="125" y="734"/>
                    <a:pt x="125" y="734"/>
                  </a:cubicBezTo>
                  <a:cubicBezTo>
                    <a:pt x="97" y="678"/>
                    <a:pt x="80" y="616"/>
                    <a:pt x="76" y="550"/>
                  </a:cubicBezTo>
                  <a:close/>
                  <a:moveTo>
                    <a:pt x="465" y="80"/>
                  </a:moveTo>
                  <a:cubicBezTo>
                    <a:pt x="478" y="78"/>
                    <a:pt x="492" y="76"/>
                    <a:pt x="506" y="76"/>
                  </a:cubicBezTo>
                  <a:cubicBezTo>
                    <a:pt x="506" y="280"/>
                    <a:pt x="506" y="280"/>
                    <a:pt x="506" y="280"/>
                  </a:cubicBezTo>
                  <a:cubicBezTo>
                    <a:pt x="339" y="280"/>
                    <a:pt x="339" y="280"/>
                    <a:pt x="339" y="280"/>
                  </a:cubicBezTo>
                  <a:cubicBezTo>
                    <a:pt x="368" y="185"/>
                    <a:pt x="413" y="112"/>
                    <a:pt x="465" y="80"/>
                  </a:cubicBezTo>
                  <a:close/>
                  <a:moveTo>
                    <a:pt x="719" y="280"/>
                  </a:moveTo>
                  <a:cubicBezTo>
                    <a:pt x="551" y="280"/>
                    <a:pt x="551" y="280"/>
                    <a:pt x="551" y="280"/>
                  </a:cubicBezTo>
                  <a:cubicBezTo>
                    <a:pt x="551" y="75"/>
                    <a:pt x="551" y="75"/>
                    <a:pt x="551" y="75"/>
                  </a:cubicBezTo>
                  <a:cubicBezTo>
                    <a:pt x="566" y="76"/>
                    <a:pt x="580" y="77"/>
                    <a:pt x="594" y="80"/>
                  </a:cubicBezTo>
                  <a:cubicBezTo>
                    <a:pt x="646" y="113"/>
                    <a:pt x="690" y="185"/>
                    <a:pt x="719" y="280"/>
                  </a:cubicBezTo>
                  <a:close/>
                  <a:moveTo>
                    <a:pt x="731" y="325"/>
                  </a:moveTo>
                  <a:cubicBezTo>
                    <a:pt x="744" y="380"/>
                    <a:pt x="752" y="442"/>
                    <a:pt x="754" y="506"/>
                  </a:cubicBezTo>
                  <a:cubicBezTo>
                    <a:pt x="551" y="506"/>
                    <a:pt x="551" y="506"/>
                    <a:pt x="551" y="506"/>
                  </a:cubicBezTo>
                  <a:cubicBezTo>
                    <a:pt x="551" y="325"/>
                    <a:pt x="551" y="325"/>
                    <a:pt x="551" y="325"/>
                  </a:cubicBezTo>
                  <a:cubicBezTo>
                    <a:pt x="731" y="325"/>
                    <a:pt x="731" y="325"/>
                    <a:pt x="731" y="325"/>
                  </a:cubicBezTo>
                  <a:close/>
                  <a:moveTo>
                    <a:pt x="506" y="325"/>
                  </a:moveTo>
                  <a:cubicBezTo>
                    <a:pt x="506" y="506"/>
                    <a:pt x="506" y="506"/>
                    <a:pt x="506" y="506"/>
                  </a:cubicBezTo>
                  <a:cubicBezTo>
                    <a:pt x="305" y="506"/>
                    <a:pt x="305" y="506"/>
                    <a:pt x="305" y="506"/>
                  </a:cubicBezTo>
                  <a:cubicBezTo>
                    <a:pt x="306" y="442"/>
                    <a:pt x="314" y="380"/>
                    <a:pt x="327" y="325"/>
                  </a:cubicBezTo>
                  <a:cubicBezTo>
                    <a:pt x="506" y="325"/>
                    <a:pt x="506" y="325"/>
                    <a:pt x="506" y="325"/>
                  </a:cubicBezTo>
                  <a:close/>
                  <a:moveTo>
                    <a:pt x="260" y="506"/>
                  </a:moveTo>
                  <a:cubicBezTo>
                    <a:pt x="76" y="506"/>
                    <a:pt x="76" y="506"/>
                    <a:pt x="76" y="506"/>
                  </a:cubicBezTo>
                  <a:cubicBezTo>
                    <a:pt x="79" y="441"/>
                    <a:pt x="96" y="380"/>
                    <a:pt x="124" y="325"/>
                  </a:cubicBezTo>
                  <a:cubicBezTo>
                    <a:pt x="280" y="325"/>
                    <a:pt x="280" y="325"/>
                    <a:pt x="280" y="325"/>
                  </a:cubicBezTo>
                  <a:cubicBezTo>
                    <a:pt x="268" y="381"/>
                    <a:pt x="261" y="441"/>
                    <a:pt x="260" y="506"/>
                  </a:cubicBezTo>
                  <a:close/>
                  <a:moveTo>
                    <a:pt x="305" y="550"/>
                  </a:moveTo>
                  <a:cubicBezTo>
                    <a:pt x="506" y="550"/>
                    <a:pt x="506" y="550"/>
                    <a:pt x="506" y="550"/>
                  </a:cubicBezTo>
                  <a:cubicBezTo>
                    <a:pt x="506" y="734"/>
                    <a:pt x="506" y="734"/>
                    <a:pt x="506" y="734"/>
                  </a:cubicBezTo>
                  <a:cubicBezTo>
                    <a:pt x="328" y="734"/>
                    <a:pt x="328" y="734"/>
                    <a:pt x="328" y="734"/>
                  </a:cubicBezTo>
                  <a:cubicBezTo>
                    <a:pt x="315" y="678"/>
                    <a:pt x="306" y="616"/>
                    <a:pt x="305" y="550"/>
                  </a:cubicBezTo>
                  <a:close/>
                  <a:moveTo>
                    <a:pt x="551" y="734"/>
                  </a:moveTo>
                  <a:cubicBezTo>
                    <a:pt x="551" y="550"/>
                    <a:pt x="551" y="550"/>
                    <a:pt x="551" y="550"/>
                  </a:cubicBezTo>
                  <a:cubicBezTo>
                    <a:pt x="754" y="550"/>
                    <a:pt x="754" y="550"/>
                    <a:pt x="754" y="550"/>
                  </a:cubicBezTo>
                  <a:cubicBezTo>
                    <a:pt x="752" y="616"/>
                    <a:pt x="744" y="678"/>
                    <a:pt x="731" y="734"/>
                  </a:cubicBezTo>
                  <a:lnTo>
                    <a:pt x="551" y="734"/>
                  </a:lnTo>
                  <a:close/>
                  <a:moveTo>
                    <a:pt x="799" y="550"/>
                  </a:moveTo>
                  <a:cubicBezTo>
                    <a:pt x="982" y="550"/>
                    <a:pt x="982" y="550"/>
                    <a:pt x="982" y="550"/>
                  </a:cubicBezTo>
                  <a:cubicBezTo>
                    <a:pt x="978" y="616"/>
                    <a:pt x="961" y="678"/>
                    <a:pt x="932" y="734"/>
                  </a:cubicBezTo>
                  <a:cubicBezTo>
                    <a:pt x="778" y="734"/>
                    <a:pt x="778" y="734"/>
                    <a:pt x="778" y="734"/>
                  </a:cubicBezTo>
                  <a:cubicBezTo>
                    <a:pt x="790" y="678"/>
                    <a:pt x="798" y="616"/>
                    <a:pt x="799" y="550"/>
                  </a:cubicBezTo>
                  <a:close/>
                  <a:moveTo>
                    <a:pt x="799" y="506"/>
                  </a:moveTo>
                  <a:cubicBezTo>
                    <a:pt x="798" y="442"/>
                    <a:pt x="790" y="381"/>
                    <a:pt x="778" y="325"/>
                  </a:cubicBezTo>
                  <a:cubicBezTo>
                    <a:pt x="934" y="325"/>
                    <a:pt x="934" y="325"/>
                    <a:pt x="934" y="325"/>
                  </a:cubicBezTo>
                  <a:cubicBezTo>
                    <a:pt x="962" y="380"/>
                    <a:pt x="978" y="441"/>
                    <a:pt x="982" y="506"/>
                  </a:cubicBezTo>
                  <a:lnTo>
                    <a:pt x="799" y="506"/>
                  </a:lnTo>
                  <a:close/>
                  <a:moveTo>
                    <a:pt x="908" y="280"/>
                  </a:moveTo>
                  <a:cubicBezTo>
                    <a:pt x="767" y="280"/>
                    <a:pt x="767" y="280"/>
                    <a:pt x="767" y="280"/>
                  </a:cubicBezTo>
                  <a:cubicBezTo>
                    <a:pt x="747" y="208"/>
                    <a:pt x="718" y="147"/>
                    <a:pt x="683" y="102"/>
                  </a:cubicBezTo>
                  <a:cubicBezTo>
                    <a:pt x="776" y="135"/>
                    <a:pt x="854" y="199"/>
                    <a:pt x="908" y="280"/>
                  </a:cubicBezTo>
                  <a:close/>
                  <a:moveTo>
                    <a:pt x="377" y="101"/>
                  </a:moveTo>
                  <a:cubicBezTo>
                    <a:pt x="342" y="146"/>
                    <a:pt x="312" y="208"/>
                    <a:pt x="292" y="280"/>
                  </a:cubicBezTo>
                  <a:cubicBezTo>
                    <a:pt x="150" y="280"/>
                    <a:pt x="150" y="280"/>
                    <a:pt x="150" y="280"/>
                  </a:cubicBezTo>
                  <a:cubicBezTo>
                    <a:pt x="204" y="198"/>
                    <a:pt x="283" y="135"/>
                    <a:pt x="377" y="101"/>
                  </a:cubicBezTo>
                  <a:close/>
                  <a:moveTo>
                    <a:pt x="152" y="779"/>
                  </a:moveTo>
                  <a:cubicBezTo>
                    <a:pt x="293" y="779"/>
                    <a:pt x="293" y="779"/>
                    <a:pt x="293" y="779"/>
                  </a:cubicBezTo>
                  <a:cubicBezTo>
                    <a:pt x="313" y="850"/>
                    <a:pt x="342" y="910"/>
                    <a:pt x="377" y="955"/>
                  </a:cubicBezTo>
                  <a:cubicBezTo>
                    <a:pt x="284" y="922"/>
                    <a:pt x="206" y="860"/>
                    <a:pt x="152" y="779"/>
                  </a:cubicBezTo>
                  <a:close/>
                  <a:moveTo>
                    <a:pt x="682" y="954"/>
                  </a:moveTo>
                  <a:cubicBezTo>
                    <a:pt x="717" y="910"/>
                    <a:pt x="746" y="850"/>
                    <a:pt x="766" y="779"/>
                  </a:cubicBezTo>
                  <a:cubicBezTo>
                    <a:pt x="906" y="779"/>
                    <a:pt x="906" y="779"/>
                    <a:pt x="906" y="779"/>
                  </a:cubicBezTo>
                  <a:cubicBezTo>
                    <a:pt x="852" y="859"/>
                    <a:pt x="774" y="921"/>
                    <a:pt x="682" y="954"/>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nvGrpSpPr>
            <p:cNvPr id="355" name="Group 38"/>
            <p:cNvGrpSpPr>
              <a:grpSpLocks noChangeAspect="1"/>
            </p:cNvGrpSpPr>
            <p:nvPr/>
          </p:nvGrpSpPr>
          <p:grpSpPr bwMode="auto">
            <a:xfrm>
              <a:off x="4578264" y="5400084"/>
              <a:ext cx="185647" cy="265085"/>
              <a:chOff x="2995" y="957"/>
              <a:chExt cx="1685" cy="2406"/>
            </a:xfrm>
            <a:solidFill>
              <a:schemeClr val="bg1"/>
            </a:solidFill>
          </p:grpSpPr>
          <p:sp>
            <p:nvSpPr>
              <p:cNvPr id="360" name="Freeform 39"/>
              <p:cNvSpPr>
                <a:spLocks noEditPoints="1"/>
              </p:cNvSpPr>
              <p:nvPr/>
            </p:nvSpPr>
            <p:spPr bwMode="auto">
              <a:xfrm>
                <a:off x="2995" y="957"/>
                <a:ext cx="1685" cy="2406"/>
              </a:xfrm>
              <a:custGeom>
                <a:avLst/>
                <a:gdLst>
                  <a:gd name="T0" fmla="*/ 633 w 713"/>
                  <a:gd name="T1" fmla="*/ 923 h 1020"/>
                  <a:gd name="T2" fmla="*/ 635 w 713"/>
                  <a:gd name="T3" fmla="*/ 942 h 1020"/>
                  <a:gd name="T4" fmla="*/ 710 w 713"/>
                  <a:gd name="T5" fmla="*/ 985 h 1020"/>
                  <a:gd name="T6" fmla="*/ 707 w 713"/>
                  <a:gd name="T7" fmla="*/ 1019 h 1020"/>
                  <a:gd name="T8" fmla="*/ 698 w 713"/>
                  <a:gd name="T9" fmla="*/ 1020 h 1020"/>
                  <a:gd name="T10" fmla="*/ 27 w 713"/>
                  <a:gd name="T11" fmla="*/ 947 h 1020"/>
                  <a:gd name="T12" fmla="*/ 83 w 713"/>
                  <a:gd name="T13" fmla="*/ 944 h 1020"/>
                  <a:gd name="T14" fmla="*/ 118 w 713"/>
                  <a:gd name="T15" fmla="*/ 866 h 1020"/>
                  <a:gd name="T16" fmla="*/ 141 w 713"/>
                  <a:gd name="T17" fmla="*/ 761 h 1020"/>
                  <a:gd name="T18" fmla="*/ 268 w 713"/>
                  <a:gd name="T19" fmla="*/ 550 h 1020"/>
                  <a:gd name="T20" fmla="*/ 289 w 713"/>
                  <a:gd name="T21" fmla="*/ 499 h 1020"/>
                  <a:gd name="T22" fmla="*/ 188 w 713"/>
                  <a:gd name="T23" fmla="*/ 373 h 1020"/>
                  <a:gd name="T24" fmla="*/ 126 w 713"/>
                  <a:gd name="T25" fmla="*/ 161 h 1020"/>
                  <a:gd name="T26" fmla="*/ 85 w 713"/>
                  <a:gd name="T27" fmla="*/ 120 h 1020"/>
                  <a:gd name="T28" fmla="*/ 82 w 713"/>
                  <a:gd name="T29" fmla="*/ 79 h 1020"/>
                  <a:gd name="T30" fmla="*/ 6 w 713"/>
                  <a:gd name="T31" fmla="*/ 36 h 1020"/>
                  <a:gd name="T32" fmla="*/ 708 w 713"/>
                  <a:gd name="T33" fmla="*/ 3 h 1020"/>
                  <a:gd name="T34" fmla="*/ 710 w 713"/>
                  <a:gd name="T35" fmla="*/ 53 h 1020"/>
                  <a:gd name="T36" fmla="*/ 633 w 713"/>
                  <a:gd name="T37" fmla="*/ 79 h 1020"/>
                  <a:gd name="T38" fmla="*/ 596 w 713"/>
                  <a:gd name="T39" fmla="*/ 159 h 1020"/>
                  <a:gd name="T40" fmla="*/ 586 w 713"/>
                  <a:gd name="T41" fmla="*/ 204 h 1020"/>
                  <a:gd name="T42" fmla="*/ 451 w 713"/>
                  <a:gd name="T43" fmla="*/ 467 h 1020"/>
                  <a:gd name="T44" fmla="*/ 423 w 713"/>
                  <a:gd name="T45" fmla="*/ 523 h 1020"/>
                  <a:gd name="T46" fmla="*/ 512 w 713"/>
                  <a:gd name="T47" fmla="*/ 627 h 1020"/>
                  <a:gd name="T48" fmla="*/ 592 w 713"/>
                  <a:gd name="T49" fmla="*/ 864 h 1020"/>
                  <a:gd name="T50" fmla="*/ 168 w 713"/>
                  <a:gd name="T51" fmla="*/ 197 h 1020"/>
                  <a:gd name="T52" fmla="*/ 284 w 713"/>
                  <a:gd name="T53" fmla="*/ 432 h 1020"/>
                  <a:gd name="T54" fmla="*/ 319 w 713"/>
                  <a:gd name="T55" fmla="*/ 550 h 1020"/>
                  <a:gd name="T56" fmla="*/ 214 w 713"/>
                  <a:gd name="T57" fmla="*/ 683 h 1020"/>
                  <a:gd name="T58" fmla="*/ 166 w 713"/>
                  <a:gd name="T59" fmla="*/ 863 h 1020"/>
                  <a:gd name="T60" fmla="*/ 262 w 713"/>
                  <a:gd name="T61" fmla="*/ 768 h 1020"/>
                  <a:gd name="T62" fmla="*/ 370 w 713"/>
                  <a:gd name="T63" fmla="*/ 718 h 1020"/>
                  <a:gd name="T64" fmla="*/ 504 w 713"/>
                  <a:gd name="T65" fmla="*/ 850 h 1020"/>
                  <a:gd name="T66" fmla="*/ 552 w 713"/>
                  <a:gd name="T67" fmla="*/ 863 h 1020"/>
                  <a:gd name="T68" fmla="*/ 502 w 713"/>
                  <a:gd name="T69" fmla="*/ 685 h 1020"/>
                  <a:gd name="T70" fmla="*/ 394 w 713"/>
                  <a:gd name="T71" fmla="*/ 549 h 1020"/>
                  <a:gd name="T72" fmla="*/ 400 w 713"/>
                  <a:gd name="T73" fmla="*/ 466 h 1020"/>
                  <a:gd name="T74" fmla="*/ 543 w 713"/>
                  <a:gd name="T75" fmla="*/ 227 h 1020"/>
                  <a:gd name="T76" fmla="*/ 164 w 713"/>
                  <a:gd name="T77" fmla="*/ 161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13" h="1020">
                    <a:moveTo>
                      <a:pt x="592" y="864"/>
                    </a:moveTo>
                    <a:cubicBezTo>
                      <a:pt x="627" y="870"/>
                      <a:pt x="635" y="893"/>
                      <a:pt x="633" y="923"/>
                    </a:cubicBezTo>
                    <a:cubicBezTo>
                      <a:pt x="633" y="928"/>
                      <a:pt x="633" y="933"/>
                      <a:pt x="633" y="937"/>
                    </a:cubicBezTo>
                    <a:cubicBezTo>
                      <a:pt x="633" y="938"/>
                      <a:pt x="634" y="940"/>
                      <a:pt x="635" y="942"/>
                    </a:cubicBezTo>
                    <a:cubicBezTo>
                      <a:pt x="652" y="944"/>
                      <a:pt x="671" y="945"/>
                      <a:pt x="688" y="947"/>
                    </a:cubicBezTo>
                    <a:cubicBezTo>
                      <a:pt x="704" y="956"/>
                      <a:pt x="711" y="968"/>
                      <a:pt x="710" y="985"/>
                    </a:cubicBezTo>
                    <a:cubicBezTo>
                      <a:pt x="709" y="996"/>
                      <a:pt x="709" y="1007"/>
                      <a:pt x="709" y="1017"/>
                    </a:cubicBezTo>
                    <a:cubicBezTo>
                      <a:pt x="708" y="1018"/>
                      <a:pt x="708" y="1018"/>
                      <a:pt x="707" y="1019"/>
                    </a:cubicBezTo>
                    <a:cubicBezTo>
                      <a:pt x="707" y="1019"/>
                      <a:pt x="706" y="1020"/>
                      <a:pt x="706" y="1020"/>
                    </a:cubicBezTo>
                    <a:cubicBezTo>
                      <a:pt x="703" y="1020"/>
                      <a:pt x="701" y="1020"/>
                      <a:pt x="698" y="1020"/>
                    </a:cubicBezTo>
                    <a:cubicBezTo>
                      <a:pt x="468" y="1020"/>
                      <a:pt x="238" y="1020"/>
                      <a:pt x="8" y="1020"/>
                    </a:cubicBezTo>
                    <a:cubicBezTo>
                      <a:pt x="0" y="987"/>
                      <a:pt x="5" y="965"/>
                      <a:pt x="27" y="947"/>
                    </a:cubicBezTo>
                    <a:cubicBezTo>
                      <a:pt x="36" y="946"/>
                      <a:pt x="45" y="945"/>
                      <a:pt x="54" y="944"/>
                    </a:cubicBezTo>
                    <a:cubicBezTo>
                      <a:pt x="63" y="944"/>
                      <a:pt x="73" y="944"/>
                      <a:pt x="83" y="944"/>
                    </a:cubicBezTo>
                    <a:cubicBezTo>
                      <a:pt x="84" y="931"/>
                      <a:pt x="84" y="920"/>
                      <a:pt x="84" y="908"/>
                    </a:cubicBezTo>
                    <a:cubicBezTo>
                      <a:pt x="85" y="884"/>
                      <a:pt x="94" y="873"/>
                      <a:pt x="118" y="866"/>
                    </a:cubicBezTo>
                    <a:cubicBezTo>
                      <a:pt x="121" y="865"/>
                      <a:pt x="124" y="863"/>
                      <a:pt x="128" y="861"/>
                    </a:cubicBezTo>
                    <a:cubicBezTo>
                      <a:pt x="127" y="827"/>
                      <a:pt x="132" y="794"/>
                      <a:pt x="141" y="761"/>
                    </a:cubicBezTo>
                    <a:cubicBezTo>
                      <a:pt x="155" y="705"/>
                      <a:pt x="180" y="655"/>
                      <a:pt x="216" y="610"/>
                    </a:cubicBezTo>
                    <a:cubicBezTo>
                      <a:pt x="233" y="590"/>
                      <a:pt x="251" y="570"/>
                      <a:pt x="268" y="550"/>
                    </a:cubicBezTo>
                    <a:cubicBezTo>
                      <a:pt x="275" y="542"/>
                      <a:pt x="282" y="534"/>
                      <a:pt x="289" y="525"/>
                    </a:cubicBezTo>
                    <a:cubicBezTo>
                      <a:pt x="295" y="517"/>
                      <a:pt x="296" y="508"/>
                      <a:pt x="289" y="499"/>
                    </a:cubicBezTo>
                    <a:cubicBezTo>
                      <a:pt x="282" y="489"/>
                      <a:pt x="274" y="479"/>
                      <a:pt x="265" y="470"/>
                    </a:cubicBezTo>
                    <a:cubicBezTo>
                      <a:pt x="237" y="440"/>
                      <a:pt x="210" y="408"/>
                      <a:pt x="188" y="373"/>
                    </a:cubicBezTo>
                    <a:cubicBezTo>
                      <a:pt x="159" y="328"/>
                      <a:pt x="141" y="278"/>
                      <a:pt x="133" y="225"/>
                    </a:cubicBezTo>
                    <a:cubicBezTo>
                      <a:pt x="130" y="204"/>
                      <a:pt x="128" y="183"/>
                      <a:pt x="126" y="161"/>
                    </a:cubicBezTo>
                    <a:cubicBezTo>
                      <a:pt x="121" y="159"/>
                      <a:pt x="117" y="157"/>
                      <a:pt x="112" y="156"/>
                    </a:cubicBezTo>
                    <a:cubicBezTo>
                      <a:pt x="95" y="150"/>
                      <a:pt x="85" y="138"/>
                      <a:pt x="85" y="120"/>
                    </a:cubicBezTo>
                    <a:cubicBezTo>
                      <a:pt x="84" y="111"/>
                      <a:pt x="84" y="103"/>
                      <a:pt x="84" y="94"/>
                    </a:cubicBezTo>
                    <a:cubicBezTo>
                      <a:pt x="84" y="90"/>
                      <a:pt x="83" y="85"/>
                      <a:pt x="82" y="79"/>
                    </a:cubicBezTo>
                    <a:cubicBezTo>
                      <a:pt x="70" y="79"/>
                      <a:pt x="59" y="79"/>
                      <a:pt x="47" y="79"/>
                    </a:cubicBezTo>
                    <a:cubicBezTo>
                      <a:pt x="20" y="78"/>
                      <a:pt x="7" y="64"/>
                      <a:pt x="6" y="36"/>
                    </a:cubicBezTo>
                    <a:cubicBezTo>
                      <a:pt x="5" y="26"/>
                      <a:pt x="6" y="15"/>
                      <a:pt x="6" y="5"/>
                    </a:cubicBezTo>
                    <a:cubicBezTo>
                      <a:pt x="21" y="1"/>
                      <a:pt x="669" y="0"/>
                      <a:pt x="708" y="3"/>
                    </a:cubicBezTo>
                    <a:cubicBezTo>
                      <a:pt x="713" y="11"/>
                      <a:pt x="709" y="21"/>
                      <a:pt x="710" y="30"/>
                    </a:cubicBezTo>
                    <a:cubicBezTo>
                      <a:pt x="710" y="38"/>
                      <a:pt x="710" y="47"/>
                      <a:pt x="710" y="53"/>
                    </a:cubicBezTo>
                    <a:cubicBezTo>
                      <a:pt x="699" y="72"/>
                      <a:pt x="686" y="80"/>
                      <a:pt x="667" y="79"/>
                    </a:cubicBezTo>
                    <a:cubicBezTo>
                      <a:pt x="657" y="78"/>
                      <a:pt x="646" y="79"/>
                      <a:pt x="633" y="79"/>
                    </a:cubicBezTo>
                    <a:cubicBezTo>
                      <a:pt x="633" y="88"/>
                      <a:pt x="633" y="96"/>
                      <a:pt x="633" y="104"/>
                    </a:cubicBezTo>
                    <a:cubicBezTo>
                      <a:pt x="633" y="138"/>
                      <a:pt x="627" y="146"/>
                      <a:pt x="596" y="159"/>
                    </a:cubicBezTo>
                    <a:cubicBezTo>
                      <a:pt x="595" y="159"/>
                      <a:pt x="594" y="160"/>
                      <a:pt x="591" y="162"/>
                    </a:cubicBezTo>
                    <a:cubicBezTo>
                      <a:pt x="589" y="175"/>
                      <a:pt x="587" y="190"/>
                      <a:pt x="586" y="204"/>
                    </a:cubicBezTo>
                    <a:cubicBezTo>
                      <a:pt x="578" y="283"/>
                      <a:pt x="548" y="352"/>
                      <a:pt x="499" y="413"/>
                    </a:cubicBezTo>
                    <a:cubicBezTo>
                      <a:pt x="484" y="432"/>
                      <a:pt x="467" y="449"/>
                      <a:pt x="451" y="467"/>
                    </a:cubicBezTo>
                    <a:cubicBezTo>
                      <a:pt x="443" y="476"/>
                      <a:pt x="436" y="485"/>
                      <a:pt x="428" y="494"/>
                    </a:cubicBezTo>
                    <a:cubicBezTo>
                      <a:pt x="422" y="501"/>
                      <a:pt x="419" y="509"/>
                      <a:pt x="423" y="523"/>
                    </a:cubicBezTo>
                    <a:cubicBezTo>
                      <a:pt x="430" y="531"/>
                      <a:pt x="440" y="543"/>
                      <a:pt x="450" y="554"/>
                    </a:cubicBezTo>
                    <a:cubicBezTo>
                      <a:pt x="470" y="578"/>
                      <a:pt x="492" y="602"/>
                      <a:pt x="512" y="627"/>
                    </a:cubicBezTo>
                    <a:cubicBezTo>
                      <a:pt x="553" y="683"/>
                      <a:pt x="577" y="746"/>
                      <a:pt x="585" y="814"/>
                    </a:cubicBezTo>
                    <a:cubicBezTo>
                      <a:pt x="587" y="830"/>
                      <a:pt x="590" y="846"/>
                      <a:pt x="592" y="864"/>
                    </a:cubicBezTo>
                    <a:close/>
                    <a:moveTo>
                      <a:pt x="164" y="161"/>
                    </a:moveTo>
                    <a:cubicBezTo>
                      <a:pt x="166" y="174"/>
                      <a:pt x="167" y="185"/>
                      <a:pt x="168" y="197"/>
                    </a:cubicBezTo>
                    <a:cubicBezTo>
                      <a:pt x="173" y="244"/>
                      <a:pt x="187" y="288"/>
                      <a:pt x="209" y="330"/>
                    </a:cubicBezTo>
                    <a:cubicBezTo>
                      <a:pt x="228" y="368"/>
                      <a:pt x="256" y="401"/>
                      <a:pt x="284" y="432"/>
                    </a:cubicBezTo>
                    <a:cubicBezTo>
                      <a:pt x="297" y="447"/>
                      <a:pt x="310" y="461"/>
                      <a:pt x="322" y="477"/>
                    </a:cubicBezTo>
                    <a:cubicBezTo>
                      <a:pt x="339" y="501"/>
                      <a:pt x="338" y="527"/>
                      <a:pt x="319" y="550"/>
                    </a:cubicBezTo>
                    <a:cubicBezTo>
                      <a:pt x="308" y="564"/>
                      <a:pt x="296" y="578"/>
                      <a:pt x="284" y="591"/>
                    </a:cubicBezTo>
                    <a:cubicBezTo>
                      <a:pt x="258" y="620"/>
                      <a:pt x="233" y="649"/>
                      <a:pt x="214" y="683"/>
                    </a:cubicBezTo>
                    <a:cubicBezTo>
                      <a:pt x="184" y="735"/>
                      <a:pt x="170" y="791"/>
                      <a:pt x="165" y="850"/>
                    </a:cubicBezTo>
                    <a:cubicBezTo>
                      <a:pt x="165" y="854"/>
                      <a:pt x="166" y="859"/>
                      <a:pt x="166" y="863"/>
                    </a:cubicBezTo>
                    <a:cubicBezTo>
                      <a:pt x="182" y="863"/>
                      <a:pt x="197" y="863"/>
                      <a:pt x="212" y="863"/>
                    </a:cubicBezTo>
                    <a:cubicBezTo>
                      <a:pt x="212" y="821"/>
                      <a:pt x="234" y="793"/>
                      <a:pt x="262" y="768"/>
                    </a:cubicBezTo>
                    <a:cubicBezTo>
                      <a:pt x="287" y="746"/>
                      <a:pt x="315" y="730"/>
                      <a:pt x="345" y="717"/>
                    </a:cubicBezTo>
                    <a:cubicBezTo>
                      <a:pt x="354" y="713"/>
                      <a:pt x="362" y="714"/>
                      <a:pt x="370" y="718"/>
                    </a:cubicBezTo>
                    <a:cubicBezTo>
                      <a:pt x="411" y="739"/>
                      <a:pt x="449" y="763"/>
                      <a:pt x="478" y="799"/>
                    </a:cubicBezTo>
                    <a:cubicBezTo>
                      <a:pt x="491" y="814"/>
                      <a:pt x="500" y="830"/>
                      <a:pt x="504" y="850"/>
                    </a:cubicBezTo>
                    <a:cubicBezTo>
                      <a:pt x="505" y="854"/>
                      <a:pt x="505" y="859"/>
                      <a:pt x="506" y="863"/>
                    </a:cubicBezTo>
                    <a:cubicBezTo>
                      <a:pt x="522" y="863"/>
                      <a:pt x="536" y="863"/>
                      <a:pt x="552" y="863"/>
                    </a:cubicBezTo>
                    <a:cubicBezTo>
                      <a:pt x="550" y="843"/>
                      <a:pt x="548" y="825"/>
                      <a:pt x="545" y="806"/>
                    </a:cubicBezTo>
                    <a:cubicBezTo>
                      <a:pt x="537" y="764"/>
                      <a:pt x="524" y="723"/>
                      <a:pt x="502" y="685"/>
                    </a:cubicBezTo>
                    <a:cubicBezTo>
                      <a:pt x="483" y="651"/>
                      <a:pt x="457" y="621"/>
                      <a:pt x="431" y="591"/>
                    </a:cubicBezTo>
                    <a:cubicBezTo>
                      <a:pt x="418" y="578"/>
                      <a:pt x="406" y="564"/>
                      <a:pt x="394" y="549"/>
                    </a:cubicBezTo>
                    <a:cubicBezTo>
                      <a:pt x="382" y="535"/>
                      <a:pt x="377" y="518"/>
                      <a:pt x="382" y="501"/>
                    </a:cubicBezTo>
                    <a:cubicBezTo>
                      <a:pt x="385" y="489"/>
                      <a:pt x="392" y="477"/>
                      <a:pt x="400" y="466"/>
                    </a:cubicBezTo>
                    <a:cubicBezTo>
                      <a:pt x="413" y="450"/>
                      <a:pt x="428" y="435"/>
                      <a:pt x="442" y="420"/>
                    </a:cubicBezTo>
                    <a:cubicBezTo>
                      <a:pt x="492" y="365"/>
                      <a:pt x="530" y="302"/>
                      <a:pt x="543" y="227"/>
                    </a:cubicBezTo>
                    <a:cubicBezTo>
                      <a:pt x="547" y="205"/>
                      <a:pt x="551" y="184"/>
                      <a:pt x="551" y="162"/>
                    </a:cubicBezTo>
                    <a:cubicBezTo>
                      <a:pt x="533" y="158"/>
                      <a:pt x="201" y="156"/>
                      <a:pt x="164"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61" name="Freeform 40"/>
              <p:cNvSpPr>
                <a:spLocks/>
              </p:cNvSpPr>
              <p:nvPr/>
            </p:nvSpPr>
            <p:spPr bwMode="auto">
              <a:xfrm>
                <a:off x="3624" y="1721"/>
                <a:ext cx="437" cy="335"/>
              </a:xfrm>
              <a:custGeom>
                <a:avLst/>
                <a:gdLst>
                  <a:gd name="T0" fmla="*/ 0 w 185"/>
                  <a:gd name="T1" fmla="*/ 20 h 142"/>
                  <a:gd name="T2" fmla="*/ 19 w 185"/>
                  <a:gd name="T3" fmla="*/ 3 h 142"/>
                  <a:gd name="T4" fmla="*/ 51 w 185"/>
                  <a:gd name="T5" fmla="*/ 0 h 142"/>
                  <a:gd name="T6" fmla="*/ 158 w 185"/>
                  <a:gd name="T7" fmla="*/ 3 h 142"/>
                  <a:gd name="T8" fmla="*/ 180 w 185"/>
                  <a:gd name="T9" fmla="*/ 8 h 142"/>
                  <a:gd name="T10" fmla="*/ 181 w 185"/>
                  <a:gd name="T11" fmla="*/ 36 h 142"/>
                  <a:gd name="T12" fmla="*/ 147 w 185"/>
                  <a:gd name="T13" fmla="*/ 92 h 142"/>
                  <a:gd name="T14" fmla="*/ 92 w 185"/>
                  <a:gd name="T15" fmla="*/ 142 h 142"/>
                  <a:gd name="T16" fmla="*/ 0 w 185"/>
                  <a:gd name="T17" fmla="*/ 2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 h="142">
                    <a:moveTo>
                      <a:pt x="0" y="20"/>
                    </a:moveTo>
                    <a:cubicBezTo>
                      <a:pt x="4" y="8"/>
                      <a:pt x="11" y="4"/>
                      <a:pt x="19" y="3"/>
                    </a:cubicBezTo>
                    <a:cubicBezTo>
                      <a:pt x="30" y="2"/>
                      <a:pt x="40" y="0"/>
                      <a:pt x="51" y="0"/>
                    </a:cubicBezTo>
                    <a:cubicBezTo>
                      <a:pt x="87" y="1"/>
                      <a:pt x="123" y="2"/>
                      <a:pt x="158" y="3"/>
                    </a:cubicBezTo>
                    <a:cubicBezTo>
                      <a:pt x="166" y="3"/>
                      <a:pt x="173" y="7"/>
                      <a:pt x="180" y="8"/>
                    </a:cubicBezTo>
                    <a:cubicBezTo>
                      <a:pt x="185" y="19"/>
                      <a:pt x="183" y="27"/>
                      <a:pt x="181" y="36"/>
                    </a:cubicBezTo>
                    <a:cubicBezTo>
                      <a:pt x="175" y="57"/>
                      <a:pt x="162" y="75"/>
                      <a:pt x="147" y="92"/>
                    </a:cubicBezTo>
                    <a:cubicBezTo>
                      <a:pt x="131" y="110"/>
                      <a:pt x="114" y="127"/>
                      <a:pt x="92" y="142"/>
                    </a:cubicBezTo>
                    <a:cubicBezTo>
                      <a:pt x="52" y="108"/>
                      <a:pt x="13" y="73"/>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grpSp>
        <p:sp>
          <p:nvSpPr>
            <p:cNvPr id="356" name="Freeform 35"/>
            <p:cNvSpPr>
              <a:spLocks/>
            </p:cNvSpPr>
            <p:nvPr/>
          </p:nvSpPr>
          <p:spPr bwMode="auto">
            <a:xfrm>
              <a:off x="4538488" y="5934398"/>
              <a:ext cx="265200" cy="295673"/>
            </a:xfrm>
            <a:custGeom>
              <a:avLst/>
              <a:gdLst>
                <a:gd name="T0" fmla="*/ 382 w 880"/>
                <a:gd name="T1" fmla="*/ 449 h 983"/>
                <a:gd name="T2" fmla="*/ 431 w 880"/>
                <a:gd name="T3" fmla="*/ 419 h 983"/>
                <a:gd name="T4" fmla="*/ 431 w 880"/>
                <a:gd name="T5" fmla="*/ 132 h 983"/>
                <a:gd name="T6" fmla="*/ 380 w 880"/>
                <a:gd name="T7" fmla="*/ 89 h 983"/>
                <a:gd name="T8" fmla="*/ 379 w 880"/>
                <a:gd name="T9" fmla="*/ 48 h 983"/>
                <a:gd name="T10" fmla="*/ 442 w 880"/>
                <a:gd name="T11" fmla="*/ 1 h 983"/>
                <a:gd name="T12" fmla="*/ 503 w 880"/>
                <a:gd name="T13" fmla="*/ 53 h 983"/>
                <a:gd name="T14" fmla="*/ 450 w 880"/>
                <a:gd name="T15" fmla="*/ 132 h 983"/>
                <a:gd name="T16" fmla="*/ 450 w 880"/>
                <a:gd name="T17" fmla="*/ 420 h 983"/>
                <a:gd name="T18" fmla="*/ 494 w 880"/>
                <a:gd name="T19" fmla="*/ 445 h 983"/>
                <a:gd name="T20" fmla="*/ 747 w 880"/>
                <a:gd name="T21" fmla="*/ 296 h 983"/>
                <a:gd name="T22" fmla="*/ 790 w 880"/>
                <a:gd name="T23" fmla="*/ 208 h 983"/>
                <a:gd name="T24" fmla="*/ 865 w 880"/>
                <a:gd name="T25" fmla="*/ 239 h 983"/>
                <a:gd name="T26" fmla="*/ 852 w 880"/>
                <a:gd name="T27" fmla="*/ 317 h 983"/>
                <a:gd name="T28" fmla="*/ 756 w 880"/>
                <a:gd name="T29" fmla="*/ 311 h 983"/>
                <a:gd name="T30" fmla="*/ 502 w 880"/>
                <a:gd name="T31" fmla="*/ 460 h 983"/>
                <a:gd name="T32" fmla="*/ 502 w 880"/>
                <a:gd name="T33" fmla="*/ 518 h 983"/>
                <a:gd name="T34" fmla="*/ 756 w 880"/>
                <a:gd name="T35" fmla="*/ 665 h 983"/>
                <a:gd name="T36" fmla="*/ 817 w 880"/>
                <a:gd name="T37" fmla="*/ 641 h 983"/>
                <a:gd name="T38" fmla="*/ 854 w 880"/>
                <a:gd name="T39" fmla="*/ 659 h 983"/>
                <a:gd name="T40" fmla="*/ 863 w 880"/>
                <a:gd name="T41" fmla="*/ 740 h 983"/>
                <a:gd name="T42" fmla="*/ 786 w 880"/>
                <a:gd name="T43" fmla="*/ 765 h 983"/>
                <a:gd name="T44" fmla="*/ 747 w 880"/>
                <a:gd name="T45" fmla="*/ 679 h 983"/>
                <a:gd name="T46" fmla="*/ 492 w 880"/>
                <a:gd name="T47" fmla="*/ 531 h 983"/>
                <a:gd name="T48" fmla="*/ 450 w 880"/>
                <a:gd name="T49" fmla="*/ 554 h 983"/>
                <a:gd name="T50" fmla="*/ 450 w 880"/>
                <a:gd name="T51" fmla="*/ 852 h 983"/>
                <a:gd name="T52" fmla="*/ 502 w 880"/>
                <a:gd name="T53" fmla="*/ 933 h 983"/>
                <a:gd name="T54" fmla="*/ 440 w 880"/>
                <a:gd name="T55" fmla="*/ 982 h 983"/>
                <a:gd name="T56" fmla="*/ 377 w 880"/>
                <a:gd name="T57" fmla="*/ 932 h 983"/>
                <a:gd name="T58" fmla="*/ 431 w 880"/>
                <a:gd name="T59" fmla="*/ 852 h 983"/>
                <a:gd name="T60" fmla="*/ 431 w 880"/>
                <a:gd name="T61" fmla="*/ 555 h 983"/>
                <a:gd name="T62" fmla="*/ 385 w 880"/>
                <a:gd name="T63" fmla="*/ 529 h 983"/>
                <a:gd name="T64" fmla="*/ 133 w 880"/>
                <a:gd name="T65" fmla="*/ 678 h 983"/>
                <a:gd name="T66" fmla="*/ 91 w 880"/>
                <a:gd name="T67" fmla="*/ 766 h 983"/>
                <a:gd name="T68" fmla="*/ 15 w 880"/>
                <a:gd name="T69" fmla="*/ 737 h 983"/>
                <a:gd name="T70" fmla="*/ 28 w 880"/>
                <a:gd name="T71" fmla="*/ 657 h 983"/>
                <a:gd name="T72" fmla="*/ 123 w 880"/>
                <a:gd name="T73" fmla="*/ 664 h 983"/>
                <a:gd name="T74" fmla="*/ 378 w 880"/>
                <a:gd name="T75" fmla="*/ 514 h 983"/>
                <a:gd name="T76" fmla="*/ 375 w 880"/>
                <a:gd name="T77" fmla="*/ 464 h 983"/>
                <a:gd name="T78" fmla="*/ 123 w 880"/>
                <a:gd name="T79" fmla="*/ 319 h 983"/>
                <a:gd name="T80" fmla="*/ 59 w 880"/>
                <a:gd name="T81" fmla="*/ 342 h 983"/>
                <a:gd name="T82" fmla="*/ 25 w 880"/>
                <a:gd name="T83" fmla="*/ 323 h 983"/>
                <a:gd name="T84" fmla="*/ 16 w 880"/>
                <a:gd name="T85" fmla="*/ 244 h 983"/>
                <a:gd name="T86" fmla="*/ 92 w 880"/>
                <a:gd name="T87" fmla="*/ 218 h 983"/>
                <a:gd name="T88" fmla="*/ 133 w 880"/>
                <a:gd name="T89" fmla="*/ 305 h 983"/>
                <a:gd name="T90" fmla="*/ 382 w 880"/>
                <a:gd name="T91" fmla="*/ 449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80" h="983">
                  <a:moveTo>
                    <a:pt x="382" y="449"/>
                  </a:moveTo>
                  <a:cubicBezTo>
                    <a:pt x="399" y="438"/>
                    <a:pt x="414" y="429"/>
                    <a:pt x="431" y="419"/>
                  </a:cubicBezTo>
                  <a:cubicBezTo>
                    <a:pt x="431" y="325"/>
                    <a:pt x="431" y="229"/>
                    <a:pt x="431" y="132"/>
                  </a:cubicBezTo>
                  <a:cubicBezTo>
                    <a:pt x="409" y="124"/>
                    <a:pt x="387" y="114"/>
                    <a:pt x="380" y="89"/>
                  </a:cubicBezTo>
                  <a:cubicBezTo>
                    <a:pt x="377" y="76"/>
                    <a:pt x="376" y="61"/>
                    <a:pt x="379" y="48"/>
                  </a:cubicBezTo>
                  <a:cubicBezTo>
                    <a:pt x="385" y="19"/>
                    <a:pt x="413" y="0"/>
                    <a:pt x="442" y="1"/>
                  </a:cubicBezTo>
                  <a:cubicBezTo>
                    <a:pt x="471" y="2"/>
                    <a:pt x="498" y="25"/>
                    <a:pt x="503" y="53"/>
                  </a:cubicBezTo>
                  <a:cubicBezTo>
                    <a:pt x="509" y="89"/>
                    <a:pt x="494" y="112"/>
                    <a:pt x="450" y="132"/>
                  </a:cubicBezTo>
                  <a:cubicBezTo>
                    <a:pt x="450" y="228"/>
                    <a:pt x="450" y="324"/>
                    <a:pt x="450" y="420"/>
                  </a:cubicBezTo>
                  <a:cubicBezTo>
                    <a:pt x="464" y="428"/>
                    <a:pt x="479" y="436"/>
                    <a:pt x="494" y="445"/>
                  </a:cubicBezTo>
                  <a:cubicBezTo>
                    <a:pt x="578" y="396"/>
                    <a:pt x="663" y="346"/>
                    <a:pt x="747" y="296"/>
                  </a:cubicBezTo>
                  <a:cubicBezTo>
                    <a:pt x="744" y="244"/>
                    <a:pt x="757" y="217"/>
                    <a:pt x="790" y="208"/>
                  </a:cubicBezTo>
                  <a:cubicBezTo>
                    <a:pt x="820" y="199"/>
                    <a:pt x="851" y="212"/>
                    <a:pt x="865" y="239"/>
                  </a:cubicBezTo>
                  <a:cubicBezTo>
                    <a:pt x="880" y="264"/>
                    <a:pt x="874" y="297"/>
                    <a:pt x="852" y="317"/>
                  </a:cubicBezTo>
                  <a:cubicBezTo>
                    <a:pt x="826" y="341"/>
                    <a:pt x="796" y="340"/>
                    <a:pt x="756" y="311"/>
                  </a:cubicBezTo>
                  <a:cubicBezTo>
                    <a:pt x="672" y="360"/>
                    <a:pt x="587" y="410"/>
                    <a:pt x="502" y="460"/>
                  </a:cubicBezTo>
                  <a:cubicBezTo>
                    <a:pt x="502" y="479"/>
                    <a:pt x="502" y="497"/>
                    <a:pt x="502" y="518"/>
                  </a:cubicBezTo>
                  <a:cubicBezTo>
                    <a:pt x="585" y="566"/>
                    <a:pt x="670" y="615"/>
                    <a:pt x="756" y="665"/>
                  </a:cubicBezTo>
                  <a:cubicBezTo>
                    <a:pt x="774" y="649"/>
                    <a:pt x="793" y="637"/>
                    <a:pt x="817" y="641"/>
                  </a:cubicBezTo>
                  <a:cubicBezTo>
                    <a:pt x="830" y="644"/>
                    <a:pt x="844" y="651"/>
                    <a:pt x="854" y="659"/>
                  </a:cubicBezTo>
                  <a:cubicBezTo>
                    <a:pt x="877" y="679"/>
                    <a:pt x="880" y="714"/>
                    <a:pt x="863" y="740"/>
                  </a:cubicBezTo>
                  <a:cubicBezTo>
                    <a:pt x="847" y="765"/>
                    <a:pt x="815" y="776"/>
                    <a:pt x="786" y="765"/>
                  </a:cubicBezTo>
                  <a:cubicBezTo>
                    <a:pt x="754" y="753"/>
                    <a:pt x="741" y="726"/>
                    <a:pt x="747" y="679"/>
                  </a:cubicBezTo>
                  <a:cubicBezTo>
                    <a:pt x="662" y="630"/>
                    <a:pt x="577" y="581"/>
                    <a:pt x="492" y="531"/>
                  </a:cubicBezTo>
                  <a:cubicBezTo>
                    <a:pt x="478" y="539"/>
                    <a:pt x="465" y="546"/>
                    <a:pt x="450" y="554"/>
                  </a:cubicBezTo>
                  <a:cubicBezTo>
                    <a:pt x="450" y="652"/>
                    <a:pt x="450" y="752"/>
                    <a:pt x="450" y="852"/>
                  </a:cubicBezTo>
                  <a:cubicBezTo>
                    <a:pt x="494" y="871"/>
                    <a:pt x="510" y="896"/>
                    <a:pt x="502" y="933"/>
                  </a:cubicBezTo>
                  <a:cubicBezTo>
                    <a:pt x="496" y="961"/>
                    <a:pt x="470" y="982"/>
                    <a:pt x="440" y="982"/>
                  </a:cubicBezTo>
                  <a:cubicBezTo>
                    <a:pt x="410" y="983"/>
                    <a:pt x="383" y="962"/>
                    <a:pt x="377" y="932"/>
                  </a:cubicBezTo>
                  <a:cubicBezTo>
                    <a:pt x="369" y="897"/>
                    <a:pt x="386" y="871"/>
                    <a:pt x="431" y="852"/>
                  </a:cubicBezTo>
                  <a:cubicBezTo>
                    <a:pt x="431" y="752"/>
                    <a:pt x="431" y="653"/>
                    <a:pt x="431" y="555"/>
                  </a:cubicBezTo>
                  <a:cubicBezTo>
                    <a:pt x="416" y="546"/>
                    <a:pt x="402" y="538"/>
                    <a:pt x="385" y="529"/>
                  </a:cubicBezTo>
                  <a:cubicBezTo>
                    <a:pt x="302" y="578"/>
                    <a:pt x="217" y="628"/>
                    <a:pt x="133" y="678"/>
                  </a:cubicBezTo>
                  <a:cubicBezTo>
                    <a:pt x="138" y="728"/>
                    <a:pt x="125" y="755"/>
                    <a:pt x="91" y="766"/>
                  </a:cubicBezTo>
                  <a:cubicBezTo>
                    <a:pt x="62" y="776"/>
                    <a:pt x="30" y="764"/>
                    <a:pt x="15" y="737"/>
                  </a:cubicBezTo>
                  <a:cubicBezTo>
                    <a:pt x="0" y="711"/>
                    <a:pt x="5" y="676"/>
                    <a:pt x="28" y="657"/>
                  </a:cubicBezTo>
                  <a:cubicBezTo>
                    <a:pt x="55" y="634"/>
                    <a:pt x="87" y="636"/>
                    <a:pt x="123" y="664"/>
                  </a:cubicBezTo>
                  <a:cubicBezTo>
                    <a:pt x="208" y="614"/>
                    <a:pt x="293" y="564"/>
                    <a:pt x="378" y="514"/>
                  </a:cubicBezTo>
                  <a:cubicBezTo>
                    <a:pt x="377" y="497"/>
                    <a:pt x="376" y="482"/>
                    <a:pt x="375" y="464"/>
                  </a:cubicBezTo>
                  <a:cubicBezTo>
                    <a:pt x="293" y="417"/>
                    <a:pt x="209" y="368"/>
                    <a:pt x="123" y="319"/>
                  </a:cubicBezTo>
                  <a:cubicBezTo>
                    <a:pt x="106" y="337"/>
                    <a:pt x="84" y="348"/>
                    <a:pt x="59" y="342"/>
                  </a:cubicBezTo>
                  <a:cubicBezTo>
                    <a:pt x="47" y="339"/>
                    <a:pt x="34" y="332"/>
                    <a:pt x="25" y="323"/>
                  </a:cubicBezTo>
                  <a:cubicBezTo>
                    <a:pt x="3" y="304"/>
                    <a:pt x="1" y="269"/>
                    <a:pt x="16" y="244"/>
                  </a:cubicBezTo>
                  <a:cubicBezTo>
                    <a:pt x="32" y="219"/>
                    <a:pt x="63" y="209"/>
                    <a:pt x="92" y="218"/>
                  </a:cubicBezTo>
                  <a:cubicBezTo>
                    <a:pt x="125" y="229"/>
                    <a:pt x="138" y="255"/>
                    <a:pt x="133" y="305"/>
                  </a:cubicBezTo>
                  <a:cubicBezTo>
                    <a:pt x="216" y="353"/>
                    <a:pt x="300" y="401"/>
                    <a:pt x="382" y="449"/>
                  </a:cubicBezTo>
                  <a:close/>
                </a:path>
              </a:pathLst>
            </a:custGeom>
            <a:solidFill>
              <a:schemeClr val="bg1"/>
            </a:solidFill>
            <a:ln>
              <a:solidFill>
                <a:schemeClr val="bg1"/>
              </a:solidFill>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Light" panose="020B0502040204020203" pitchFamily="34" charset="0"/>
                <a:ea typeface="+mn-ea"/>
                <a:cs typeface="Segoe UI Light" panose="020B0502040204020203" pitchFamily="34" charset="0"/>
              </a:endParaRPr>
            </a:p>
          </p:txBody>
        </p:sp>
        <p:sp>
          <p:nvSpPr>
            <p:cNvPr id="357" name="Rectangle 356"/>
            <p:cNvSpPr/>
            <p:nvPr/>
          </p:nvSpPr>
          <p:spPr>
            <a:xfrm>
              <a:off x="425343" y="6383855"/>
              <a:ext cx="3986218" cy="459391"/>
            </a:xfrm>
            <a:prstGeom prst="rect">
              <a:avLst/>
            </a:prstGeom>
            <a:solidFill>
              <a:schemeClr val="bg2">
                <a:lumMod val="2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82854" rIns="182854" rtlCol="0" anchor="ctr"/>
            <a:lstStyle/>
            <a:p>
              <a:pPr marL="0" marR="0" lvl="0" indent="0" algn="r" defTabSz="914225"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SINGLE-CHANNEL</a:t>
              </a:r>
            </a:p>
          </p:txBody>
        </p:sp>
        <p:sp>
          <p:nvSpPr>
            <p:cNvPr id="358" name="Rectangle 357"/>
            <p:cNvSpPr/>
            <p:nvPr/>
          </p:nvSpPr>
          <p:spPr>
            <a:xfrm>
              <a:off x="4436171" y="6383855"/>
              <a:ext cx="469833" cy="45939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359" name="Freeform 18"/>
            <p:cNvSpPr>
              <a:spLocks/>
            </p:cNvSpPr>
            <p:nvPr/>
          </p:nvSpPr>
          <p:spPr bwMode="auto">
            <a:xfrm>
              <a:off x="4549355" y="6482999"/>
              <a:ext cx="236949" cy="231342"/>
            </a:xfrm>
            <a:custGeom>
              <a:avLst/>
              <a:gdLst>
                <a:gd name="T0" fmla="*/ 55 w 186"/>
                <a:gd name="T1" fmla="*/ 29 h 186"/>
                <a:gd name="T2" fmla="*/ 135 w 186"/>
                <a:gd name="T3" fmla="*/ 29 h 186"/>
                <a:gd name="T4" fmla="*/ 0 w 186"/>
                <a:gd name="T5" fmla="*/ 164 h 186"/>
                <a:gd name="T6" fmla="*/ 22 w 186"/>
                <a:gd name="T7" fmla="*/ 186 h 186"/>
                <a:gd name="T8" fmla="*/ 157 w 186"/>
                <a:gd name="T9" fmla="*/ 51 h 186"/>
                <a:gd name="T10" fmla="*/ 157 w 186"/>
                <a:gd name="T11" fmla="*/ 132 h 186"/>
                <a:gd name="T12" fmla="*/ 186 w 186"/>
                <a:gd name="T13" fmla="*/ 132 h 186"/>
                <a:gd name="T14" fmla="*/ 186 w 186"/>
                <a:gd name="T15" fmla="*/ 0 h 186"/>
                <a:gd name="T16" fmla="*/ 55 w 186"/>
                <a:gd name="T17" fmla="*/ 0 h 186"/>
                <a:gd name="T18" fmla="*/ 55 w 186"/>
                <a:gd name="T19" fmla="*/ 2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 h="186">
                  <a:moveTo>
                    <a:pt x="55" y="29"/>
                  </a:moveTo>
                  <a:lnTo>
                    <a:pt x="135" y="29"/>
                  </a:lnTo>
                  <a:lnTo>
                    <a:pt x="0" y="164"/>
                  </a:lnTo>
                  <a:lnTo>
                    <a:pt x="22" y="186"/>
                  </a:lnTo>
                  <a:lnTo>
                    <a:pt x="157" y="51"/>
                  </a:lnTo>
                  <a:lnTo>
                    <a:pt x="157" y="132"/>
                  </a:lnTo>
                  <a:lnTo>
                    <a:pt x="186" y="132"/>
                  </a:lnTo>
                  <a:lnTo>
                    <a:pt x="186" y="0"/>
                  </a:lnTo>
                  <a:lnTo>
                    <a:pt x="55" y="0"/>
                  </a:lnTo>
                  <a:lnTo>
                    <a:pt x="55" y="2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grpSp>
      <p:pic>
        <p:nvPicPr>
          <p:cNvPr id="477" name="Picture 47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6200000">
            <a:off x="5622301" y="2967514"/>
            <a:ext cx="1028700" cy="1285875"/>
          </a:xfrm>
          <a:prstGeom prst="rect">
            <a:avLst/>
          </a:prstGeom>
        </p:spPr>
      </p:pic>
    </p:spTree>
    <p:extLst>
      <p:ext uri="{BB962C8B-B14F-4D97-AF65-F5344CB8AC3E}">
        <p14:creationId xmlns:p14="http://schemas.microsoft.com/office/powerpoint/2010/main" val="3496817489"/>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117" name="Group 116"/>
          <p:cNvGrpSpPr/>
          <p:nvPr/>
        </p:nvGrpSpPr>
        <p:grpSpPr>
          <a:xfrm>
            <a:off x="1" y="1659051"/>
            <a:ext cx="12191999" cy="3539898"/>
            <a:chOff x="1" y="1507715"/>
            <a:chExt cx="12191999" cy="3539898"/>
          </a:xfrm>
        </p:grpSpPr>
        <p:sp>
          <p:nvSpPr>
            <p:cNvPr id="120" name="Rectangle 119"/>
            <p:cNvSpPr/>
            <p:nvPr userDrawn="1"/>
          </p:nvSpPr>
          <p:spPr>
            <a:xfrm rot="16200000">
              <a:off x="5941982" y="-1202404"/>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2" name="Rectangle 131"/>
            <p:cNvSpPr/>
            <p:nvPr userDrawn="1"/>
          </p:nvSpPr>
          <p:spPr>
            <a:xfrm rot="16200000">
              <a:off x="5940659" y="-4432943"/>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18" name="Group 117"/>
          <p:cNvGrpSpPr/>
          <p:nvPr/>
        </p:nvGrpSpPr>
        <p:grpSpPr>
          <a:xfrm>
            <a:off x="-115804" y="1933575"/>
            <a:ext cx="11887169" cy="2926825"/>
            <a:chOff x="-144379" y="1147852"/>
            <a:chExt cx="11887169" cy="4520759"/>
          </a:xfrm>
        </p:grpSpPr>
        <p:graphicFrame>
          <p:nvGraphicFramePr>
            <p:cNvPr id="85" name="Chart 84">
              <a:extLst>
                <a:ext uri="{FF2B5EF4-FFF2-40B4-BE49-F238E27FC236}">
                  <a16:creationId xmlns:a16="http://schemas.microsoft.com/office/drawing/2014/main" id="{0D81D2D6-5D49-4D69-9590-63F34187E00B}"/>
                </a:ext>
              </a:extLst>
            </p:cNvPr>
            <p:cNvGraphicFramePr>
              <a:graphicFrameLocks/>
            </p:cNvGraphicFramePr>
            <p:nvPr/>
          </p:nvGraphicFramePr>
          <p:xfrm>
            <a:off x="660262" y="1147852"/>
            <a:ext cx="11082528" cy="4425822"/>
          </p:xfrm>
          <a:graphic>
            <a:graphicData uri="http://schemas.openxmlformats.org/drawingml/2006/chart">
              <c:chart xmlns:c="http://schemas.openxmlformats.org/drawingml/2006/chart" xmlns:r="http://schemas.openxmlformats.org/officeDocument/2006/relationships" r:id="rId4"/>
            </a:graphicData>
          </a:graphic>
        </p:graphicFrame>
        <p:grpSp>
          <p:nvGrpSpPr>
            <p:cNvPr id="78" name="Group 77"/>
            <p:cNvGrpSpPr/>
            <p:nvPr/>
          </p:nvGrpSpPr>
          <p:grpSpPr>
            <a:xfrm>
              <a:off x="-144379" y="1440717"/>
              <a:ext cx="967734" cy="4227894"/>
              <a:chOff x="178677" y="837543"/>
              <a:chExt cx="935420" cy="5167148"/>
            </a:xfrm>
            <a:noFill/>
          </p:grpSpPr>
          <p:grpSp>
            <p:nvGrpSpPr>
              <p:cNvPr id="76" name="Group 75"/>
              <p:cNvGrpSpPr/>
              <p:nvPr/>
            </p:nvGrpSpPr>
            <p:grpSpPr>
              <a:xfrm>
                <a:off x="178677" y="1411670"/>
                <a:ext cx="935420" cy="4593021"/>
                <a:chOff x="-672662" y="290785"/>
                <a:chExt cx="1734207" cy="5899807"/>
              </a:xfrm>
              <a:grpFill/>
            </p:grpSpPr>
            <p:grpSp>
              <p:nvGrpSpPr>
                <p:cNvPr id="58" name="Group 57"/>
                <p:cNvGrpSpPr/>
                <p:nvPr/>
              </p:nvGrpSpPr>
              <p:grpSpPr>
                <a:xfrm>
                  <a:off x="-672662" y="1028261"/>
                  <a:ext cx="1734207" cy="5162331"/>
                  <a:chOff x="-536028" y="555296"/>
                  <a:chExt cx="1734207" cy="5162331"/>
                </a:xfrm>
                <a:grpFill/>
              </p:grpSpPr>
              <p:grpSp>
                <p:nvGrpSpPr>
                  <p:cNvPr id="56" name="Group 55"/>
                  <p:cNvGrpSpPr/>
                  <p:nvPr/>
                </p:nvGrpSpPr>
                <p:grpSpPr>
                  <a:xfrm>
                    <a:off x="-536028" y="1292772"/>
                    <a:ext cx="1734207" cy="4424855"/>
                    <a:chOff x="1350579" y="1445173"/>
                    <a:chExt cx="1734207" cy="4424855"/>
                  </a:xfrm>
                  <a:grpFill/>
                </p:grpSpPr>
                <p:sp>
                  <p:nvSpPr>
                    <p:cNvPr id="50" name="Rectangle 49"/>
                    <p:cNvSpPr/>
                    <p:nvPr/>
                  </p:nvSpPr>
                  <p:spPr>
                    <a:xfrm>
                      <a:off x="1350579" y="5132553"/>
                      <a:ext cx="1734207" cy="737475"/>
                    </a:xfrm>
                    <a:prstGeom prst="rect">
                      <a:avLst/>
                    </a:prstGeom>
                    <a:grp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0</a:t>
                      </a:r>
                    </a:p>
                  </p:txBody>
                </p:sp>
                <p:sp>
                  <p:nvSpPr>
                    <p:cNvPr id="51" name="Rectangle 50"/>
                    <p:cNvSpPr/>
                    <p:nvPr/>
                  </p:nvSpPr>
                  <p:spPr>
                    <a:xfrm>
                      <a:off x="1350579" y="4395077"/>
                      <a:ext cx="1734207" cy="737475"/>
                    </a:xfrm>
                    <a:prstGeom prst="rect">
                      <a:avLst/>
                    </a:prstGeom>
                    <a:grp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1B</a:t>
                      </a:r>
                    </a:p>
                  </p:txBody>
                </p:sp>
                <p:sp>
                  <p:nvSpPr>
                    <p:cNvPr id="52" name="Rectangle 51"/>
                    <p:cNvSpPr/>
                    <p:nvPr/>
                  </p:nvSpPr>
                  <p:spPr>
                    <a:xfrm>
                      <a:off x="1350579" y="3657601"/>
                      <a:ext cx="1734207" cy="737475"/>
                    </a:xfrm>
                    <a:prstGeom prst="rect">
                      <a:avLst/>
                    </a:prstGeom>
                    <a:grp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2B</a:t>
                      </a:r>
                    </a:p>
                  </p:txBody>
                </p:sp>
                <p:sp>
                  <p:nvSpPr>
                    <p:cNvPr id="53" name="Rectangle 52"/>
                    <p:cNvSpPr/>
                    <p:nvPr/>
                  </p:nvSpPr>
                  <p:spPr>
                    <a:xfrm>
                      <a:off x="1350579" y="2920125"/>
                      <a:ext cx="1734207" cy="737475"/>
                    </a:xfrm>
                    <a:prstGeom prst="rect">
                      <a:avLst/>
                    </a:prstGeom>
                    <a:grp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3B</a:t>
                      </a:r>
                    </a:p>
                  </p:txBody>
                </p:sp>
                <p:sp>
                  <p:nvSpPr>
                    <p:cNvPr id="54" name="Rectangle 53"/>
                    <p:cNvSpPr/>
                    <p:nvPr/>
                  </p:nvSpPr>
                  <p:spPr>
                    <a:xfrm>
                      <a:off x="1350579" y="2182649"/>
                      <a:ext cx="1734207" cy="737475"/>
                    </a:xfrm>
                    <a:prstGeom prst="rect">
                      <a:avLst/>
                    </a:prstGeom>
                    <a:grp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4B</a:t>
                      </a:r>
                    </a:p>
                  </p:txBody>
                </p:sp>
                <p:sp>
                  <p:nvSpPr>
                    <p:cNvPr id="55" name="Rectangle 54"/>
                    <p:cNvSpPr/>
                    <p:nvPr/>
                  </p:nvSpPr>
                  <p:spPr>
                    <a:xfrm>
                      <a:off x="1350579" y="1445173"/>
                      <a:ext cx="1734207" cy="737475"/>
                    </a:xfrm>
                    <a:prstGeom prst="rect">
                      <a:avLst/>
                    </a:prstGeom>
                    <a:grp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5B</a:t>
                      </a:r>
                    </a:p>
                  </p:txBody>
                </p:sp>
              </p:grpSp>
              <p:sp>
                <p:nvSpPr>
                  <p:cNvPr id="57" name="Rectangle 56"/>
                  <p:cNvSpPr/>
                  <p:nvPr/>
                </p:nvSpPr>
                <p:spPr>
                  <a:xfrm>
                    <a:off x="-536028" y="555296"/>
                    <a:ext cx="1734207" cy="737475"/>
                  </a:xfrm>
                  <a:prstGeom prst="rect">
                    <a:avLst/>
                  </a:prstGeom>
                  <a:grp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6B</a:t>
                    </a:r>
                  </a:p>
                </p:txBody>
              </p:sp>
            </p:grpSp>
            <p:sp>
              <p:nvSpPr>
                <p:cNvPr id="67" name="Rectangle 66"/>
                <p:cNvSpPr/>
                <p:nvPr/>
              </p:nvSpPr>
              <p:spPr>
                <a:xfrm>
                  <a:off x="-672662" y="290785"/>
                  <a:ext cx="1734207" cy="737475"/>
                </a:xfrm>
                <a:prstGeom prst="rect">
                  <a:avLst/>
                </a:prstGeom>
                <a:grp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7B</a:t>
                  </a:r>
                </a:p>
              </p:txBody>
            </p:sp>
          </p:grpSp>
          <p:sp>
            <p:nvSpPr>
              <p:cNvPr id="77" name="Rectangle 76"/>
              <p:cNvSpPr/>
              <p:nvPr/>
            </p:nvSpPr>
            <p:spPr>
              <a:xfrm>
                <a:off x="178677" y="837543"/>
                <a:ext cx="935420" cy="574127"/>
              </a:xfrm>
              <a:prstGeom prst="rect">
                <a:avLst/>
              </a:prstGeom>
              <a:grp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8B</a:t>
                </a:r>
              </a:p>
            </p:txBody>
          </p:sp>
        </p:grpSp>
        <p:grpSp>
          <p:nvGrpSpPr>
            <p:cNvPr id="75" name="Group 74"/>
            <p:cNvGrpSpPr/>
            <p:nvPr/>
          </p:nvGrpSpPr>
          <p:grpSpPr>
            <a:xfrm>
              <a:off x="820609" y="1675600"/>
              <a:ext cx="10756513" cy="3758128"/>
              <a:chOff x="1198179" y="-182181"/>
              <a:chExt cx="10405242" cy="5899809"/>
            </a:xfrm>
          </p:grpSpPr>
          <p:grpSp>
            <p:nvGrpSpPr>
              <p:cNvPr id="66" name="Group 65"/>
              <p:cNvGrpSpPr/>
              <p:nvPr/>
            </p:nvGrpSpPr>
            <p:grpSpPr>
              <a:xfrm>
                <a:off x="1198179" y="555296"/>
                <a:ext cx="10405242" cy="5162332"/>
                <a:chOff x="1198179" y="555296"/>
                <a:chExt cx="10405242" cy="5162332"/>
              </a:xfrm>
            </p:grpSpPr>
            <p:grpSp>
              <p:nvGrpSpPr>
                <p:cNvPr id="49" name="Group 48"/>
                <p:cNvGrpSpPr/>
                <p:nvPr/>
              </p:nvGrpSpPr>
              <p:grpSpPr>
                <a:xfrm>
                  <a:off x="1198179" y="1292772"/>
                  <a:ext cx="10405242" cy="4424856"/>
                  <a:chOff x="0" y="0"/>
                  <a:chExt cx="9848193" cy="5486400"/>
                </a:xfrm>
                <a:noFill/>
              </p:grpSpPr>
              <p:grpSp>
                <p:nvGrpSpPr>
                  <p:cNvPr id="12" name="Group 11"/>
                  <p:cNvGrpSpPr/>
                  <p:nvPr/>
                </p:nvGrpSpPr>
                <p:grpSpPr>
                  <a:xfrm>
                    <a:off x="0" y="4572000"/>
                    <a:ext cx="9848193" cy="914400"/>
                    <a:chOff x="704193" y="5297213"/>
                    <a:chExt cx="11288112" cy="998484"/>
                  </a:xfrm>
                  <a:grpFill/>
                </p:grpSpPr>
                <p:sp>
                  <p:nvSpPr>
                    <p:cNvPr id="6" name="Rectangle 5"/>
                    <p:cNvSpPr/>
                    <p:nvPr/>
                  </p:nvSpPr>
                  <p:spPr>
                    <a:xfrm>
                      <a:off x="704193" y="5297214"/>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 name="Rectangle 6"/>
                    <p:cNvSpPr/>
                    <p:nvPr/>
                  </p:nvSpPr>
                  <p:spPr>
                    <a:xfrm>
                      <a:off x="2585545"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8" name="Rectangle 7"/>
                    <p:cNvSpPr/>
                    <p:nvPr/>
                  </p:nvSpPr>
                  <p:spPr>
                    <a:xfrm>
                      <a:off x="4466897"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9" name="Rectangle 8"/>
                    <p:cNvSpPr/>
                    <p:nvPr/>
                  </p:nvSpPr>
                  <p:spPr>
                    <a:xfrm>
                      <a:off x="6348249"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Rectangle 9"/>
                    <p:cNvSpPr/>
                    <p:nvPr/>
                  </p:nvSpPr>
                  <p:spPr>
                    <a:xfrm>
                      <a:off x="8229601"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1" name="Rectangle 10"/>
                    <p:cNvSpPr/>
                    <p:nvPr/>
                  </p:nvSpPr>
                  <p:spPr>
                    <a:xfrm>
                      <a:off x="10110953"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3" name="Group 12"/>
                  <p:cNvGrpSpPr/>
                  <p:nvPr/>
                </p:nvGrpSpPr>
                <p:grpSpPr>
                  <a:xfrm>
                    <a:off x="0" y="3657600"/>
                    <a:ext cx="9848193" cy="914400"/>
                    <a:chOff x="704193" y="5297213"/>
                    <a:chExt cx="11288112" cy="998484"/>
                  </a:xfrm>
                  <a:grpFill/>
                </p:grpSpPr>
                <p:sp>
                  <p:nvSpPr>
                    <p:cNvPr id="14" name="Rectangle 13"/>
                    <p:cNvSpPr/>
                    <p:nvPr/>
                  </p:nvSpPr>
                  <p:spPr>
                    <a:xfrm>
                      <a:off x="704193" y="5297214"/>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5" name="Rectangle 14"/>
                    <p:cNvSpPr/>
                    <p:nvPr/>
                  </p:nvSpPr>
                  <p:spPr>
                    <a:xfrm>
                      <a:off x="2585545"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6" name="Rectangle 15"/>
                    <p:cNvSpPr/>
                    <p:nvPr/>
                  </p:nvSpPr>
                  <p:spPr>
                    <a:xfrm>
                      <a:off x="4466897"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7" name="Rectangle 16"/>
                    <p:cNvSpPr/>
                    <p:nvPr/>
                  </p:nvSpPr>
                  <p:spPr>
                    <a:xfrm>
                      <a:off x="6348249"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8" name="Rectangle 17"/>
                    <p:cNvSpPr/>
                    <p:nvPr/>
                  </p:nvSpPr>
                  <p:spPr>
                    <a:xfrm>
                      <a:off x="8229601"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9" name="Rectangle 18"/>
                    <p:cNvSpPr/>
                    <p:nvPr/>
                  </p:nvSpPr>
                  <p:spPr>
                    <a:xfrm>
                      <a:off x="10110953"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0" name="Group 19"/>
                  <p:cNvGrpSpPr/>
                  <p:nvPr/>
                </p:nvGrpSpPr>
                <p:grpSpPr>
                  <a:xfrm>
                    <a:off x="0" y="2743200"/>
                    <a:ext cx="9848193" cy="914400"/>
                    <a:chOff x="704193" y="5297213"/>
                    <a:chExt cx="11288112" cy="998484"/>
                  </a:xfrm>
                  <a:grpFill/>
                </p:grpSpPr>
                <p:sp>
                  <p:nvSpPr>
                    <p:cNvPr id="21" name="Rectangle 20"/>
                    <p:cNvSpPr/>
                    <p:nvPr/>
                  </p:nvSpPr>
                  <p:spPr>
                    <a:xfrm>
                      <a:off x="704193" y="5297214"/>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2" name="Rectangle 21"/>
                    <p:cNvSpPr/>
                    <p:nvPr/>
                  </p:nvSpPr>
                  <p:spPr>
                    <a:xfrm>
                      <a:off x="2585545"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3" name="Rectangle 22"/>
                    <p:cNvSpPr/>
                    <p:nvPr/>
                  </p:nvSpPr>
                  <p:spPr>
                    <a:xfrm>
                      <a:off x="4466897"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4" name="Rectangle 23"/>
                    <p:cNvSpPr/>
                    <p:nvPr/>
                  </p:nvSpPr>
                  <p:spPr>
                    <a:xfrm>
                      <a:off x="6348249"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Rectangle 24"/>
                    <p:cNvSpPr/>
                    <p:nvPr/>
                  </p:nvSpPr>
                  <p:spPr>
                    <a:xfrm>
                      <a:off x="8229601"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6" name="Rectangle 25"/>
                    <p:cNvSpPr/>
                    <p:nvPr/>
                  </p:nvSpPr>
                  <p:spPr>
                    <a:xfrm>
                      <a:off x="10110953"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 name="Group 26"/>
                  <p:cNvGrpSpPr/>
                  <p:nvPr/>
                </p:nvGrpSpPr>
                <p:grpSpPr>
                  <a:xfrm>
                    <a:off x="0" y="1828800"/>
                    <a:ext cx="9848193" cy="914400"/>
                    <a:chOff x="704193" y="5297213"/>
                    <a:chExt cx="11288112" cy="998484"/>
                  </a:xfrm>
                  <a:grpFill/>
                </p:grpSpPr>
                <p:sp>
                  <p:nvSpPr>
                    <p:cNvPr id="28" name="Rectangle 27"/>
                    <p:cNvSpPr/>
                    <p:nvPr/>
                  </p:nvSpPr>
                  <p:spPr>
                    <a:xfrm>
                      <a:off x="704193" y="5297214"/>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9" name="Rectangle 28"/>
                    <p:cNvSpPr/>
                    <p:nvPr/>
                  </p:nvSpPr>
                  <p:spPr>
                    <a:xfrm>
                      <a:off x="2585545"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0" name="Rectangle 29"/>
                    <p:cNvSpPr/>
                    <p:nvPr/>
                  </p:nvSpPr>
                  <p:spPr>
                    <a:xfrm>
                      <a:off x="4466897"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1" name="Rectangle 30"/>
                    <p:cNvSpPr/>
                    <p:nvPr/>
                  </p:nvSpPr>
                  <p:spPr>
                    <a:xfrm>
                      <a:off x="6348249"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Rectangle 31"/>
                    <p:cNvSpPr/>
                    <p:nvPr/>
                  </p:nvSpPr>
                  <p:spPr>
                    <a:xfrm>
                      <a:off x="8229601"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3" name="Rectangle 32"/>
                    <p:cNvSpPr/>
                    <p:nvPr/>
                  </p:nvSpPr>
                  <p:spPr>
                    <a:xfrm>
                      <a:off x="10110953"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4" name="Group 33"/>
                  <p:cNvGrpSpPr/>
                  <p:nvPr/>
                </p:nvGrpSpPr>
                <p:grpSpPr>
                  <a:xfrm>
                    <a:off x="0" y="914400"/>
                    <a:ext cx="9848193" cy="914400"/>
                    <a:chOff x="704193" y="5297213"/>
                    <a:chExt cx="11288112" cy="998484"/>
                  </a:xfrm>
                  <a:grpFill/>
                </p:grpSpPr>
                <p:sp>
                  <p:nvSpPr>
                    <p:cNvPr id="35" name="Rectangle 34"/>
                    <p:cNvSpPr/>
                    <p:nvPr/>
                  </p:nvSpPr>
                  <p:spPr>
                    <a:xfrm>
                      <a:off x="704193" y="5297214"/>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6" name="Rectangle 35"/>
                    <p:cNvSpPr/>
                    <p:nvPr/>
                  </p:nvSpPr>
                  <p:spPr>
                    <a:xfrm>
                      <a:off x="2585545"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7" name="Rectangle 36"/>
                    <p:cNvSpPr/>
                    <p:nvPr/>
                  </p:nvSpPr>
                  <p:spPr>
                    <a:xfrm>
                      <a:off x="4466897"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8" name="Rectangle 37"/>
                    <p:cNvSpPr/>
                    <p:nvPr/>
                  </p:nvSpPr>
                  <p:spPr>
                    <a:xfrm>
                      <a:off x="6348249"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9" name="Rectangle 38"/>
                    <p:cNvSpPr/>
                    <p:nvPr/>
                  </p:nvSpPr>
                  <p:spPr>
                    <a:xfrm>
                      <a:off x="8229601"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0" name="Rectangle 39"/>
                    <p:cNvSpPr/>
                    <p:nvPr/>
                  </p:nvSpPr>
                  <p:spPr>
                    <a:xfrm>
                      <a:off x="10110953"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41" name="Group 40"/>
                  <p:cNvGrpSpPr/>
                  <p:nvPr/>
                </p:nvGrpSpPr>
                <p:grpSpPr>
                  <a:xfrm>
                    <a:off x="0" y="0"/>
                    <a:ext cx="9848193" cy="914400"/>
                    <a:chOff x="704193" y="5297213"/>
                    <a:chExt cx="11288112" cy="998484"/>
                  </a:xfrm>
                  <a:grpFill/>
                </p:grpSpPr>
                <p:sp>
                  <p:nvSpPr>
                    <p:cNvPr id="42" name="Rectangle 41"/>
                    <p:cNvSpPr/>
                    <p:nvPr/>
                  </p:nvSpPr>
                  <p:spPr>
                    <a:xfrm>
                      <a:off x="704193" y="5297214"/>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3" name="Rectangle 42"/>
                    <p:cNvSpPr/>
                    <p:nvPr/>
                  </p:nvSpPr>
                  <p:spPr>
                    <a:xfrm>
                      <a:off x="2585545"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4" name="Rectangle 43"/>
                    <p:cNvSpPr/>
                    <p:nvPr/>
                  </p:nvSpPr>
                  <p:spPr>
                    <a:xfrm>
                      <a:off x="4466897"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 name="Rectangle 44"/>
                    <p:cNvSpPr/>
                    <p:nvPr/>
                  </p:nvSpPr>
                  <p:spPr>
                    <a:xfrm>
                      <a:off x="6348249"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6" name="Rectangle 45"/>
                    <p:cNvSpPr/>
                    <p:nvPr/>
                  </p:nvSpPr>
                  <p:spPr>
                    <a:xfrm>
                      <a:off x="8229601"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7" name="Rectangle 46"/>
                    <p:cNvSpPr/>
                    <p:nvPr/>
                  </p:nvSpPr>
                  <p:spPr>
                    <a:xfrm>
                      <a:off x="10110953" y="5297213"/>
                      <a:ext cx="1881352" cy="998483"/>
                    </a:xfrm>
                    <a:prstGeom prst="rect">
                      <a:avLst/>
                    </a:prstGeom>
                    <a:grp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65" name="Group 64"/>
                <p:cNvGrpSpPr/>
                <p:nvPr/>
              </p:nvGrpSpPr>
              <p:grpSpPr>
                <a:xfrm>
                  <a:off x="1198179" y="555296"/>
                  <a:ext cx="10405242" cy="737476"/>
                  <a:chOff x="1350579" y="1445172"/>
                  <a:chExt cx="10405242" cy="737476"/>
                </a:xfrm>
              </p:grpSpPr>
              <p:sp>
                <p:nvSpPr>
                  <p:cNvPr id="59" name="Rectangle 58"/>
                  <p:cNvSpPr/>
                  <p:nvPr/>
                </p:nvSpPr>
                <p:spPr>
                  <a:xfrm>
                    <a:off x="1350579" y="1445173"/>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0" name="Rectangle 59"/>
                  <p:cNvSpPr/>
                  <p:nvPr/>
                </p:nvSpPr>
                <p:spPr>
                  <a:xfrm>
                    <a:off x="3084786" y="1445172"/>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1" name="Rectangle 60"/>
                  <p:cNvSpPr/>
                  <p:nvPr/>
                </p:nvSpPr>
                <p:spPr>
                  <a:xfrm>
                    <a:off x="4818993" y="1445172"/>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2" name="Rectangle 61"/>
                  <p:cNvSpPr/>
                  <p:nvPr/>
                </p:nvSpPr>
                <p:spPr>
                  <a:xfrm>
                    <a:off x="6553200" y="1445172"/>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3" name="Rectangle 62"/>
                  <p:cNvSpPr/>
                  <p:nvPr/>
                </p:nvSpPr>
                <p:spPr>
                  <a:xfrm>
                    <a:off x="8287407" y="1445172"/>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4" name="Rectangle 63"/>
                  <p:cNvSpPr/>
                  <p:nvPr/>
                </p:nvSpPr>
                <p:spPr>
                  <a:xfrm>
                    <a:off x="10021614" y="1445172"/>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74" name="Group 73"/>
              <p:cNvGrpSpPr/>
              <p:nvPr/>
            </p:nvGrpSpPr>
            <p:grpSpPr>
              <a:xfrm>
                <a:off x="1198179" y="-182181"/>
                <a:ext cx="10405242" cy="737476"/>
                <a:chOff x="1350579" y="707696"/>
                <a:chExt cx="10405242" cy="737476"/>
              </a:xfrm>
            </p:grpSpPr>
            <p:sp>
              <p:nvSpPr>
                <p:cNvPr id="68" name="Rectangle 67"/>
                <p:cNvSpPr/>
                <p:nvPr/>
              </p:nvSpPr>
              <p:spPr>
                <a:xfrm>
                  <a:off x="1350579" y="707697"/>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9" name="Rectangle 68"/>
                <p:cNvSpPr/>
                <p:nvPr/>
              </p:nvSpPr>
              <p:spPr>
                <a:xfrm>
                  <a:off x="3084786" y="707696"/>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0" name="Rectangle 69"/>
                <p:cNvSpPr/>
                <p:nvPr/>
              </p:nvSpPr>
              <p:spPr>
                <a:xfrm>
                  <a:off x="4818993" y="707696"/>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1" name="Rectangle 70"/>
                <p:cNvSpPr/>
                <p:nvPr/>
              </p:nvSpPr>
              <p:spPr>
                <a:xfrm>
                  <a:off x="6553200" y="707696"/>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2" name="Rectangle 71"/>
                <p:cNvSpPr/>
                <p:nvPr/>
              </p:nvSpPr>
              <p:spPr>
                <a:xfrm>
                  <a:off x="8287407" y="707696"/>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3" name="Rectangle 72"/>
                <p:cNvSpPr/>
                <p:nvPr/>
              </p:nvSpPr>
              <p:spPr>
                <a:xfrm>
                  <a:off x="10021614" y="707696"/>
                  <a:ext cx="1734207" cy="737475"/>
                </a:xfrm>
                <a:prstGeom prst="rect">
                  <a:avLst/>
                </a:prstGeom>
                <a:noFill/>
                <a:ln w="3175">
                  <a:solidFill>
                    <a:schemeClr val="tx1">
                      <a:lumMod val="75000"/>
                      <a:lumOff val="2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grpSp>
      <p:sp>
        <p:nvSpPr>
          <p:cNvPr id="115" name="TextBox 114"/>
          <p:cNvSpPr txBox="1"/>
          <p:nvPr/>
        </p:nvSpPr>
        <p:spPr>
          <a:xfrm>
            <a:off x="452952" y="602504"/>
            <a:ext cx="1128477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HE GROWING DEMAND FOR HIGHER EDUCATION</a:t>
            </a:r>
          </a:p>
        </p:txBody>
      </p:sp>
      <p:grpSp>
        <p:nvGrpSpPr>
          <p:cNvPr id="4" name="Group 3"/>
          <p:cNvGrpSpPr/>
          <p:nvPr/>
        </p:nvGrpSpPr>
        <p:grpSpPr>
          <a:xfrm>
            <a:off x="1218875" y="5711342"/>
            <a:ext cx="10394924" cy="370882"/>
            <a:chOff x="820609" y="6206836"/>
            <a:chExt cx="10394924" cy="370882"/>
          </a:xfrm>
        </p:grpSpPr>
        <p:grpSp>
          <p:nvGrpSpPr>
            <p:cNvPr id="122" name="Group 121"/>
            <p:cNvGrpSpPr/>
            <p:nvPr/>
          </p:nvGrpSpPr>
          <p:grpSpPr>
            <a:xfrm>
              <a:off x="820609" y="6206836"/>
              <a:ext cx="2116554" cy="370882"/>
              <a:chOff x="820609" y="6206836"/>
              <a:chExt cx="2116554" cy="370882"/>
            </a:xfrm>
          </p:grpSpPr>
          <p:sp>
            <p:nvSpPr>
              <p:cNvPr id="119" name="Rectangle 118"/>
              <p:cNvSpPr/>
              <p:nvPr/>
            </p:nvSpPr>
            <p:spPr>
              <a:xfrm>
                <a:off x="820609" y="6206836"/>
                <a:ext cx="370882" cy="370882"/>
              </a:xfrm>
              <a:prstGeom prst="rect">
                <a:avLst/>
              </a:prstGeom>
              <a:solidFill>
                <a:srgbClr val="008A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Rectangle 120"/>
              <p:cNvSpPr/>
              <p:nvPr/>
            </p:nvSpPr>
            <p:spPr>
              <a:xfrm>
                <a:off x="1191490" y="6206836"/>
                <a:ext cx="1745673" cy="370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a:ea typeface="+mn-ea"/>
                    <a:cs typeface="+mn-cs"/>
                  </a:rPr>
                  <a:t>PRIMARY</a:t>
                </a:r>
              </a:p>
            </p:txBody>
          </p:sp>
        </p:grpSp>
        <p:grpSp>
          <p:nvGrpSpPr>
            <p:cNvPr id="123" name="Group 122"/>
            <p:cNvGrpSpPr/>
            <p:nvPr/>
          </p:nvGrpSpPr>
          <p:grpSpPr>
            <a:xfrm>
              <a:off x="3185935" y="6206836"/>
              <a:ext cx="2494429" cy="370882"/>
              <a:chOff x="820609" y="6206836"/>
              <a:chExt cx="2494429" cy="370882"/>
            </a:xfrm>
          </p:grpSpPr>
          <p:sp>
            <p:nvSpPr>
              <p:cNvPr id="124" name="Rectangle 123"/>
              <p:cNvSpPr/>
              <p:nvPr/>
            </p:nvSpPr>
            <p:spPr>
              <a:xfrm>
                <a:off x="820609" y="6206836"/>
                <a:ext cx="370882" cy="370882"/>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Rectangle 124"/>
              <p:cNvSpPr/>
              <p:nvPr/>
            </p:nvSpPr>
            <p:spPr>
              <a:xfrm>
                <a:off x="1191490" y="6206836"/>
                <a:ext cx="2123548" cy="370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a:ea typeface="+mn-ea"/>
                    <a:cs typeface="+mn-cs"/>
                  </a:rPr>
                  <a:t>LOWER SECONDARY</a:t>
                </a:r>
              </a:p>
            </p:txBody>
          </p:sp>
        </p:grpSp>
        <p:grpSp>
          <p:nvGrpSpPr>
            <p:cNvPr id="126" name="Group 125"/>
            <p:cNvGrpSpPr/>
            <p:nvPr/>
          </p:nvGrpSpPr>
          <p:grpSpPr>
            <a:xfrm>
              <a:off x="5922486" y="6206836"/>
              <a:ext cx="2494429" cy="370882"/>
              <a:chOff x="820609" y="6206836"/>
              <a:chExt cx="2494429" cy="370882"/>
            </a:xfrm>
          </p:grpSpPr>
          <p:sp>
            <p:nvSpPr>
              <p:cNvPr id="127" name="Rectangle 126"/>
              <p:cNvSpPr/>
              <p:nvPr/>
            </p:nvSpPr>
            <p:spPr>
              <a:xfrm>
                <a:off x="820609" y="6206836"/>
                <a:ext cx="370882" cy="370882"/>
              </a:xfrm>
              <a:prstGeom prst="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28" name="Rectangle 127"/>
              <p:cNvSpPr/>
              <p:nvPr/>
            </p:nvSpPr>
            <p:spPr>
              <a:xfrm>
                <a:off x="1191490" y="6206836"/>
                <a:ext cx="2123548" cy="370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a:ea typeface="+mn-ea"/>
                    <a:cs typeface="+mn-cs"/>
                  </a:rPr>
                  <a:t>UPPER SECONDARY</a:t>
                </a:r>
              </a:p>
            </p:txBody>
          </p:sp>
        </p:grpSp>
        <p:grpSp>
          <p:nvGrpSpPr>
            <p:cNvPr id="129" name="Group 128"/>
            <p:cNvGrpSpPr/>
            <p:nvPr/>
          </p:nvGrpSpPr>
          <p:grpSpPr>
            <a:xfrm>
              <a:off x="8721104" y="6206836"/>
              <a:ext cx="2494429" cy="370882"/>
              <a:chOff x="820609" y="6206836"/>
              <a:chExt cx="2494429" cy="370882"/>
            </a:xfrm>
          </p:grpSpPr>
          <p:sp>
            <p:nvSpPr>
              <p:cNvPr id="130" name="Rectangle 129"/>
              <p:cNvSpPr/>
              <p:nvPr/>
            </p:nvSpPr>
            <p:spPr>
              <a:xfrm>
                <a:off x="820609" y="6206836"/>
                <a:ext cx="370882" cy="370882"/>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1" name="Rectangle 130"/>
              <p:cNvSpPr/>
              <p:nvPr/>
            </p:nvSpPr>
            <p:spPr>
              <a:xfrm>
                <a:off x="1191490" y="6206836"/>
                <a:ext cx="2123548" cy="370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a:ea typeface="+mn-ea"/>
                    <a:cs typeface="+mn-cs"/>
                  </a:rPr>
                  <a:t>POST SECONDARY</a:t>
                </a:r>
              </a:p>
            </p:txBody>
          </p:sp>
        </p:grpSp>
      </p:grpSp>
      <p:grpSp>
        <p:nvGrpSpPr>
          <p:cNvPr id="2" name="Group 1"/>
          <p:cNvGrpSpPr/>
          <p:nvPr/>
        </p:nvGrpSpPr>
        <p:grpSpPr>
          <a:xfrm>
            <a:off x="28271" y="4889590"/>
            <a:ext cx="12530191" cy="304136"/>
            <a:chOff x="27268" y="4708332"/>
            <a:chExt cx="12530191" cy="304136"/>
          </a:xfrm>
        </p:grpSpPr>
        <p:sp>
          <p:nvSpPr>
            <p:cNvPr id="99" name="Rectangle 98"/>
            <p:cNvSpPr/>
            <p:nvPr/>
          </p:nvSpPr>
          <p:spPr>
            <a:xfrm>
              <a:off x="27268" y="4708333"/>
              <a:ext cx="1792752" cy="304135"/>
            </a:xfrm>
            <a:prstGeom prst="rect">
              <a:avLst/>
            </a:prstGeom>
            <a:no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1970</a:t>
              </a:r>
            </a:p>
          </p:txBody>
        </p:sp>
        <p:sp>
          <p:nvSpPr>
            <p:cNvPr id="100" name="Rectangle 99"/>
            <p:cNvSpPr/>
            <p:nvPr/>
          </p:nvSpPr>
          <p:spPr>
            <a:xfrm>
              <a:off x="1820020" y="4708332"/>
              <a:ext cx="1792752" cy="304135"/>
            </a:xfrm>
            <a:prstGeom prst="rect">
              <a:avLst/>
            </a:prstGeom>
            <a:no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1990</a:t>
              </a:r>
            </a:p>
          </p:txBody>
        </p:sp>
        <p:sp>
          <p:nvSpPr>
            <p:cNvPr id="101" name="Rectangle 100"/>
            <p:cNvSpPr/>
            <p:nvPr/>
          </p:nvSpPr>
          <p:spPr>
            <a:xfrm>
              <a:off x="3612773" y="4708332"/>
              <a:ext cx="1792752" cy="304135"/>
            </a:xfrm>
            <a:prstGeom prst="rect">
              <a:avLst/>
            </a:prstGeom>
            <a:no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2020</a:t>
              </a:r>
            </a:p>
          </p:txBody>
        </p:sp>
        <p:sp>
          <p:nvSpPr>
            <p:cNvPr id="102" name="Rectangle 101"/>
            <p:cNvSpPr/>
            <p:nvPr/>
          </p:nvSpPr>
          <p:spPr>
            <a:xfrm>
              <a:off x="5405525" y="4708332"/>
              <a:ext cx="1792752" cy="304135"/>
            </a:xfrm>
            <a:prstGeom prst="rect">
              <a:avLst/>
            </a:prstGeom>
            <a:no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2040</a:t>
              </a:r>
            </a:p>
          </p:txBody>
        </p:sp>
        <p:sp>
          <p:nvSpPr>
            <p:cNvPr id="103" name="Rectangle 102"/>
            <p:cNvSpPr/>
            <p:nvPr/>
          </p:nvSpPr>
          <p:spPr>
            <a:xfrm>
              <a:off x="7198276" y="4708332"/>
              <a:ext cx="1792752" cy="304135"/>
            </a:xfrm>
            <a:prstGeom prst="rect">
              <a:avLst/>
            </a:prstGeom>
            <a:no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2060</a:t>
              </a:r>
            </a:p>
          </p:txBody>
        </p:sp>
        <p:sp>
          <p:nvSpPr>
            <p:cNvPr id="114" name="Rectangle 113"/>
            <p:cNvSpPr/>
            <p:nvPr/>
          </p:nvSpPr>
          <p:spPr>
            <a:xfrm>
              <a:off x="8991029" y="4708332"/>
              <a:ext cx="1792752" cy="304135"/>
            </a:xfrm>
            <a:prstGeom prst="rect">
              <a:avLst/>
            </a:prstGeom>
            <a:no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2080</a:t>
              </a:r>
            </a:p>
          </p:txBody>
        </p:sp>
        <p:sp>
          <p:nvSpPr>
            <p:cNvPr id="116" name="Rectangle 115"/>
            <p:cNvSpPr/>
            <p:nvPr/>
          </p:nvSpPr>
          <p:spPr>
            <a:xfrm>
              <a:off x="10764707" y="4708332"/>
              <a:ext cx="1792752" cy="304135"/>
            </a:xfrm>
            <a:prstGeom prst="rect">
              <a:avLst/>
            </a:prstGeom>
            <a:no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2100</a:t>
              </a:r>
            </a:p>
          </p:txBody>
        </p:sp>
      </p:grpSp>
    </p:spTree>
    <p:custDataLst>
      <p:tags r:id="rId1"/>
    </p:custDataLst>
    <p:extLst>
      <p:ext uri="{BB962C8B-B14F-4D97-AF65-F5344CB8AC3E}">
        <p14:creationId xmlns:p14="http://schemas.microsoft.com/office/powerpoint/2010/main" val="859274207"/>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951CB95B-61FF-4801-8F57-A78B2F4B4464}"/>
              </a:ext>
              <a:ext uri="{C183D7F6-B498-43B3-948B-1728B52AA6E4}">
                <adec:decorative xmlns:adec="http://schemas.microsoft.com/office/drawing/2017/decorative" val="1"/>
              </a:ext>
            </a:extLst>
          </p:cNvPr>
          <p:cNvSpPr/>
          <p:nvPr/>
        </p:nvSpPr>
        <p:spPr bwMode="auto">
          <a:xfrm>
            <a:off x="9507027" y="1363147"/>
            <a:ext cx="2285675" cy="355241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876" tIns="45706" rIns="88876" bIns="45706" numCol="1" spcCol="0" rtlCol="0" fromWordArt="0" anchor="t" anchorCtr="0" forceAA="0" compatLnSpc="1">
            <a:prstTxWarp prst="textNoShape">
              <a:avLst/>
            </a:prstTxWarp>
            <a:noAutofit/>
          </a:bodyPr>
          <a:lstStyle/>
          <a:p>
            <a:pPr marL="0" marR="0" lvl="0" indent="0" algn="l" defTabSz="89609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D0D0D"/>
              </a:solidFill>
              <a:effectLst/>
              <a:uLnTx/>
              <a:uFillTx/>
              <a:latin typeface="Segoe UI Semibold"/>
              <a:ea typeface="Segoe UI Light" charset="0"/>
              <a:cs typeface="Segoe UI Light" charset="0"/>
            </a:endParaRPr>
          </a:p>
        </p:txBody>
      </p:sp>
      <p:sp>
        <p:nvSpPr>
          <p:cNvPr id="9" name="Rectangle 8">
            <a:extLst>
              <a:ext uri="{FF2B5EF4-FFF2-40B4-BE49-F238E27FC236}">
                <a16:creationId xmlns:a16="http://schemas.microsoft.com/office/drawing/2014/main" id="{D4D72D7D-3E1A-4F7B-ADCE-B5914773BCDC}"/>
              </a:ext>
              <a:ext uri="{C183D7F6-B498-43B3-948B-1728B52AA6E4}">
                <adec:decorative xmlns:adec="http://schemas.microsoft.com/office/drawing/2017/decorative" val="1"/>
              </a:ext>
            </a:extLst>
          </p:cNvPr>
          <p:cNvSpPr/>
          <p:nvPr/>
        </p:nvSpPr>
        <p:spPr bwMode="auto">
          <a:xfrm>
            <a:off x="4947360" y="2633116"/>
            <a:ext cx="2285675" cy="355241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876" tIns="45706" rIns="88876" bIns="45706" numCol="1" spcCol="0" rtlCol="0" fromWordArt="0" anchor="t" anchorCtr="0" forceAA="0" compatLnSpc="1">
            <a:prstTxWarp prst="textNoShape">
              <a:avLst/>
            </a:prstTxWarp>
            <a:noAutofit/>
          </a:bodyPr>
          <a:lstStyle/>
          <a:p>
            <a:pPr marL="0" marR="0" lvl="0" indent="0" algn="l" defTabSz="89609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D0D0D"/>
              </a:solidFill>
              <a:effectLst/>
              <a:uLnTx/>
              <a:uFillTx/>
              <a:latin typeface="Segoe UI Semibold"/>
              <a:ea typeface="Segoe UI Light" charset="0"/>
              <a:cs typeface="Segoe UI Light" charset="0"/>
            </a:endParaRPr>
          </a:p>
        </p:txBody>
      </p:sp>
      <p:sp>
        <p:nvSpPr>
          <p:cNvPr id="136" name="Rectangle 135">
            <a:extLst>
              <a:ext uri="{FF2B5EF4-FFF2-40B4-BE49-F238E27FC236}">
                <a16:creationId xmlns:a16="http://schemas.microsoft.com/office/drawing/2014/main" id="{F1841335-D4C6-46B2-B095-12B7C4C9D70C}"/>
              </a:ext>
              <a:ext uri="{C183D7F6-B498-43B3-948B-1728B52AA6E4}">
                <adec:decorative xmlns:adec="http://schemas.microsoft.com/office/drawing/2017/decorative" val="1"/>
              </a:ext>
            </a:extLst>
          </p:cNvPr>
          <p:cNvSpPr/>
          <p:nvPr/>
        </p:nvSpPr>
        <p:spPr bwMode="auto">
          <a:xfrm>
            <a:off x="2567928" y="2637596"/>
            <a:ext cx="2285676" cy="355241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876" tIns="45706" rIns="88876" bIns="45706" numCol="1" spcCol="0" rtlCol="0" fromWordArt="0" anchor="t" anchorCtr="0" forceAA="0" compatLnSpc="1">
            <a:prstTxWarp prst="textNoShape">
              <a:avLst/>
            </a:prstTxWarp>
            <a:noAutofit/>
          </a:bodyPr>
          <a:lstStyle/>
          <a:p>
            <a:pPr marL="0" marR="0" lvl="0" indent="0" algn="l" defTabSz="89609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D0D0D"/>
              </a:solidFill>
              <a:effectLst/>
              <a:uLnTx/>
              <a:uFillTx/>
              <a:latin typeface="Segoe UI Semibold"/>
              <a:ea typeface="Segoe UI Light" charset="0"/>
              <a:cs typeface="Segoe UI Light" charset="0"/>
            </a:endParaRPr>
          </a:p>
        </p:txBody>
      </p:sp>
      <p:sp>
        <p:nvSpPr>
          <p:cNvPr id="137" name="Rectangle 136">
            <a:extLst>
              <a:ext uri="{FF2B5EF4-FFF2-40B4-BE49-F238E27FC236}">
                <a16:creationId xmlns:a16="http://schemas.microsoft.com/office/drawing/2014/main" id="{47EB575C-0680-460F-9DD9-DAADA2A5C301}"/>
              </a:ext>
              <a:ext uri="{C183D7F6-B498-43B3-948B-1728B52AA6E4}">
                <adec:decorative xmlns:adec="http://schemas.microsoft.com/office/drawing/2017/decorative" val="1"/>
              </a:ext>
            </a:extLst>
          </p:cNvPr>
          <p:cNvSpPr/>
          <p:nvPr/>
        </p:nvSpPr>
        <p:spPr bwMode="auto">
          <a:xfrm>
            <a:off x="208578" y="2630875"/>
            <a:ext cx="2277347" cy="355241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876" tIns="45706" rIns="88876" bIns="45706" numCol="1" spcCol="0" rtlCol="0" fromWordArt="0" anchor="t" anchorCtr="0" forceAA="0" compatLnSpc="1">
            <a:prstTxWarp prst="textNoShape">
              <a:avLst/>
            </a:prstTxWarp>
            <a:noAutofit/>
          </a:bodyPr>
          <a:lstStyle/>
          <a:p>
            <a:pPr marL="0" marR="0" lvl="0" indent="0" algn="l" defTabSz="89609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D0D0D"/>
              </a:solidFill>
              <a:effectLst/>
              <a:uLnTx/>
              <a:uFillTx/>
              <a:latin typeface="Segoe UI Semibold"/>
              <a:ea typeface="Segoe UI Light" charset="0"/>
              <a:cs typeface="Segoe UI Light" charset="0"/>
            </a:endParaRPr>
          </a:p>
        </p:txBody>
      </p:sp>
      <p:grpSp>
        <p:nvGrpSpPr>
          <p:cNvPr id="116" name="Group 115">
            <a:extLst>
              <a:ext uri="{FF2B5EF4-FFF2-40B4-BE49-F238E27FC236}">
                <a16:creationId xmlns:a16="http://schemas.microsoft.com/office/drawing/2014/main" id="{C0553EA6-51B0-4852-8C77-2EA7CD67069F}"/>
              </a:ext>
              <a:ext uri="{C183D7F6-B498-43B3-948B-1728B52AA6E4}">
                <adec:decorative xmlns:adec="http://schemas.microsoft.com/office/drawing/2017/decorative" val="1"/>
              </a:ext>
            </a:extLst>
          </p:cNvPr>
          <p:cNvGrpSpPr/>
          <p:nvPr/>
        </p:nvGrpSpPr>
        <p:grpSpPr>
          <a:xfrm>
            <a:off x="0" y="0"/>
            <a:ext cx="12191999" cy="1722838"/>
            <a:chOff x="0" y="0"/>
            <a:chExt cx="12191999" cy="1722838"/>
          </a:xfrm>
        </p:grpSpPr>
        <p:sp>
          <p:nvSpPr>
            <p:cNvPr id="117" name="Rectangle 116">
              <a:extLst>
                <a:ext uri="{FF2B5EF4-FFF2-40B4-BE49-F238E27FC236}">
                  <a16:creationId xmlns:a16="http://schemas.microsoft.com/office/drawing/2014/main" id="{2028013C-703A-4C81-B418-E96335DFF3D2}"/>
                </a:ext>
              </a:extLst>
            </p:cNvPr>
            <p:cNvSpPr/>
            <p:nvPr/>
          </p:nvSpPr>
          <p:spPr>
            <a:xfrm>
              <a:off x="0" y="0"/>
              <a:ext cx="12191999" cy="1607063"/>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Rectangle 117">
              <a:extLst>
                <a:ext uri="{FF2B5EF4-FFF2-40B4-BE49-F238E27FC236}">
                  <a16:creationId xmlns:a16="http://schemas.microsoft.com/office/drawing/2014/main" id="{E02CE2F8-B25A-4D43-BD08-1D9BAAC1CB45}"/>
                </a:ext>
              </a:extLst>
            </p:cNvPr>
            <p:cNvSpPr/>
            <p:nvPr/>
          </p:nvSpPr>
          <p:spPr>
            <a:xfrm>
              <a:off x="0" y="1603139"/>
              <a:ext cx="12191999" cy="11969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44" name="Title 2">
            <a:extLst>
              <a:ext uri="{FF2B5EF4-FFF2-40B4-BE49-F238E27FC236}">
                <a16:creationId xmlns:a16="http://schemas.microsoft.com/office/drawing/2014/main" id="{E3F148A4-1DFD-4613-BB98-274A541A55E9}"/>
              </a:ext>
            </a:extLst>
          </p:cNvPr>
          <p:cNvSpPr txBox="1">
            <a:spLocks/>
          </p:cNvSpPr>
          <p:nvPr/>
        </p:nvSpPr>
        <p:spPr>
          <a:xfrm>
            <a:off x="9674842" y="4711656"/>
            <a:ext cx="2285675" cy="1469568"/>
          </a:xfrm>
          <a:prstGeom prst="rect">
            <a:avLst/>
          </a:prstGeom>
          <a:solidFill>
            <a:srgbClr val="243A5E"/>
          </a:solidFill>
        </p:spPr>
        <p:txBody>
          <a:bodyPr vert="horz" wrap="square" lIns="88876" tIns="91414" rIns="88876" bIns="91414" rtlCol="0" anchor="t">
            <a:noAutofit/>
          </a:bodyPr>
          <a:lstStyle>
            <a:lvl1pPr algn="l" defTabSz="914378" rtl="0" eaLnBrk="1" latinLnBrk="0" hangingPunct="1">
              <a:lnSpc>
                <a:spcPts val="3137"/>
              </a:lnSpc>
              <a:spcBef>
                <a:spcPct val="0"/>
              </a:spcBef>
              <a:buNone/>
              <a:defRPr lang="en-US" sz="2800" b="0" kern="1200" cap="none" spc="-147" baseline="0">
                <a:ln w="3175">
                  <a:noFill/>
                </a:ln>
                <a:solidFill>
                  <a:schemeClr val="tx1"/>
                </a:solidFill>
                <a:effectLst/>
                <a:latin typeface="+mj-lt"/>
                <a:ea typeface="+mn-ea"/>
                <a:cs typeface="Segoe UI" pitchFamily="34" charset="0"/>
              </a:defRPr>
            </a:lvl1p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rPr>
              <a:t>Teachers get up to </a:t>
            </a:r>
            <a:r>
              <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rPr>
              <a:t>30% of time back, </a:t>
            </a:r>
            <a:r>
              <a:rPr kumimoji="0" lang="en-US" sz="1400" b="0" i="0" u="none" strike="noStrike" kern="1200" cap="none" spc="0" normalizeH="0" baseline="0" noProof="0">
                <a:ln w="3175">
                  <a:noFill/>
                </a:ln>
                <a:solidFill>
                  <a:prstClr val="white"/>
                </a:solidFill>
                <a:effectLst/>
                <a:uLnTx/>
                <a:uFillTx/>
                <a:latin typeface="Segoe UI"/>
                <a:ea typeface="+mn-ea"/>
                <a:cs typeface="Segoe UI Light" charset="0"/>
              </a:rPr>
              <a:t>gain insights into individual learning, and can </a:t>
            </a:r>
            <a:r>
              <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rPr>
              <a:t>amplify the abilities of all students</a:t>
            </a:r>
            <a:r>
              <a:rPr kumimoji="0" lang="en-US" sz="1400" b="0" i="0" u="none" strike="noStrike" kern="1200" cap="none" spc="0" normalizeH="0" baseline="0" noProof="0">
                <a:ln w="3175">
                  <a:noFill/>
                </a:ln>
                <a:solidFill>
                  <a:prstClr val="white"/>
                </a:solidFill>
                <a:effectLst/>
                <a:uLnTx/>
                <a:uFillTx/>
                <a:latin typeface="Segoe UI"/>
                <a:ea typeface="+mn-ea"/>
                <a:cs typeface="Segoe UI Light" charset="0"/>
              </a:rPr>
              <a:t>.</a:t>
            </a:r>
            <a:endPar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endParaRPr>
          </a:p>
        </p:txBody>
      </p:sp>
      <p:sp>
        <p:nvSpPr>
          <p:cNvPr id="2" name="Title 1">
            <a:extLst>
              <a:ext uri="{FF2B5EF4-FFF2-40B4-BE49-F238E27FC236}">
                <a16:creationId xmlns:a16="http://schemas.microsoft.com/office/drawing/2014/main" id="{32F1B304-87DB-4C5B-AACB-C35526FA6BE6}"/>
              </a:ext>
            </a:extLst>
          </p:cNvPr>
          <p:cNvSpPr>
            <a:spLocks noGrp="1"/>
          </p:cNvSpPr>
          <p:nvPr>
            <p:ph type="title"/>
          </p:nvPr>
        </p:nvSpPr>
        <p:spPr>
          <a:xfrm>
            <a:off x="208578" y="337433"/>
            <a:ext cx="11802732" cy="892545"/>
          </a:xfrm>
        </p:spPr>
        <p:txBody>
          <a:bodyPr>
            <a:normAutofit fontScale="90000"/>
          </a:bodyPr>
          <a:lstStyle/>
          <a:p>
            <a:pPr>
              <a:spcAft>
                <a:spcPts val="300"/>
              </a:spcAft>
            </a:pPr>
            <a:r>
              <a:rPr lang="en-US">
                <a:solidFill>
                  <a:schemeClr val="bg1"/>
                </a:solidFill>
                <a:effectLst>
                  <a:outerShdw blurRad="38100" dist="38100" dir="2700000" algn="tl">
                    <a:srgbClr val="000000">
                      <a:alpha val="43137"/>
                    </a:srgbClr>
                  </a:outerShdw>
                </a:effectLst>
                <a:latin typeface="Segoe UI Semibold" panose="020B0702040204020203" pitchFamily="34" charset="0"/>
                <a:cs typeface="Segoe UI Semibold" panose="020B0702040204020203" pitchFamily="34" charset="0"/>
              </a:rPr>
              <a:t>Preparing the class of 2030</a:t>
            </a:r>
            <a:br>
              <a:rPr lang="en-US">
                <a:solidFill>
                  <a:schemeClr val="bg1"/>
                </a:solidFill>
                <a:effectLst>
                  <a:outerShdw blurRad="38100" dist="38100" dir="2700000" algn="tl">
                    <a:srgbClr val="000000">
                      <a:alpha val="43137"/>
                    </a:srgbClr>
                  </a:outerShdw>
                </a:effectLst>
              </a:rPr>
            </a:br>
            <a:br>
              <a:rPr lang="en-US" sz="1300">
                <a:solidFill>
                  <a:schemeClr val="bg1"/>
                </a:solidFill>
                <a:effectLst>
                  <a:outerShdw blurRad="38100" dist="38100" dir="2700000" algn="tl">
                    <a:srgbClr val="000000">
                      <a:alpha val="43137"/>
                    </a:srgbClr>
                  </a:outerShdw>
                </a:effectLst>
              </a:rPr>
            </a:br>
            <a:r>
              <a:rPr lang="en-US" sz="2200" spc="0">
                <a:solidFill>
                  <a:schemeClr val="bg1"/>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rPr>
              <a:t>The future of learning will be student centric: social, personalized and supported by technology.</a:t>
            </a:r>
          </a:p>
        </p:txBody>
      </p:sp>
      <p:sp>
        <p:nvSpPr>
          <p:cNvPr id="135" name="Title 2">
            <a:extLst>
              <a:ext uri="{FF2B5EF4-FFF2-40B4-BE49-F238E27FC236}">
                <a16:creationId xmlns:a16="http://schemas.microsoft.com/office/drawing/2014/main" id="{05DE2110-CC1D-465E-8580-01C2347569A0}"/>
              </a:ext>
            </a:extLst>
          </p:cNvPr>
          <p:cNvSpPr txBox="1">
            <a:spLocks/>
          </p:cNvSpPr>
          <p:nvPr/>
        </p:nvSpPr>
        <p:spPr>
          <a:xfrm>
            <a:off x="202739" y="6365494"/>
            <a:ext cx="2128025" cy="215444"/>
          </a:xfrm>
          <a:prstGeom prst="rect">
            <a:avLst/>
          </a:prstGeom>
        </p:spPr>
        <p:txBody>
          <a:bodyPr vert="horz" wrap="square" lIns="0" tIns="0" rIns="0" bIns="0" rtlCol="0" anchor="ctr">
            <a:spAutoFit/>
          </a:bodyPr>
          <a:lstStyle>
            <a:lvl1pPr algn="l" defTabSz="914378" rtl="0" eaLnBrk="1" latinLnBrk="0" hangingPunct="1">
              <a:lnSpc>
                <a:spcPts val="3137"/>
              </a:lnSpc>
              <a:spcBef>
                <a:spcPct val="0"/>
              </a:spcBef>
              <a:buNone/>
              <a:defRPr lang="en-US" sz="2800" b="0" kern="1200" cap="none" spc="-147" baseline="0">
                <a:ln w="3175">
                  <a:noFill/>
                </a:ln>
                <a:solidFill>
                  <a:schemeClr val="tx1"/>
                </a:solidFill>
                <a:effectLst/>
                <a:latin typeface="+mj-lt"/>
                <a:ea typeface="+mn-ea"/>
                <a:cs typeface="Segoe UI" pitchFamily="34" charset="0"/>
              </a:defRPr>
            </a:lvl1pPr>
          </a:lstStyle>
          <a:p>
            <a:pPr marL="0" marR="0" lvl="0" indent="0" algn="l" defTabSz="91402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srgbClr val="243A5E"/>
                </a:solidFill>
                <a:effectLst/>
                <a:uLnTx/>
                <a:uFillTx/>
                <a:latin typeface="Segoe UI"/>
                <a:ea typeface="Segoe UI Light" charset="0"/>
                <a:cs typeface="Segoe UI Light" charset="0"/>
                <a:hlinkClick r:id="" action="ppaction://noaction">
                  <a:extLst>
                    <a:ext uri="{A12FA001-AC4F-418D-AE19-62706E023703}">
                      <ahyp:hlinkClr xmlns:ahyp="http://schemas.microsoft.com/office/drawing/2018/hyperlinkcolor" val="tx"/>
                    </a:ext>
                  </a:extLst>
                </a:hlinkClick>
              </a:rPr>
              <a:t>http://aka.ms/classof2030</a:t>
            </a:r>
            <a:r>
              <a:rPr kumimoji="0" lang="en-US" sz="1400" b="0" i="0" u="none" strike="noStrike" kern="1200" cap="none" spc="0" normalizeH="0" baseline="0" noProof="0">
                <a:ln w="3175">
                  <a:noFill/>
                </a:ln>
                <a:solidFill>
                  <a:srgbClr val="243A5E"/>
                </a:solidFill>
                <a:effectLst/>
                <a:uLnTx/>
                <a:uFillTx/>
                <a:latin typeface="Segoe UI"/>
                <a:ea typeface="Segoe UI Light" charset="0"/>
                <a:cs typeface="Segoe UI Light" charset="0"/>
              </a:rPr>
              <a:t> </a:t>
            </a:r>
          </a:p>
        </p:txBody>
      </p:sp>
      <p:sp>
        <p:nvSpPr>
          <p:cNvPr id="140" name="Title 2">
            <a:extLst>
              <a:ext uri="{FF2B5EF4-FFF2-40B4-BE49-F238E27FC236}">
                <a16:creationId xmlns:a16="http://schemas.microsoft.com/office/drawing/2014/main" id="{CD58BED7-4F42-4535-A16A-177B4CEB6F40}"/>
              </a:ext>
            </a:extLst>
          </p:cNvPr>
          <p:cNvSpPr txBox="1">
            <a:spLocks/>
          </p:cNvSpPr>
          <p:nvPr/>
        </p:nvSpPr>
        <p:spPr>
          <a:xfrm>
            <a:off x="4947358" y="4715966"/>
            <a:ext cx="2285674" cy="1469569"/>
          </a:xfrm>
          <a:prstGeom prst="rect">
            <a:avLst/>
          </a:prstGeom>
          <a:solidFill>
            <a:srgbClr val="243A5E"/>
          </a:solidFill>
        </p:spPr>
        <p:txBody>
          <a:bodyPr vert="horz" wrap="square" lIns="88876" tIns="91414" rIns="88876" bIns="91414" rtlCol="0" anchor="t">
            <a:noAutofit/>
          </a:bodyPr>
          <a:lstStyle>
            <a:lvl1pPr algn="l" defTabSz="914378" rtl="0" eaLnBrk="1" latinLnBrk="0" hangingPunct="1">
              <a:lnSpc>
                <a:spcPts val="3137"/>
              </a:lnSpc>
              <a:spcBef>
                <a:spcPct val="0"/>
              </a:spcBef>
              <a:buNone/>
              <a:defRPr lang="en-US" sz="2800" b="0" kern="1200" cap="none" spc="-147" baseline="0">
                <a:ln w="3175">
                  <a:noFill/>
                </a:ln>
                <a:solidFill>
                  <a:schemeClr val="tx1"/>
                </a:solidFill>
                <a:effectLst/>
                <a:latin typeface="+mj-lt"/>
                <a:ea typeface="+mn-ea"/>
                <a:cs typeface="Segoe UI" pitchFamily="34" charset="0"/>
              </a:defRPr>
            </a:lvl1p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a:ea typeface="+mn-ea"/>
                <a:cs typeface="Segoe UI Light" charset="0"/>
              </a:rPr>
              <a:t>Personalized learning can  help </a:t>
            </a:r>
            <a:r>
              <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rPr>
              <a:t>70% of students </a:t>
            </a:r>
            <a:r>
              <a:rPr kumimoji="0" lang="en-US" sz="1400" b="0" i="0" u="none" strike="noStrike" kern="1200" cap="none" spc="0" normalizeH="0" baseline="0" noProof="0">
                <a:ln w="3175">
                  <a:noFill/>
                </a:ln>
                <a:solidFill>
                  <a:prstClr val="white"/>
                </a:solidFill>
                <a:effectLst/>
                <a:uLnTx/>
                <a:uFillTx/>
                <a:latin typeface="Segoe UI"/>
                <a:ea typeface="+mn-ea"/>
                <a:cs typeface="Segoe UI Light" charset="0"/>
              </a:rPr>
              <a:t>achieve more</a:t>
            </a:r>
            <a:endPar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endParaRPr>
          </a:p>
          <a:p>
            <a:pPr marL="0" marR="0" lvl="0" indent="0" algn="ctr" defTabSz="89609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endParaRPr>
          </a:p>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rPr>
              <a:t>70% of students </a:t>
            </a:r>
            <a:r>
              <a:rPr kumimoji="0" lang="en-US" sz="1400" b="0" i="0" u="none" strike="noStrike" kern="1200" cap="none" spc="0" normalizeH="0" baseline="0" noProof="0">
                <a:ln w="3175">
                  <a:noFill/>
                </a:ln>
                <a:solidFill>
                  <a:prstClr val="white"/>
                </a:solidFill>
                <a:effectLst/>
                <a:uLnTx/>
                <a:uFillTx/>
                <a:latin typeface="Segoe UI"/>
                <a:ea typeface="+mn-ea"/>
                <a:cs typeface="Segoe UI Light" charset="0"/>
              </a:rPr>
              <a:t>say the current pace isn’t right</a:t>
            </a:r>
          </a:p>
        </p:txBody>
      </p:sp>
      <p:grpSp>
        <p:nvGrpSpPr>
          <p:cNvPr id="145" name="Group 144">
            <a:extLst>
              <a:ext uri="{FF2B5EF4-FFF2-40B4-BE49-F238E27FC236}">
                <a16:creationId xmlns:a16="http://schemas.microsoft.com/office/drawing/2014/main" id="{5A6ECB4C-F11F-4C08-A02A-284324C17F0A}"/>
              </a:ext>
              <a:ext uri="{C183D7F6-B498-43B3-948B-1728B52AA6E4}">
                <adec:decorative xmlns:adec="http://schemas.microsoft.com/office/drawing/2017/decorative" val="1"/>
              </a:ext>
            </a:extLst>
          </p:cNvPr>
          <p:cNvGrpSpPr/>
          <p:nvPr/>
        </p:nvGrpSpPr>
        <p:grpSpPr>
          <a:xfrm>
            <a:off x="5326021" y="2678728"/>
            <a:ext cx="1828642" cy="1758902"/>
            <a:chOff x="7002704" y="143782"/>
            <a:chExt cx="1344238" cy="1304020"/>
          </a:xfrm>
        </p:grpSpPr>
        <p:grpSp>
          <p:nvGrpSpPr>
            <p:cNvPr id="146" name="Group 145">
              <a:extLst>
                <a:ext uri="{FF2B5EF4-FFF2-40B4-BE49-F238E27FC236}">
                  <a16:creationId xmlns:a16="http://schemas.microsoft.com/office/drawing/2014/main" id="{2218DD8D-4BCF-48E1-B6EF-5EAD93FD812F}"/>
                </a:ext>
              </a:extLst>
            </p:cNvPr>
            <p:cNvGrpSpPr/>
            <p:nvPr/>
          </p:nvGrpSpPr>
          <p:grpSpPr>
            <a:xfrm>
              <a:off x="7002704" y="409572"/>
              <a:ext cx="1004193" cy="1038230"/>
              <a:chOff x="7133333" y="409572"/>
              <a:chExt cx="1004193" cy="1038230"/>
            </a:xfrm>
          </p:grpSpPr>
          <p:grpSp>
            <p:nvGrpSpPr>
              <p:cNvPr id="150" name="Group 149">
                <a:extLst>
                  <a:ext uri="{FF2B5EF4-FFF2-40B4-BE49-F238E27FC236}">
                    <a16:creationId xmlns:a16="http://schemas.microsoft.com/office/drawing/2014/main" id="{03670B54-B894-450B-BABB-7DA69E4795C1}"/>
                  </a:ext>
                </a:extLst>
              </p:cNvPr>
              <p:cNvGrpSpPr/>
              <p:nvPr/>
            </p:nvGrpSpPr>
            <p:grpSpPr>
              <a:xfrm>
                <a:off x="7389240" y="693955"/>
                <a:ext cx="748286" cy="753847"/>
                <a:chOff x="7389240" y="693955"/>
                <a:chExt cx="748286" cy="753847"/>
              </a:xfrm>
            </p:grpSpPr>
            <p:sp>
              <p:nvSpPr>
                <p:cNvPr id="157" name="Oval 5">
                  <a:extLst>
                    <a:ext uri="{FF2B5EF4-FFF2-40B4-BE49-F238E27FC236}">
                      <a16:creationId xmlns:a16="http://schemas.microsoft.com/office/drawing/2014/main" id="{2DE77926-238D-4642-AFFC-956C397F31EA}"/>
                    </a:ext>
                  </a:extLst>
                </p:cNvPr>
                <p:cNvSpPr>
                  <a:spLocks noChangeArrowheads="1"/>
                </p:cNvSpPr>
                <p:nvPr/>
              </p:nvSpPr>
              <p:spPr bwMode="auto">
                <a:xfrm>
                  <a:off x="7875388" y="1105433"/>
                  <a:ext cx="220037" cy="220832"/>
                </a:xfrm>
                <a:prstGeom prst="ellipse">
                  <a:avLst/>
                </a:prstGeom>
                <a:noFill/>
                <a:ln w="7938"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8" name="Freeform 6">
                  <a:extLst>
                    <a:ext uri="{FF2B5EF4-FFF2-40B4-BE49-F238E27FC236}">
                      <a16:creationId xmlns:a16="http://schemas.microsoft.com/office/drawing/2014/main" id="{2361E6B7-76D4-4C1B-9503-CA3626BC77D9}"/>
                    </a:ext>
                  </a:extLst>
                </p:cNvPr>
                <p:cNvSpPr>
                  <a:spLocks/>
                </p:cNvSpPr>
                <p:nvPr/>
              </p:nvSpPr>
              <p:spPr bwMode="auto">
                <a:xfrm>
                  <a:off x="7833286" y="1326265"/>
                  <a:ext cx="304240" cy="121537"/>
                </a:xfrm>
                <a:custGeom>
                  <a:avLst/>
                  <a:gdLst>
                    <a:gd name="T0" fmla="*/ 282 w 282"/>
                    <a:gd name="T1" fmla="*/ 113 h 113"/>
                    <a:gd name="T2" fmla="*/ 141 w 282"/>
                    <a:gd name="T3" fmla="*/ 0 h 113"/>
                    <a:gd name="T4" fmla="*/ 0 w 282"/>
                    <a:gd name="T5" fmla="*/ 113 h 113"/>
                  </a:gdLst>
                  <a:ahLst/>
                  <a:cxnLst>
                    <a:cxn ang="0">
                      <a:pos x="T0" y="T1"/>
                    </a:cxn>
                    <a:cxn ang="0">
                      <a:pos x="T2" y="T3"/>
                    </a:cxn>
                    <a:cxn ang="0">
                      <a:pos x="T4" y="T5"/>
                    </a:cxn>
                  </a:cxnLst>
                  <a:rect l="0" t="0" r="r" b="b"/>
                  <a:pathLst>
                    <a:path w="282" h="113">
                      <a:moveTo>
                        <a:pt x="282" y="113"/>
                      </a:moveTo>
                      <a:cubicBezTo>
                        <a:pt x="268" y="48"/>
                        <a:pt x="210" y="0"/>
                        <a:pt x="141" y="0"/>
                      </a:cubicBezTo>
                      <a:cubicBezTo>
                        <a:pt x="72" y="0"/>
                        <a:pt x="14" y="48"/>
                        <a:pt x="0" y="113"/>
                      </a:cubicBezTo>
                    </a:path>
                  </a:pathLst>
                </a:custGeom>
                <a:noFill/>
                <a:ln w="7938"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9" name="Oval 7">
                  <a:extLst>
                    <a:ext uri="{FF2B5EF4-FFF2-40B4-BE49-F238E27FC236}">
                      <a16:creationId xmlns:a16="http://schemas.microsoft.com/office/drawing/2014/main" id="{2D45C0BD-E395-44D4-95C0-60F19D253D83}"/>
                    </a:ext>
                  </a:extLst>
                </p:cNvPr>
                <p:cNvSpPr>
                  <a:spLocks noChangeArrowheads="1"/>
                </p:cNvSpPr>
                <p:nvPr/>
              </p:nvSpPr>
              <p:spPr bwMode="auto">
                <a:xfrm>
                  <a:off x="7416248" y="1226970"/>
                  <a:ext cx="142190" cy="142190"/>
                </a:xfrm>
                <a:prstGeom prst="ellipse">
                  <a:avLst/>
                </a:prstGeom>
                <a:noFill/>
                <a:ln w="7938"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0" name="Freeform 8">
                  <a:extLst>
                    <a:ext uri="{FF2B5EF4-FFF2-40B4-BE49-F238E27FC236}">
                      <a16:creationId xmlns:a16="http://schemas.microsoft.com/office/drawing/2014/main" id="{63BCF9C3-D751-4B66-897A-FC9E6CE84C36}"/>
                    </a:ext>
                  </a:extLst>
                </p:cNvPr>
                <p:cNvSpPr>
                  <a:spLocks/>
                </p:cNvSpPr>
                <p:nvPr/>
              </p:nvSpPr>
              <p:spPr bwMode="auto">
                <a:xfrm>
                  <a:off x="7389240" y="1369160"/>
                  <a:ext cx="196207" cy="78642"/>
                </a:xfrm>
                <a:custGeom>
                  <a:avLst/>
                  <a:gdLst>
                    <a:gd name="T0" fmla="*/ 182 w 182"/>
                    <a:gd name="T1" fmla="*/ 73 h 73"/>
                    <a:gd name="T2" fmla="*/ 91 w 182"/>
                    <a:gd name="T3" fmla="*/ 0 h 73"/>
                    <a:gd name="T4" fmla="*/ 0 w 182"/>
                    <a:gd name="T5" fmla="*/ 73 h 73"/>
                  </a:gdLst>
                  <a:ahLst/>
                  <a:cxnLst>
                    <a:cxn ang="0">
                      <a:pos x="T0" y="T1"/>
                    </a:cxn>
                    <a:cxn ang="0">
                      <a:pos x="T2" y="T3"/>
                    </a:cxn>
                    <a:cxn ang="0">
                      <a:pos x="T4" y="T5"/>
                    </a:cxn>
                  </a:cxnLst>
                  <a:rect l="0" t="0" r="r" b="b"/>
                  <a:pathLst>
                    <a:path w="182" h="73">
                      <a:moveTo>
                        <a:pt x="182" y="73"/>
                      </a:moveTo>
                      <a:cubicBezTo>
                        <a:pt x="173" y="31"/>
                        <a:pt x="135" y="0"/>
                        <a:pt x="91" y="0"/>
                      </a:cubicBezTo>
                      <a:cubicBezTo>
                        <a:pt x="46" y="0"/>
                        <a:pt x="9" y="31"/>
                        <a:pt x="0" y="73"/>
                      </a:cubicBezTo>
                    </a:path>
                  </a:pathLst>
                </a:custGeom>
                <a:noFill/>
                <a:ln w="7938"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1" name="Freeform 9">
                  <a:extLst>
                    <a:ext uri="{FF2B5EF4-FFF2-40B4-BE49-F238E27FC236}">
                      <a16:creationId xmlns:a16="http://schemas.microsoft.com/office/drawing/2014/main" id="{8F61C356-B09E-4076-856B-DA7DBE3E0E48}"/>
                    </a:ext>
                  </a:extLst>
                </p:cNvPr>
                <p:cNvSpPr>
                  <a:spLocks/>
                </p:cNvSpPr>
                <p:nvPr/>
              </p:nvSpPr>
              <p:spPr bwMode="auto">
                <a:xfrm>
                  <a:off x="7462321" y="693955"/>
                  <a:ext cx="523483" cy="501240"/>
                </a:xfrm>
                <a:custGeom>
                  <a:avLst/>
                  <a:gdLst>
                    <a:gd name="T0" fmla="*/ 476 w 485"/>
                    <a:gd name="T1" fmla="*/ 292 h 465"/>
                    <a:gd name="T2" fmla="*/ 423 w 485"/>
                    <a:gd name="T3" fmla="*/ 292 h 465"/>
                    <a:gd name="T4" fmla="*/ 423 w 485"/>
                    <a:gd name="T5" fmla="*/ 370 h 465"/>
                    <a:gd name="T6" fmla="*/ 383 w 485"/>
                    <a:gd name="T7" fmla="*/ 292 h 465"/>
                    <a:gd name="T8" fmla="*/ 119 w 485"/>
                    <a:gd name="T9" fmla="*/ 292 h 465"/>
                    <a:gd name="T10" fmla="*/ 61 w 485"/>
                    <a:gd name="T11" fmla="*/ 465 h 465"/>
                    <a:gd name="T12" fmla="*/ 61 w 485"/>
                    <a:gd name="T13" fmla="*/ 292 h 465"/>
                    <a:gd name="T14" fmla="*/ 9 w 485"/>
                    <a:gd name="T15" fmla="*/ 292 h 465"/>
                    <a:gd name="T16" fmla="*/ 0 w 485"/>
                    <a:gd name="T17" fmla="*/ 283 h 465"/>
                    <a:gd name="T18" fmla="*/ 0 w 485"/>
                    <a:gd name="T19" fmla="*/ 9 h 465"/>
                    <a:gd name="T20" fmla="*/ 9 w 485"/>
                    <a:gd name="T21" fmla="*/ 0 h 465"/>
                    <a:gd name="T22" fmla="*/ 476 w 485"/>
                    <a:gd name="T23" fmla="*/ 0 h 465"/>
                    <a:gd name="T24" fmla="*/ 485 w 485"/>
                    <a:gd name="T25" fmla="*/ 9 h 465"/>
                    <a:gd name="T26" fmla="*/ 485 w 485"/>
                    <a:gd name="T27" fmla="*/ 283 h 465"/>
                    <a:gd name="T28" fmla="*/ 476 w 485"/>
                    <a:gd name="T29" fmla="*/ 292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5" h="465">
                      <a:moveTo>
                        <a:pt x="476" y="292"/>
                      </a:moveTo>
                      <a:cubicBezTo>
                        <a:pt x="423" y="292"/>
                        <a:pt x="423" y="292"/>
                        <a:pt x="423" y="292"/>
                      </a:cubicBezTo>
                      <a:cubicBezTo>
                        <a:pt x="423" y="370"/>
                        <a:pt x="423" y="370"/>
                        <a:pt x="423" y="370"/>
                      </a:cubicBezTo>
                      <a:cubicBezTo>
                        <a:pt x="383" y="292"/>
                        <a:pt x="383" y="292"/>
                        <a:pt x="383" y="292"/>
                      </a:cubicBezTo>
                      <a:cubicBezTo>
                        <a:pt x="119" y="292"/>
                        <a:pt x="119" y="292"/>
                        <a:pt x="119" y="292"/>
                      </a:cubicBezTo>
                      <a:cubicBezTo>
                        <a:pt x="61" y="465"/>
                        <a:pt x="61" y="465"/>
                        <a:pt x="61" y="465"/>
                      </a:cubicBezTo>
                      <a:cubicBezTo>
                        <a:pt x="61" y="292"/>
                        <a:pt x="61" y="292"/>
                        <a:pt x="61" y="292"/>
                      </a:cubicBezTo>
                      <a:cubicBezTo>
                        <a:pt x="9" y="292"/>
                        <a:pt x="9" y="292"/>
                        <a:pt x="9" y="292"/>
                      </a:cubicBezTo>
                      <a:cubicBezTo>
                        <a:pt x="4" y="292"/>
                        <a:pt x="0" y="288"/>
                        <a:pt x="0" y="283"/>
                      </a:cubicBezTo>
                      <a:cubicBezTo>
                        <a:pt x="0" y="9"/>
                        <a:pt x="0" y="9"/>
                        <a:pt x="0" y="9"/>
                      </a:cubicBezTo>
                      <a:cubicBezTo>
                        <a:pt x="0" y="4"/>
                        <a:pt x="4" y="0"/>
                        <a:pt x="9" y="0"/>
                      </a:cubicBezTo>
                      <a:cubicBezTo>
                        <a:pt x="476" y="0"/>
                        <a:pt x="476" y="0"/>
                        <a:pt x="476" y="0"/>
                      </a:cubicBezTo>
                      <a:cubicBezTo>
                        <a:pt x="481" y="0"/>
                        <a:pt x="485" y="4"/>
                        <a:pt x="485" y="9"/>
                      </a:cubicBezTo>
                      <a:cubicBezTo>
                        <a:pt x="485" y="283"/>
                        <a:pt x="485" y="283"/>
                        <a:pt x="485" y="283"/>
                      </a:cubicBezTo>
                      <a:cubicBezTo>
                        <a:pt x="485" y="288"/>
                        <a:pt x="481" y="292"/>
                        <a:pt x="476" y="292"/>
                      </a:cubicBezTo>
                      <a:close/>
                    </a:path>
                  </a:pathLst>
                </a:custGeom>
                <a:noFill/>
                <a:ln w="7938"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2" name="Line 10">
                  <a:extLst>
                    <a:ext uri="{FF2B5EF4-FFF2-40B4-BE49-F238E27FC236}">
                      <a16:creationId xmlns:a16="http://schemas.microsoft.com/office/drawing/2014/main" id="{6B042EF9-2C58-4190-A718-F298FA1EC0B1}"/>
                    </a:ext>
                  </a:extLst>
                </p:cNvPr>
                <p:cNvSpPr>
                  <a:spLocks noChangeShapeType="1"/>
                </p:cNvSpPr>
                <p:nvPr/>
              </p:nvSpPr>
              <p:spPr bwMode="auto">
                <a:xfrm>
                  <a:off x="7572737" y="778952"/>
                  <a:ext cx="161255" cy="0"/>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3" name="Line 11">
                  <a:extLst>
                    <a:ext uri="{FF2B5EF4-FFF2-40B4-BE49-F238E27FC236}">
                      <a16:creationId xmlns:a16="http://schemas.microsoft.com/office/drawing/2014/main" id="{950BAC2F-EA5E-4D3F-92C0-CFD60FB6B5CA}"/>
                    </a:ext>
                  </a:extLst>
                </p:cNvPr>
                <p:cNvSpPr>
                  <a:spLocks noChangeShapeType="1"/>
                </p:cNvSpPr>
                <p:nvPr/>
              </p:nvSpPr>
              <p:spPr bwMode="auto">
                <a:xfrm>
                  <a:off x="7572737" y="839323"/>
                  <a:ext cx="302651" cy="0"/>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64" name="Line 12">
                  <a:extLst>
                    <a:ext uri="{FF2B5EF4-FFF2-40B4-BE49-F238E27FC236}">
                      <a16:creationId xmlns:a16="http://schemas.microsoft.com/office/drawing/2014/main" id="{79B5B3B5-9141-4855-929B-38632D990F9A}"/>
                    </a:ext>
                  </a:extLst>
                </p:cNvPr>
                <p:cNvSpPr>
                  <a:spLocks noChangeShapeType="1"/>
                </p:cNvSpPr>
                <p:nvPr/>
              </p:nvSpPr>
              <p:spPr bwMode="auto">
                <a:xfrm>
                  <a:off x="7572737" y="899694"/>
                  <a:ext cx="236719" cy="0"/>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51" name="Group 150">
                <a:extLst>
                  <a:ext uri="{FF2B5EF4-FFF2-40B4-BE49-F238E27FC236}">
                    <a16:creationId xmlns:a16="http://schemas.microsoft.com/office/drawing/2014/main" id="{9D34A906-20DE-4EF9-A121-C357DBA8892E}"/>
                  </a:ext>
                </a:extLst>
              </p:cNvPr>
              <p:cNvGrpSpPr/>
              <p:nvPr/>
            </p:nvGrpSpPr>
            <p:grpSpPr>
              <a:xfrm>
                <a:off x="7133333" y="409572"/>
                <a:ext cx="106424" cy="1038230"/>
                <a:chOff x="7133333" y="409572"/>
                <a:chExt cx="106424" cy="1038230"/>
              </a:xfrm>
            </p:grpSpPr>
            <p:sp>
              <p:nvSpPr>
                <p:cNvPr id="152" name="Rectangle 13">
                  <a:extLst>
                    <a:ext uri="{FF2B5EF4-FFF2-40B4-BE49-F238E27FC236}">
                      <a16:creationId xmlns:a16="http://schemas.microsoft.com/office/drawing/2014/main" id="{8C330F84-1C97-4672-A3DF-FDAAA733160F}"/>
                    </a:ext>
                  </a:extLst>
                </p:cNvPr>
                <p:cNvSpPr>
                  <a:spLocks noChangeArrowheads="1"/>
                </p:cNvSpPr>
                <p:nvPr/>
              </p:nvSpPr>
              <p:spPr bwMode="auto">
                <a:xfrm>
                  <a:off x="7134949" y="409575"/>
                  <a:ext cx="104061" cy="1038227"/>
                </a:xfrm>
                <a:prstGeom prst="rect">
                  <a:avLst/>
                </a:prstGeom>
                <a:noFill/>
                <a:ln w="7938"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3" name="Rectangle 14">
                  <a:extLst>
                    <a:ext uri="{FF2B5EF4-FFF2-40B4-BE49-F238E27FC236}">
                      <a16:creationId xmlns:a16="http://schemas.microsoft.com/office/drawing/2014/main" id="{8AB7B342-1FAE-492F-82F5-09D442C2CE05}"/>
                    </a:ext>
                  </a:extLst>
                </p:cNvPr>
                <p:cNvSpPr>
                  <a:spLocks noChangeArrowheads="1"/>
                </p:cNvSpPr>
                <p:nvPr/>
              </p:nvSpPr>
              <p:spPr bwMode="auto">
                <a:xfrm>
                  <a:off x="7133333" y="693955"/>
                  <a:ext cx="104061" cy="753847"/>
                </a:xfrm>
                <a:prstGeom prst="rect">
                  <a:avLst/>
                </a:prstGeom>
                <a:solidFill>
                  <a:srgbClr val="243A5E"/>
                </a:solidFill>
                <a:ln w="7938" cap="flat">
                  <a:solidFill>
                    <a:srgbClr val="243A5E"/>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4" name="Line 15">
                  <a:extLst>
                    <a:ext uri="{FF2B5EF4-FFF2-40B4-BE49-F238E27FC236}">
                      <a16:creationId xmlns:a16="http://schemas.microsoft.com/office/drawing/2014/main" id="{D7DD4F8B-D7CF-4C88-A265-2F640ECDD2CC}"/>
                    </a:ext>
                  </a:extLst>
                </p:cNvPr>
                <p:cNvSpPr>
                  <a:spLocks noChangeShapeType="1"/>
                </p:cNvSpPr>
                <p:nvPr/>
              </p:nvSpPr>
              <p:spPr bwMode="auto">
                <a:xfrm flipH="1">
                  <a:off x="7137545" y="409572"/>
                  <a:ext cx="42949" cy="34897"/>
                </a:xfrm>
                <a:prstGeom prst="line">
                  <a:avLst/>
                </a:prstGeom>
                <a:noFill/>
                <a:ln w="7938" cap="flat">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5" name="Line 16">
                  <a:extLst>
                    <a:ext uri="{FF2B5EF4-FFF2-40B4-BE49-F238E27FC236}">
                      <a16:creationId xmlns:a16="http://schemas.microsoft.com/office/drawing/2014/main" id="{255BCEDB-257E-4424-BB4E-B35AEDDF7741}"/>
                    </a:ext>
                  </a:extLst>
                </p:cNvPr>
                <p:cNvSpPr>
                  <a:spLocks noChangeShapeType="1"/>
                </p:cNvSpPr>
                <p:nvPr/>
              </p:nvSpPr>
              <p:spPr bwMode="auto">
                <a:xfrm flipH="1">
                  <a:off x="7137564" y="409574"/>
                  <a:ext cx="90664" cy="84096"/>
                </a:xfrm>
                <a:prstGeom prst="line">
                  <a:avLst/>
                </a:prstGeom>
                <a:noFill/>
                <a:ln w="7938" cap="flat">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56" name="Line 17">
                  <a:extLst>
                    <a:ext uri="{FF2B5EF4-FFF2-40B4-BE49-F238E27FC236}">
                      <a16:creationId xmlns:a16="http://schemas.microsoft.com/office/drawing/2014/main" id="{0947B248-5716-4E92-9F8B-5301571016BD}"/>
                    </a:ext>
                  </a:extLst>
                </p:cNvPr>
                <p:cNvSpPr>
                  <a:spLocks noChangeShapeType="1"/>
                </p:cNvSpPr>
                <p:nvPr/>
              </p:nvSpPr>
              <p:spPr bwMode="auto">
                <a:xfrm flipH="1">
                  <a:off x="7137387" y="443754"/>
                  <a:ext cx="102370" cy="98818"/>
                </a:xfrm>
                <a:prstGeom prst="line">
                  <a:avLst/>
                </a:prstGeom>
                <a:noFill/>
                <a:ln w="7938" cap="flat">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47" name="Group 146">
              <a:extLst>
                <a:ext uri="{FF2B5EF4-FFF2-40B4-BE49-F238E27FC236}">
                  <a16:creationId xmlns:a16="http://schemas.microsoft.com/office/drawing/2014/main" id="{61DA0669-BCC6-4423-AF57-19641476430D}"/>
                </a:ext>
              </a:extLst>
            </p:cNvPr>
            <p:cNvGrpSpPr/>
            <p:nvPr/>
          </p:nvGrpSpPr>
          <p:grpSpPr>
            <a:xfrm>
              <a:off x="7141697" y="143782"/>
              <a:ext cx="1205245" cy="529875"/>
              <a:chOff x="7272326" y="143782"/>
              <a:chExt cx="1205245" cy="529875"/>
            </a:xfrm>
          </p:grpSpPr>
          <p:sp>
            <p:nvSpPr>
              <p:cNvPr id="148" name="Text Placeholder 3">
                <a:extLst>
                  <a:ext uri="{FF2B5EF4-FFF2-40B4-BE49-F238E27FC236}">
                    <a16:creationId xmlns:a16="http://schemas.microsoft.com/office/drawing/2014/main" id="{D78FF633-4D90-4953-A40B-F43EFE5A1294}"/>
                  </a:ext>
                </a:extLst>
              </p:cNvPr>
              <p:cNvSpPr txBox="1">
                <a:spLocks/>
              </p:cNvSpPr>
              <p:nvPr/>
            </p:nvSpPr>
            <p:spPr>
              <a:xfrm>
                <a:off x="7856743" y="143782"/>
                <a:ext cx="620828" cy="513405"/>
              </a:xfrm>
              <a:prstGeom prst="rect">
                <a:avLst/>
              </a:prstGeom>
            </p:spPr>
            <p:txBody>
              <a:bodyPr vert="horz" wrap="square" lIns="0" tIns="0" rIns="0" bIns="0" rtlCol="0" anchor="t">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1" i="0" u="none" strike="noStrike" kern="1200" cap="none" spc="0" normalizeH="0" baseline="0" noProof="0">
                    <a:ln>
                      <a:noFill/>
                    </a:ln>
                    <a:solidFill>
                      <a:srgbClr val="002050"/>
                    </a:solidFill>
                    <a:effectLst/>
                    <a:uLnTx/>
                    <a:uFillTx/>
                    <a:latin typeface="Segoe UI Semibold"/>
                    <a:ea typeface="+mn-ea"/>
                    <a:cs typeface="Segoe UI Semibold" charset="0"/>
                  </a:rPr>
                  <a:t>of teachers say time is a barrier to delivering personalized learning</a:t>
                </a:r>
              </a:p>
            </p:txBody>
          </p:sp>
          <p:sp>
            <p:nvSpPr>
              <p:cNvPr id="149" name="Text Placeholder 3">
                <a:extLst>
                  <a:ext uri="{FF2B5EF4-FFF2-40B4-BE49-F238E27FC236}">
                    <a16:creationId xmlns:a16="http://schemas.microsoft.com/office/drawing/2014/main" id="{7AEDBFD4-980B-436A-B3D9-9C01321E2984}"/>
                  </a:ext>
                </a:extLst>
              </p:cNvPr>
              <p:cNvSpPr txBox="1">
                <a:spLocks/>
              </p:cNvSpPr>
              <p:nvPr/>
            </p:nvSpPr>
            <p:spPr>
              <a:xfrm>
                <a:off x="7272326" y="252046"/>
                <a:ext cx="590480" cy="421611"/>
              </a:xfrm>
              <a:prstGeom prst="rect">
                <a:avLst/>
              </a:prstGeom>
            </p:spPr>
            <p:txBody>
              <a:bodyPr vert="horz" wrap="square" lIns="0" tIns="0" rIns="0" bIns="0" rtlCol="0" anchor="ctr">
                <a:no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243A5E"/>
                    </a:solidFill>
                    <a:effectLst/>
                    <a:uLnTx/>
                    <a:uFillTx/>
                    <a:latin typeface="Segoe UI"/>
                    <a:ea typeface="Segoe UI Semibold" charset="0"/>
                    <a:cs typeface="Segoe UI Semibold" charset="0"/>
                  </a:rPr>
                  <a:t>70%</a:t>
                </a:r>
              </a:p>
            </p:txBody>
          </p:sp>
        </p:grpSp>
      </p:grpSp>
      <p:sp>
        <p:nvSpPr>
          <p:cNvPr id="141" name="Title 2">
            <a:extLst>
              <a:ext uri="{FF2B5EF4-FFF2-40B4-BE49-F238E27FC236}">
                <a16:creationId xmlns:a16="http://schemas.microsoft.com/office/drawing/2014/main" id="{0DE5CCDE-5A38-4E23-BCE1-552A04198C83}"/>
              </a:ext>
            </a:extLst>
          </p:cNvPr>
          <p:cNvSpPr txBox="1">
            <a:spLocks/>
          </p:cNvSpPr>
          <p:nvPr/>
        </p:nvSpPr>
        <p:spPr>
          <a:xfrm>
            <a:off x="2567923" y="4711485"/>
            <a:ext cx="2305765" cy="1469569"/>
          </a:xfrm>
          <a:prstGeom prst="rect">
            <a:avLst/>
          </a:prstGeom>
          <a:solidFill>
            <a:srgbClr val="243A5E"/>
          </a:solidFill>
        </p:spPr>
        <p:txBody>
          <a:bodyPr vert="horz" wrap="square" lIns="88876" tIns="91414" rIns="88876" bIns="91414" rtlCol="0" anchor="t">
            <a:noAutofit/>
          </a:bodyPr>
          <a:lstStyle>
            <a:lvl1pPr algn="l" defTabSz="914378" rtl="0" eaLnBrk="1" latinLnBrk="0" hangingPunct="1">
              <a:lnSpc>
                <a:spcPts val="3137"/>
              </a:lnSpc>
              <a:spcBef>
                <a:spcPct val="0"/>
              </a:spcBef>
              <a:buNone/>
              <a:defRPr lang="en-US" sz="2800" b="0" kern="1200" cap="none" spc="-147" baseline="0">
                <a:ln w="3175">
                  <a:noFill/>
                </a:ln>
                <a:solidFill>
                  <a:schemeClr val="tx1"/>
                </a:solidFill>
                <a:effectLst/>
                <a:latin typeface="+mj-lt"/>
                <a:ea typeface="+mn-ea"/>
                <a:cs typeface="Segoe UI" pitchFamily="34" charset="0"/>
              </a:defRPr>
            </a:lvl1p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rPr>
              <a:t>30-40%</a:t>
            </a:r>
            <a:r>
              <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rPr>
              <a:t> of jobs in growth industries will require soft skills</a:t>
            </a:r>
          </a:p>
          <a:p>
            <a:pPr marL="0" marR="0" lvl="0" indent="0" algn="ctr" defTabSz="89609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endParaRPr>
          </a:p>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rPr>
              <a:t>50% </a:t>
            </a:r>
            <a:r>
              <a:rPr kumimoji="0" lang="en-US" sz="1400" b="0" i="0" u="none" strike="noStrike" kern="1200" cap="none" spc="0" normalizeH="0" baseline="0" noProof="0">
                <a:ln w="3175">
                  <a:noFill/>
                </a:ln>
                <a:solidFill>
                  <a:prstClr val="white"/>
                </a:solidFill>
                <a:effectLst/>
                <a:uLnTx/>
                <a:uFillTx/>
                <a:latin typeface="Segoe UI"/>
                <a:ea typeface="+mn-ea"/>
                <a:cs typeface="Segoe UI Light" charset="0"/>
              </a:rPr>
              <a:t>of students put them among their top priorities </a:t>
            </a:r>
          </a:p>
        </p:txBody>
      </p:sp>
      <p:grpSp>
        <p:nvGrpSpPr>
          <p:cNvPr id="165" name="Group 164">
            <a:extLst>
              <a:ext uri="{FF2B5EF4-FFF2-40B4-BE49-F238E27FC236}">
                <a16:creationId xmlns:a16="http://schemas.microsoft.com/office/drawing/2014/main" id="{9A944113-6CA9-42CB-AFC1-78BB26105E5B}"/>
              </a:ext>
              <a:ext uri="{C183D7F6-B498-43B3-948B-1728B52AA6E4}">
                <adec:decorative xmlns:adec="http://schemas.microsoft.com/office/drawing/2017/decorative" val="1"/>
              </a:ext>
            </a:extLst>
          </p:cNvPr>
          <p:cNvGrpSpPr/>
          <p:nvPr/>
        </p:nvGrpSpPr>
        <p:grpSpPr>
          <a:xfrm>
            <a:off x="2861260" y="3004456"/>
            <a:ext cx="2010501" cy="1309280"/>
            <a:chOff x="6777038" y="1715920"/>
            <a:chExt cx="1633537" cy="1063794"/>
          </a:xfrm>
        </p:grpSpPr>
        <p:grpSp>
          <p:nvGrpSpPr>
            <p:cNvPr id="166" name="Group 165">
              <a:extLst>
                <a:ext uri="{FF2B5EF4-FFF2-40B4-BE49-F238E27FC236}">
                  <a16:creationId xmlns:a16="http://schemas.microsoft.com/office/drawing/2014/main" id="{CA844B22-6DCE-4E6C-B9C4-2F5B2E66604D}"/>
                </a:ext>
              </a:extLst>
            </p:cNvPr>
            <p:cNvGrpSpPr/>
            <p:nvPr/>
          </p:nvGrpSpPr>
          <p:grpSpPr>
            <a:xfrm>
              <a:off x="6777038" y="1715920"/>
              <a:ext cx="995362" cy="1063794"/>
              <a:chOff x="7212013" y="1797050"/>
              <a:chExt cx="919451" cy="982664"/>
            </a:xfrm>
          </p:grpSpPr>
          <p:sp>
            <p:nvSpPr>
              <p:cNvPr id="170" name="Freeform 47">
                <a:extLst>
                  <a:ext uri="{FF2B5EF4-FFF2-40B4-BE49-F238E27FC236}">
                    <a16:creationId xmlns:a16="http://schemas.microsoft.com/office/drawing/2014/main" id="{A40E73B5-C40E-45BA-89F0-B91728EEB0FB}"/>
                  </a:ext>
                </a:extLst>
              </p:cNvPr>
              <p:cNvSpPr>
                <a:spLocks noEditPoints="1"/>
              </p:cNvSpPr>
              <p:nvPr/>
            </p:nvSpPr>
            <p:spPr bwMode="auto">
              <a:xfrm>
                <a:off x="7367170" y="2468250"/>
                <a:ext cx="611435" cy="311464"/>
              </a:xfrm>
              <a:custGeom>
                <a:avLst/>
                <a:gdLst>
                  <a:gd name="T0" fmla="*/ 122 w 391"/>
                  <a:gd name="T1" fmla="*/ 92 h 199"/>
                  <a:gd name="T2" fmla="*/ 71 w 391"/>
                  <a:gd name="T3" fmla="*/ 143 h 199"/>
                  <a:gd name="T4" fmla="*/ 20 w 391"/>
                  <a:gd name="T5" fmla="*/ 92 h 199"/>
                  <a:gd name="T6" fmla="*/ 71 w 391"/>
                  <a:gd name="T7" fmla="*/ 41 h 199"/>
                  <a:gd name="T8" fmla="*/ 122 w 391"/>
                  <a:gd name="T9" fmla="*/ 92 h 199"/>
                  <a:gd name="T10" fmla="*/ 121 w 391"/>
                  <a:gd name="T11" fmla="*/ 163 h 199"/>
                  <a:gd name="T12" fmla="*/ 71 w 391"/>
                  <a:gd name="T13" fmla="*/ 143 h 199"/>
                  <a:gd name="T14" fmla="*/ 0 w 391"/>
                  <a:gd name="T15" fmla="*/ 199 h 199"/>
                  <a:gd name="T16" fmla="*/ 320 w 391"/>
                  <a:gd name="T17" fmla="*/ 41 h 199"/>
                  <a:gd name="T18" fmla="*/ 269 w 391"/>
                  <a:gd name="T19" fmla="*/ 92 h 199"/>
                  <a:gd name="T20" fmla="*/ 320 w 391"/>
                  <a:gd name="T21" fmla="*/ 143 h 199"/>
                  <a:gd name="T22" fmla="*/ 371 w 391"/>
                  <a:gd name="T23" fmla="*/ 92 h 199"/>
                  <a:gd name="T24" fmla="*/ 320 w 391"/>
                  <a:gd name="T25" fmla="*/ 41 h 199"/>
                  <a:gd name="T26" fmla="*/ 391 w 391"/>
                  <a:gd name="T27" fmla="*/ 199 h 199"/>
                  <a:gd name="T28" fmla="*/ 320 w 391"/>
                  <a:gd name="T29" fmla="*/ 143 h 199"/>
                  <a:gd name="T30" fmla="*/ 267 w 391"/>
                  <a:gd name="T31" fmla="*/ 166 h 199"/>
                  <a:gd name="T32" fmla="*/ 193 w 391"/>
                  <a:gd name="T33" fmla="*/ 0 h 199"/>
                  <a:gd name="T34" fmla="*/ 129 w 391"/>
                  <a:gd name="T35" fmla="*/ 64 h 199"/>
                  <a:gd name="T36" fmla="*/ 193 w 391"/>
                  <a:gd name="T37" fmla="*/ 128 h 199"/>
                  <a:gd name="T38" fmla="*/ 257 w 391"/>
                  <a:gd name="T39" fmla="*/ 64 h 199"/>
                  <a:gd name="T40" fmla="*/ 193 w 391"/>
                  <a:gd name="T41" fmla="*/ 0 h 199"/>
                  <a:gd name="T42" fmla="*/ 282 w 391"/>
                  <a:gd name="T43" fmla="*/ 199 h 199"/>
                  <a:gd name="T44" fmla="*/ 193 w 391"/>
                  <a:gd name="T45" fmla="*/ 128 h 199"/>
                  <a:gd name="T46" fmla="*/ 104 w 391"/>
                  <a:gd name="T47"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1" h="199">
                    <a:moveTo>
                      <a:pt x="122" y="92"/>
                    </a:moveTo>
                    <a:cubicBezTo>
                      <a:pt x="122" y="120"/>
                      <a:pt x="99" y="143"/>
                      <a:pt x="71" y="143"/>
                    </a:cubicBezTo>
                    <a:cubicBezTo>
                      <a:pt x="43" y="143"/>
                      <a:pt x="20" y="120"/>
                      <a:pt x="20" y="92"/>
                    </a:cubicBezTo>
                    <a:cubicBezTo>
                      <a:pt x="20" y="64"/>
                      <a:pt x="43" y="41"/>
                      <a:pt x="71" y="41"/>
                    </a:cubicBezTo>
                    <a:cubicBezTo>
                      <a:pt x="99" y="41"/>
                      <a:pt x="122" y="64"/>
                      <a:pt x="122" y="92"/>
                    </a:cubicBezTo>
                    <a:close/>
                    <a:moveTo>
                      <a:pt x="121" y="163"/>
                    </a:moveTo>
                    <a:cubicBezTo>
                      <a:pt x="108" y="151"/>
                      <a:pt x="91" y="143"/>
                      <a:pt x="71" y="143"/>
                    </a:cubicBezTo>
                    <a:cubicBezTo>
                      <a:pt x="37" y="143"/>
                      <a:pt x="8" y="167"/>
                      <a:pt x="0" y="199"/>
                    </a:cubicBezTo>
                    <a:moveTo>
                      <a:pt x="320" y="41"/>
                    </a:moveTo>
                    <a:cubicBezTo>
                      <a:pt x="292" y="41"/>
                      <a:pt x="269" y="64"/>
                      <a:pt x="269" y="92"/>
                    </a:cubicBezTo>
                    <a:cubicBezTo>
                      <a:pt x="269" y="120"/>
                      <a:pt x="292" y="143"/>
                      <a:pt x="320" y="143"/>
                    </a:cubicBezTo>
                    <a:cubicBezTo>
                      <a:pt x="348" y="143"/>
                      <a:pt x="371" y="120"/>
                      <a:pt x="371" y="92"/>
                    </a:cubicBezTo>
                    <a:cubicBezTo>
                      <a:pt x="371" y="64"/>
                      <a:pt x="348" y="41"/>
                      <a:pt x="320" y="41"/>
                    </a:cubicBezTo>
                    <a:close/>
                    <a:moveTo>
                      <a:pt x="391" y="199"/>
                    </a:moveTo>
                    <a:cubicBezTo>
                      <a:pt x="383" y="167"/>
                      <a:pt x="355" y="143"/>
                      <a:pt x="320" y="143"/>
                    </a:cubicBezTo>
                    <a:cubicBezTo>
                      <a:pt x="299" y="143"/>
                      <a:pt x="280" y="152"/>
                      <a:pt x="267" y="166"/>
                    </a:cubicBezTo>
                    <a:moveTo>
                      <a:pt x="193" y="0"/>
                    </a:moveTo>
                    <a:cubicBezTo>
                      <a:pt x="158" y="0"/>
                      <a:pt x="129" y="29"/>
                      <a:pt x="129" y="64"/>
                    </a:cubicBezTo>
                    <a:cubicBezTo>
                      <a:pt x="129" y="100"/>
                      <a:pt x="158" y="128"/>
                      <a:pt x="193" y="128"/>
                    </a:cubicBezTo>
                    <a:cubicBezTo>
                      <a:pt x="229" y="128"/>
                      <a:pt x="257" y="100"/>
                      <a:pt x="257" y="64"/>
                    </a:cubicBezTo>
                    <a:cubicBezTo>
                      <a:pt x="257" y="29"/>
                      <a:pt x="229" y="0"/>
                      <a:pt x="193" y="0"/>
                    </a:cubicBezTo>
                    <a:close/>
                    <a:moveTo>
                      <a:pt x="282" y="199"/>
                    </a:moveTo>
                    <a:cubicBezTo>
                      <a:pt x="273" y="159"/>
                      <a:pt x="237" y="128"/>
                      <a:pt x="193" y="128"/>
                    </a:cubicBezTo>
                    <a:cubicBezTo>
                      <a:pt x="150" y="128"/>
                      <a:pt x="113" y="159"/>
                      <a:pt x="104" y="199"/>
                    </a:cubicBezTo>
                  </a:path>
                </a:pathLst>
              </a:custGeom>
              <a:noFill/>
              <a:ln w="7938"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1" name="Freeform 52">
                <a:extLst>
                  <a:ext uri="{FF2B5EF4-FFF2-40B4-BE49-F238E27FC236}">
                    <a16:creationId xmlns:a16="http://schemas.microsoft.com/office/drawing/2014/main" id="{E53BB116-5603-4A90-860A-A86B1EDF9C3F}"/>
                  </a:ext>
                </a:extLst>
              </p:cNvPr>
              <p:cNvSpPr>
                <a:spLocks noEditPoints="1"/>
              </p:cNvSpPr>
              <p:nvPr/>
            </p:nvSpPr>
            <p:spPr bwMode="auto">
              <a:xfrm>
                <a:off x="7467161" y="2078632"/>
                <a:ext cx="367780" cy="139067"/>
              </a:xfrm>
              <a:custGeom>
                <a:avLst/>
                <a:gdLst>
                  <a:gd name="T0" fmla="*/ 172 w 235"/>
                  <a:gd name="T1" fmla="*/ 15 h 89"/>
                  <a:gd name="T2" fmla="*/ 157 w 235"/>
                  <a:gd name="T3" fmla="*/ 30 h 89"/>
                  <a:gd name="T4" fmla="*/ 142 w 235"/>
                  <a:gd name="T5" fmla="*/ 15 h 89"/>
                  <a:gd name="T6" fmla="*/ 157 w 235"/>
                  <a:gd name="T7" fmla="*/ 0 h 89"/>
                  <a:gd name="T8" fmla="*/ 172 w 235"/>
                  <a:gd name="T9" fmla="*/ 15 h 89"/>
                  <a:gd name="T10" fmla="*/ 110 w 235"/>
                  <a:gd name="T11" fmla="*/ 73 h 89"/>
                  <a:gd name="T12" fmla="*/ 95 w 235"/>
                  <a:gd name="T13" fmla="*/ 88 h 89"/>
                  <a:gd name="T14" fmla="*/ 80 w 235"/>
                  <a:gd name="T15" fmla="*/ 73 h 89"/>
                  <a:gd name="T16" fmla="*/ 95 w 235"/>
                  <a:gd name="T17" fmla="*/ 58 h 89"/>
                  <a:gd name="T18" fmla="*/ 110 w 235"/>
                  <a:gd name="T19" fmla="*/ 73 h 89"/>
                  <a:gd name="T20" fmla="*/ 31 w 235"/>
                  <a:gd name="T21" fmla="*/ 25 h 89"/>
                  <a:gd name="T22" fmla="*/ 15 w 235"/>
                  <a:gd name="T23" fmla="*/ 40 h 89"/>
                  <a:gd name="T24" fmla="*/ 0 w 235"/>
                  <a:gd name="T25" fmla="*/ 25 h 89"/>
                  <a:gd name="T26" fmla="*/ 15 w 235"/>
                  <a:gd name="T27" fmla="*/ 10 h 89"/>
                  <a:gd name="T28" fmla="*/ 31 w 235"/>
                  <a:gd name="T29" fmla="*/ 25 h 89"/>
                  <a:gd name="T30" fmla="*/ 235 w 235"/>
                  <a:gd name="T31" fmla="*/ 58 h 89"/>
                  <a:gd name="T32" fmla="*/ 220 w 235"/>
                  <a:gd name="T33" fmla="*/ 73 h 89"/>
                  <a:gd name="T34" fmla="*/ 205 w 235"/>
                  <a:gd name="T35" fmla="*/ 58 h 89"/>
                  <a:gd name="T36" fmla="*/ 220 w 235"/>
                  <a:gd name="T37" fmla="*/ 43 h 89"/>
                  <a:gd name="T38" fmla="*/ 235 w 235"/>
                  <a:gd name="T39" fmla="*/ 58 h 89"/>
                  <a:gd name="T40" fmla="*/ 29 w 235"/>
                  <a:gd name="T41" fmla="*/ 33 h 89"/>
                  <a:gd name="T42" fmla="*/ 81 w 235"/>
                  <a:gd name="T43" fmla="*/ 68 h 89"/>
                  <a:gd name="T44" fmla="*/ 144 w 235"/>
                  <a:gd name="T45" fmla="*/ 23 h 89"/>
                  <a:gd name="T46" fmla="*/ 107 w 235"/>
                  <a:gd name="T47" fmla="*/ 63 h 89"/>
                  <a:gd name="T48" fmla="*/ 207 w 235"/>
                  <a:gd name="T49" fmla="*/ 50 h 89"/>
                  <a:gd name="T50" fmla="*/ 170 w 235"/>
                  <a:gd name="T51" fmla="*/ 2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5" h="89">
                    <a:moveTo>
                      <a:pt x="172" y="15"/>
                    </a:moveTo>
                    <a:cubicBezTo>
                      <a:pt x="172" y="24"/>
                      <a:pt x="165" y="31"/>
                      <a:pt x="157" y="30"/>
                    </a:cubicBezTo>
                    <a:cubicBezTo>
                      <a:pt x="148" y="30"/>
                      <a:pt x="142" y="23"/>
                      <a:pt x="142" y="15"/>
                    </a:cubicBezTo>
                    <a:cubicBezTo>
                      <a:pt x="142" y="7"/>
                      <a:pt x="148" y="0"/>
                      <a:pt x="157" y="0"/>
                    </a:cubicBezTo>
                    <a:cubicBezTo>
                      <a:pt x="165" y="0"/>
                      <a:pt x="172" y="7"/>
                      <a:pt x="172" y="15"/>
                    </a:cubicBezTo>
                    <a:close/>
                    <a:moveTo>
                      <a:pt x="110" y="73"/>
                    </a:moveTo>
                    <a:cubicBezTo>
                      <a:pt x="110" y="83"/>
                      <a:pt x="103" y="89"/>
                      <a:pt x="95" y="88"/>
                    </a:cubicBezTo>
                    <a:cubicBezTo>
                      <a:pt x="86" y="88"/>
                      <a:pt x="80" y="81"/>
                      <a:pt x="80" y="73"/>
                    </a:cubicBezTo>
                    <a:cubicBezTo>
                      <a:pt x="80" y="65"/>
                      <a:pt x="86" y="58"/>
                      <a:pt x="95" y="58"/>
                    </a:cubicBezTo>
                    <a:cubicBezTo>
                      <a:pt x="103" y="58"/>
                      <a:pt x="110" y="65"/>
                      <a:pt x="110" y="73"/>
                    </a:cubicBezTo>
                    <a:close/>
                    <a:moveTo>
                      <a:pt x="31" y="25"/>
                    </a:moveTo>
                    <a:cubicBezTo>
                      <a:pt x="31" y="34"/>
                      <a:pt x="24" y="41"/>
                      <a:pt x="15" y="40"/>
                    </a:cubicBezTo>
                    <a:cubicBezTo>
                      <a:pt x="7" y="40"/>
                      <a:pt x="0" y="33"/>
                      <a:pt x="0" y="25"/>
                    </a:cubicBezTo>
                    <a:cubicBezTo>
                      <a:pt x="0" y="17"/>
                      <a:pt x="7" y="10"/>
                      <a:pt x="15" y="10"/>
                    </a:cubicBezTo>
                    <a:cubicBezTo>
                      <a:pt x="24" y="10"/>
                      <a:pt x="31" y="17"/>
                      <a:pt x="31" y="25"/>
                    </a:cubicBezTo>
                    <a:close/>
                    <a:moveTo>
                      <a:pt x="235" y="58"/>
                    </a:moveTo>
                    <a:cubicBezTo>
                      <a:pt x="235" y="68"/>
                      <a:pt x="228" y="74"/>
                      <a:pt x="220" y="73"/>
                    </a:cubicBezTo>
                    <a:cubicBezTo>
                      <a:pt x="212" y="73"/>
                      <a:pt x="205" y="66"/>
                      <a:pt x="205" y="58"/>
                    </a:cubicBezTo>
                    <a:cubicBezTo>
                      <a:pt x="205" y="50"/>
                      <a:pt x="212" y="43"/>
                      <a:pt x="220" y="43"/>
                    </a:cubicBezTo>
                    <a:cubicBezTo>
                      <a:pt x="228" y="43"/>
                      <a:pt x="235" y="50"/>
                      <a:pt x="235" y="58"/>
                    </a:cubicBezTo>
                    <a:close/>
                    <a:moveTo>
                      <a:pt x="29" y="33"/>
                    </a:moveTo>
                    <a:cubicBezTo>
                      <a:pt x="81" y="68"/>
                      <a:pt x="81" y="68"/>
                      <a:pt x="81" y="68"/>
                    </a:cubicBezTo>
                    <a:moveTo>
                      <a:pt x="144" y="23"/>
                    </a:moveTo>
                    <a:cubicBezTo>
                      <a:pt x="107" y="63"/>
                      <a:pt x="107" y="63"/>
                      <a:pt x="107" y="63"/>
                    </a:cubicBezTo>
                    <a:moveTo>
                      <a:pt x="207" y="50"/>
                    </a:moveTo>
                    <a:cubicBezTo>
                      <a:pt x="170" y="23"/>
                      <a:pt x="170" y="23"/>
                      <a:pt x="170" y="23"/>
                    </a:cubicBezTo>
                  </a:path>
                </a:pathLst>
              </a:custGeom>
              <a:solidFill>
                <a:srgbClr val="243A5E"/>
              </a:solidFill>
              <a:ln w="7938" cap="sq">
                <a:solidFill>
                  <a:srgbClr val="243A5E"/>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72" name="Group 171">
                <a:extLst>
                  <a:ext uri="{FF2B5EF4-FFF2-40B4-BE49-F238E27FC236}">
                    <a16:creationId xmlns:a16="http://schemas.microsoft.com/office/drawing/2014/main" id="{E93297BA-712D-44C6-B0A5-FC18D2C4E918}"/>
                  </a:ext>
                </a:extLst>
              </p:cNvPr>
              <p:cNvGrpSpPr/>
              <p:nvPr/>
            </p:nvGrpSpPr>
            <p:grpSpPr>
              <a:xfrm>
                <a:off x="7212013" y="1797050"/>
                <a:ext cx="919451" cy="648213"/>
                <a:chOff x="7212013" y="1797050"/>
                <a:chExt cx="919451" cy="648213"/>
              </a:xfrm>
            </p:grpSpPr>
            <p:sp>
              <p:nvSpPr>
                <p:cNvPr id="173" name="Line 48">
                  <a:extLst>
                    <a:ext uri="{FF2B5EF4-FFF2-40B4-BE49-F238E27FC236}">
                      <a16:creationId xmlns:a16="http://schemas.microsoft.com/office/drawing/2014/main" id="{3DCB22AE-7788-4F6C-8817-151DAFD5D1D1}"/>
                    </a:ext>
                  </a:extLst>
                </p:cNvPr>
                <p:cNvSpPr>
                  <a:spLocks noChangeShapeType="1"/>
                </p:cNvSpPr>
                <p:nvPr/>
              </p:nvSpPr>
              <p:spPr bwMode="auto">
                <a:xfrm flipV="1">
                  <a:off x="7670589" y="1934968"/>
                  <a:ext cx="0" cy="174696"/>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4" name="Line 49">
                  <a:extLst>
                    <a:ext uri="{FF2B5EF4-FFF2-40B4-BE49-F238E27FC236}">
                      <a16:creationId xmlns:a16="http://schemas.microsoft.com/office/drawing/2014/main" id="{6FEA0E28-24BD-404A-8EDF-6A59E67A9C33}"/>
                    </a:ext>
                  </a:extLst>
                </p:cNvPr>
                <p:cNvSpPr>
                  <a:spLocks noChangeShapeType="1"/>
                </p:cNvSpPr>
                <p:nvPr/>
              </p:nvSpPr>
              <p:spPr bwMode="auto">
                <a:xfrm flipV="1">
                  <a:off x="7670589" y="2167129"/>
                  <a:ext cx="0" cy="278134"/>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5" name="Line 50">
                  <a:extLst>
                    <a:ext uri="{FF2B5EF4-FFF2-40B4-BE49-F238E27FC236}">
                      <a16:creationId xmlns:a16="http://schemas.microsoft.com/office/drawing/2014/main" id="{60223752-DB42-4F17-BFED-FB2522E63739}"/>
                    </a:ext>
                  </a:extLst>
                </p:cNvPr>
                <p:cNvSpPr>
                  <a:spLocks noChangeShapeType="1"/>
                </p:cNvSpPr>
                <p:nvPr/>
              </p:nvSpPr>
              <p:spPr bwMode="auto">
                <a:xfrm>
                  <a:off x="7505088" y="1934968"/>
                  <a:ext cx="329853" cy="0"/>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176" name="Group 175">
                  <a:extLst>
                    <a:ext uri="{FF2B5EF4-FFF2-40B4-BE49-F238E27FC236}">
                      <a16:creationId xmlns:a16="http://schemas.microsoft.com/office/drawing/2014/main" id="{4C3435D4-2EC7-40DE-AB35-EBD348D68B33}"/>
                    </a:ext>
                  </a:extLst>
                </p:cNvPr>
                <p:cNvGrpSpPr/>
                <p:nvPr/>
              </p:nvGrpSpPr>
              <p:grpSpPr>
                <a:xfrm>
                  <a:off x="7212013" y="1797050"/>
                  <a:ext cx="275835" cy="274686"/>
                  <a:chOff x="7212013" y="1797050"/>
                  <a:chExt cx="275835" cy="274686"/>
                </a:xfrm>
              </p:grpSpPr>
              <p:sp>
                <p:nvSpPr>
                  <p:cNvPr id="178" name="Oval 51">
                    <a:extLst>
                      <a:ext uri="{FF2B5EF4-FFF2-40B4-BE49-F238E27FC236}">
                        <a16:creationId xmlns:a16="http://schemas.microsoft.com/office/drawing/2014/main" id="{943DE828-8BFE-4213-954C-AB2C8919EC15}"/>
                      </a:ext>
                    </a:extLst>
                  </p:cNvPr>
                  <p:cNvSpPr>
                    <a:spLocks noChangeArrowheads="1"/>
                  </p:cNvSpPr>
                  <p:nvPr/>
                </p:nvSpPr>
                <p:spPr bwMode="auto">
                  <a:xfrm>
                    <a:off x="7212013" y="1797050"/>
                    <a:ext cx="275835" cy="274686"/>
                  </a:xfrm>
                  <a:prstGeom prst="ellipse">
                    <a:avLst/>
                  </a:prstGeom>
                  <a:noFill/>
                  <a:ln w="7938"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79" name="Freeform 53">
                    <a:extLst>
                      <a:ext uri="{FF2B5EF4-FFF2-40B4-BE49-F238E27FC236}">
                        <a16:creationId xmlns:a16="http://schemas.microsoft.com/office/drawing/2014/main" id="{CC734A00-91CB-43B0-895A-12887A594A4E}"/>
                      </a:ext>
                    </a:extLst>
                  </p:cNvPr>
                  <p:cNvSpPr>
                    <a:spLocks noEditPoints="1"/>
                  </p:cNvSpPr>
                  <p:nvPr/>
                </p:nvSpPr>
                <p:spPr bwMode="auto">
                  <a:xfrm>
                    <a:off x="7267180" y="1859113"/>
                    <a:ext cx="163203" cy="151710"/>
                  </a:xfrm>
                  <a:custGeom>
                    <a:avLst/>
                    <a:gdLst>
                      <a:gd name="T0" fmla="*/ 36 w 104"/>
                      <a:gd name="T1" fmla="*/ 1 h 97"/>
                      <a:gd name="T2" fmla="*/ 2 w 104"/>
                      <a:gd name="T3" fmla="*/ 33 h 97"/>
                      <a:gd name="T4" fmla="*/ 11 w 104"/>
                      <a:gd name="T5" fmla="*/ 45 h 97"/>
                      <a:gd name="T6" fmla="*/ 3 w 104"/>
                      <a:gd name="T7" fmla="*/ 53 h 97"/>
                      <a:gd name="T8" fmla="*/ 20 w 104"/>
                      <a:gd name="T9" fmla="*/ 47 h 97"/>
                      <a:gd name="T10" fmla="*/ 14 w 104"/>
                      <a:gd name="T11" fmla="*/ 63 h 97"/>
                      <a:gd name="T12" fmla="*/ 3 w 104"/>
                      <a:gd name="T13" fmla="*/ 53 h 97"/>
                      <a:gd name="T14" fmla="*/ 85 w 104"/>
                      <a:gd name="T15" fmla="*/ 67 h 97"/>
                      <a:gd name="T16" fmla="*/ 75 w 104"/>
                      <a:gd name="T17" fmla="*/ 77 h 97"/>
                      <a:gd name="T18" fmla="*/ 69 w 104"/>
                      <a:gd name="T19" fmla="*/ 71 h 97"/>
                      <a:gd name="T20" fmla="*/ 75 w 104"/>
                      <a:gd name="T21" fmla="*/ 87 h 97"/>
                      <a:gd name="T22" fmla="*/ 61 w 104"/>
                      <a:gd name="T23" fmla="*/ 84 h 97"/>
                      <a:gd name="T24" fmla="*/ 51 w 104"/>
                      <a:gd name="T25" fmla="*/ 94 h 97"/>
                      <a:gd name="T26" fmla="*/ 14 w 104"/>
                      <a:gd name="T27" fmla="*/ 63 h 97"/>
                      <a:gd name="T28" fmla="*/ 20 w 104"/>
                      <a:gd name="T29" fmla="*/ 57 h 97"/>
                      <a:gd name="T30" fmla="*/ 30 w 104"/>
                      <a:gd name="T31" fmla="*/ 67 h 97"/>
                      <a:gd name="T32" fmla="*/ 14 w 104"/>
                      <a:gd name="T33" fmla="*/ 73 h 97"/>
                      <a:gd name="T34" fmla="*/ 24 w 104"/>
                      <a:gd name="T35" fmla="*/ 73 h 97"/>
                      <a:gd name="T36" fmla="*/ 30 w 104"/>
                      <a:gd name="T37" fmla="*/ 67 h 97"/>
                      <a:gd name="T38" fmla="*/ 40 w 104"/>
                      <a:gd name="T39" fmla="*/ 78 h 97"/>
                      <a:gd name="T40" fmla="*/ 24 w 104"/>
                      <a:gd name="T41" fmla="*/ 84 h 97"/>
                      <a:gd name="T42" fmla="*/ 34 w 104"/>
                      <a:gd name="T43" fmla="*/ 84 h 97"/>
                      <a:gd name="T44" fmla="*/ 40 w 104"/>
                      <a:gd name="T45" fmla="*/ 78 h 97"/>
                      <a:gd name="T46" fmla="*/ 51 w 104"/>
                      <a:gd name="T47" fmla="*/ 88 h 97"/>
                      <a:gd name="T48" fmla="*/ 34 w 104"/>
                      <a:gd name="T49" fmla="*/ 94 h 97"/>
                      <a:gd name="T50" fmla="*/ 79 w 104"/>
                      <a:gd name="T51" fmla="*/ 60 h 97"/>
                      <a:gd name="T52" fmla="*/ 95 w 104"/>
                      <a:gd name="T53" fmla="*/ 67 h 97"/>
                      <a:gd name="T54" fmla="*/ 61 w 104"/>
                      <a:gd name="T55" fmla="*/ 22 h 97"/>
                      <a:gd name="T56" fmla="*/ 46 w 104"/>
                      <a:gd name="T57" fmla="*/ 31 h 97"/>
                      <a:gd name="T58" fmla="*/ 31 w 104"/>
                      <a:gd name="T59" fmla="*/ 39 h 97"/>
                      <a:gd name="T60" fmla="*/ 30 w 104"/>
                      <a:gd name="T61" fmla="*/ 30 h 97"/>
                      <a:gd name="T62" fmla="*/ 40 w 104"/>
                      <a:gd name="T63" fmla="*/ 10 h 97"/>
                      <a:gd name="T64" fmla="*/ 70 w 104"/>
                      <a:gd name="T65" fmla="*/ 0 h 97"/>
                      <a:gd name="T66" fmla="*/ 104 w 104"/>
                      <a:gd name="T67" fmla="*/ 35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97">
                        <a:moveTo>
                          <a:pt x="44" y="8"/>
                        </a:moveTo>
                        <a:cubicBezTo>
                          <a:pt x="44" y="8"/>
                          <a:pt x="44" y="8"/>
                          <a:pt x="36" y="1"/>
                        </a:cubicBezTo>
                        <a:cubicBezTo>
                          <a:pt x="36" y="0"/>
                          <a:pt x="35" y="0"/>
                          <a:pt x="35" y="1"/>
                        </a:cubicBezTo>
                        <a:cubicBezTo>
                          <a:pt x="35" y="1"/>
                          <a:pt x="35" y="1"/>
                          <a:pt x="2" y="33"/>
                        </a:cubicBezTo>
                        <a:cubicBezTo>
                          <a:pt x="2" y="34"/>
                          <a:pt x="2" y="35"/>
                          <a:pt x="2" y="35"/>
                        </a:cubicBezTo>
                        <a:cubicBezTo>
                          <a:pt x="2" y="35"/>
                          <a:pt x="2" y="35"/>
                          <a:pt x="11" y="45"/>
                        </a:cubicBezTo>
                        <a:moveTo>
                          <a:pt x="3" y="53"/>
                        </a:moveTo>
                        <a:cubicBezTo>
                          <a:pt x="3" y="53"/>
                          <a:pt x="3" y="53"/>
                          <a:pt x="3" y="53"/>
                        </a:cubicBezTo>
                        <a:cubicBezTo>
                          <a:pt x="9" y="47"/>
                          <a:pt x="9" y="47"/>
                          <a:pt x="9" y="47"/>
                        </a:cubicBezTo>
                        <a:cubicBezTo>
                          <a:pt x="12" y="44"/>
                          <a:pt x="17" y="44"/>
                          <a:pt x="20" y="47"/>
                        </a:cubicBezTo>
                        <a:cubicBezTo>
                          <a:pt x="22" y="50"/>
                          <a:pt x="22" y="54"/>
                          <a:pt x="20" y="57"/>
                        </a:cubicBezTo>
                        <a:cubicBezTo>
                          <a:pt x="20" y="57"/>
                          <a:pt x="20" y="57"/>
                          <a:pt x="14" y="63"/>
                        </a:cubicBezTo>
                        <a:cubicBezTo>
                          <a:pt x="11" y="66"/>
                          <a:pt x="6" y="66"/>
                          <a:pt x="3" y="63"/>
                        </a:cubicBezTo>
                        <a:cubicBezTo>
                          <a:pt x="0" y="60"/>
                          <a:pt x="0" y="56"/>
                          <a:pt x="3" y="53"/>
                        </a:cubicBezTo>
                        <a:close/>
                        <a:moveTo>
                          <a:pt x="79" y="60"/>
                        </a:moveTo>
                        <a:cubicBezTo>
                          <a:pt x="79" y="60"/>
                          <a:pt x="79" y="60"/>
                          <a:pt x="85" y="67"/>
                        </a:cubicBezTo>
                        <a:cubicBezTo>
                          <a:pt x="88" y="69"/>
                          <a:pt x="88" y="74"/>
                          <a:pt x="85" y="77"/>
                        </a:cubicBezTo>
                        <a:cubicBezTo>
                          <a:pt x="82" y="80"/>
                          <a:pt x="78" y="80"/>
                          <a:pt x="75" y="77"/>
                        </a:cubicBezTo>
                        <a:cubicBezTo>
                          <a:pt x="75" y="77"/>
                          <a:pt x="75" y="77"/>
                          <a:pt x="69" y="71"/>
                        </a:cubicBezTo>
                        <a:moveTo>
                          <a:pt x="69" y="71"/>
                        </a:moveTo>
                        <a:cubicBezTo>
                          <a:pt x="69" y="71"/>
                          <a:pt x="69" y="71"/>
                          <a:pt x="75" y="77"/>
                        </a:cubicBezTo>
                        <a:cubicBezTo>
                          <a:pt x="78" y="80"/>
                          <a:pt x="78" y="84"/>
                          <a:pt x="75" y="87"/>
                        </a:cubicBezTo>
                        <a:cubicBezTo>
                          <a:pt x="72" y="90"/>
                          <a:pt x="67" y="90"/>
                          <a:pt x="64" y="87"/>
                        </a:cubicBezTo>
                        <a:cubicBezTo>
                          <a:pt x="64" y="87"/>
                          <a:pt x="64" y="87"/>
                          <a:pt x="61" y="84"/>
                        </a:cubicBezTo>
                        <a:cubicBezTo>
                          <a:pt x="64" y="87"/>
                          <a:pt x="64" y="91"/>
                          <a:pt x="61" y="94"/>
                        </a:cubicBezTo>
                        <a:cubicBezTo>
                          <a:pt x="58" y="97"/>
                          <a:pt x="53" y="97"/>
                          <a:pt x="51" y="94"/>
                        </a:cubicBezTo>
                        <a:cubicBezTo>
                          <a:pt x="51" y="94"/>
                          <a:pt x="51" y="94"/>
                          <a:pt x="48" y="91"/>
                        </a:cubicBezTo>
                        <a:moveTo>
                          <a:pt x="14" y="63"/>
                        </a:moveTo>
                        <a:cubicBezTo>
                          <a:pt x="14" y="63"/>
                          <a:pt x="14" y="63"/>
                          <a:pt x="14" y="63"/>
                        </a:cubicBezTo>
                        <a:cubicBezTo>
                          <a:pt x="20" y="57"/>
                          <a:pt x="20" y="57"/>
                          <a:pt x="20" y="57"/>
                        </a:cubicBezTo>
                        <a:cubicBezTo>
                          <a:pt x="22" y="54"/>
                          <a:pt x="27" y="54"/>
                          <a:pt x="30" y="57"/>
                        </a:cubicBezTo>
                        <a:cubicBezTo>
                          <a:pt x="33" y="60"/>
                          <a:pt x="33" y="65"/>
                          <a:pt x="30" y="67"/>
                        </a:cubicBezTo>
                        <a:cubicBezTo>
                          <a:pt x="30" y="67"/>
                          <a:pt x="30" y="67"/>
                          <a:pt x="24" y="73"/>
                        </a:cubicBezTo>
                        <a:cubicBezTo>
                          <a:pt x="21" y="76"/>
                          <a:pt x="16" y="76"/>
                          <a:pt x="14" y="73"/>
                        </a:cubicBezTo>
                        <a:cubicBezTo>
                          <a:pt x="11" y="71"/>
                          <a:pt x="11" y="66"/>
                          <a:pt x="14" y="63"/>
                        </a:cubicBezTo>
                        <a:close/>
                        <a:moveTo>
                          <a:pt x="24" y="73"/>
                        </a:moveTo>
                        <a:cubicBezTo>
                          <a:pt x="24" y="73"/>
                          <a:pt x="24" y="73"/>
                          <a:pt x="24" y="73"/>
                        </a:cubicBezTo>
                        <a:cubicBezTo>
                          <a:pt x="30" y="67"/>
                          <a:pt x="30" y="67"/>
                          <a:pt x="30" y="67"/>
                        </a:cubicBezTo>
                        <a:cubicBezTo>
                          <a:pt x="33" y="65"/>
                          <a:pt x="37" y="65"/>
                          <a:pt x="40" y="67"/>
                        </a:cubicBezTo>
                        <a:cubicBezTo>
                          <a:pt x="43" y="70"/>
                          <a:pt x="43" y="75"/>
                          <a:pt x="40" y="78"/>
                        </a:cubicBezTo>
                        <a:cubicBezTo>
                          <a:pt x="40" y="78"/>
                          <a:pt x="40" y="78"/>
                          <a:pt x="34" y="84"/>
                        </a:cubicBezTo>
                        <a:cubicBezTo>
                          <a:pt x="31" y="87"/>
                          <a:pt x="27" y="87"/>
                          <a:pt x="24" y="84"/>
                        </a:cubicBezTo>
                        <a:cubicBezTo>
                          <a:pt x="21" y="81"/>
                          <a:pt x="21" y="76"/>
                          <a:pt x="24" y="73"/>
                        </a:cubicBezTo>
                        <a:close/>
                        <a:moveTo>
                          <a:pt x="34" y="84"/>
                        </a:moveTo>
                        <a:cubicBezTo>
                          <a:pt x="34" y="84"/>
                          <a:pt x="34" y="84"/>
                          <a:pt x="34" y="84"/>
                        </a:cubicBezTo>
                        <a:cubicBezTo>
                          <a:pt x="40" y="78"/>
                          <a:pt x="40" y="78"/>
                          <a:pt x="40" y="78"/>
                        </a:cubicBezTo>
                        <a:cubicBezTo>
                          <a:pt x="43" y="75"/>
                          <a:pt x="48" y="75"/>
                          <a:pt x="51" y="78"/>
                        </a:cubicBezTo>
                        <a:cubicBezTo>
                          <a:pt x="53" y="81"/>
                          <a:pt x="53" y="85"/>
                          <a:pt x="51" y="88"/>
                        </a:cubicBezTo>
                        <a:cubicBezTo>
                          <a:pt x="51" y="88"/>
                          <a:pt x="51" y="88"/>
                          <a:pt x="45" y="94"/>
                        </a:cubicBezTo>
                        <a:cubicBezTo>
                          <a:pt x="42" y="97"/>
                          <a:pt x="37" y="97"/>
                          <a:pt x="34" y="94"/>
                        </a:cubicBezTo>
                        <a:cubicBezTo>
                          <a:pt x="31" y="91"/>
                          <a:pt x="31" y="87"/>
                          <a:pt x="34" y="84"/>
                        </a:cubicBezTo>
                        <a:close/>
                        <a:moveTo>
                          <a:pt x="79" y="60"/>
                        </a:moveTo>
                        <a:cubicBezTo>
                          <a:pt x="79" y="60"/>
                          <a:pt x="79" y="60"/>
                          <a:pt x="85" y="66"/>
                        </a:cubicBezTo>
                        <a:cubicBezTo>
                          <a:pt x="88" y="69"/>
                          <a:pt x="92" y="69"/>
                          <a:pt x="95" y="67"/>
                        </a:cubicBezTo>
                        <a:cubicBezTo>
                          <a:pt x="98" y="64"/>
                          <a:pt x="98" y="59"/>
                          <a:pt x="95" y="56"/>
                        </a:cubicBezTo>
                        <a:cubicBezTo>
                          <a:pt x="95" y="56"/>
                          <a:pt x="95" y="56"/>
                          <a:pt x="61" y="22"/>
                        </a:cubicBezTo>
                        <a:cubicBezTo>
                          <a:pt x="60" y="21"/>
                          <a:pt x="58" y="20"/>
                          <a:pt x="56" y="20"/>
                        </a:cubicBezTo>
                        <a:cubicBezTo>
                          <a:pt x="50" y="20"/>
                          <a:pt x="46" y="25"/>
                          <a:pt x="46" y="31"/>
                        </a:cubicBezTo>
                        <a:cubicBezTo>
                          <a:pt x="46" y="36"/>
                          <a:pt x="41" y="41"/>
                          <a:pt x="36" y="41"/>
                        </a:cubicBezTo>
                        <a:cubicBezTo>
                          <a:pt x="34" y="41"/>
                          <a:pt x="32" y="40"/>
                          <a:pt x="31" y="39"/>
                        </a:cubicBezTo>
                        <a:cubicBezTo>
                          <a:pt x="29" y="38"/>
                          <a:pt x="29" y="36"/>
                          <a:pt x="29" y="34"/>
                        </a:cubicBezTo>
                        <a:cubicBezTo>
                          <a:pt x="29" y="33"/>
                          <a:pt x="29" y="31"/>
                          <a:pt x="30" y="30"/>
                        </a:cubicBezTo>
                        <a:cubicBezTo>
                          <a:pt x="30" y="30"/>
                          <a:pt x="30" y="30"/>
                          <a:pt x="39" y="10"/>
                        </a:cubicBezTo>
                        <a:cubicBezTo>
                          <a:pt x="39" y="10"/>
                          <a:pt x="40" y="10"/>
                          <a:pt x="40" y="10"/>
                        </a:cubicBezTo>
                        <a:cubicBezTo>
                          <a:pt x="40" y="10"/>
                          <a:pt x="40" y="10"/>
                          <a:pt x="70" y="0"/>
                        </a:cubicBezTo>
                        <a:cubicBezTo>
                          <a:pt x="70" y="0"/>
                          <a:pt x="70" y="0"/>
                          <a:pt x="70" y="0"/>
                        </a:cubicBezTo>
                        <a:cubicBezTo>
                          <a:pt x="70" y="0"/>
                          <a:pt x="70" y="0"/>
                          <a:pt x="104" y="33"/>
                        </a:cubicBezTo>
                        <a:cubicBezTo>
                          <a:pt x="104" y="34"/>
                          <a:pt x="104" y="35"/>
                          <a:pt x="104" y="35"/>
                        </a:cubicBezTo>
                        <a:cubicBezTo>
                          <a:pt x="104" y="35"/>
                          <a:pt x="104" y="35"/>
                          <a:pt x="89" y="50"/>
                        </a:cubicBezTo>
                      </a:path>
                    </a:pathLst>
                  </a:custGeom>
                  <a:noFill/>
                  <a:ln w="7938"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177" name="Freeform 54">
                  <a:extLst>
                    <a:ext uri="{FF2B5EF4-FFF2-40B4-BE49-F238E27FC236}">
                      <a16:creationId xmlns:a16="http://schemas.microsoft.com/office/drawing/2014/main" id="{AC003237-B8C7-4387-82D9-E3439E608192}"/>
                    </a:ext>
                  </a:extLst>
                </p:cNvPr>
                <p:cNvSpPr>
                  <a:spLocks noEditPoints="1"/>
                </p:cNvSpPr>
                <p:nvPr/>
              </p:nvSpPr>
              <p:spPr bwMode="auto">
                <a:xfrm>
                  <a:off x="7856778" y="1797050"/>
                  <a:ext cx="274686" cy="274686"/>
                </a:xfrm>
                <a:custGeom>
                  <a:avLst/>
                  <a:gdLst>
                    <a:gd name="T0" fmla="*/ 88 w 176"/>
                    <a:gd name="T1" fmla="*/ 0 h 176"/>
                    <a:gd name="T2" fmla="*/ 0 w 176"/>
                    <a:gd name="T3" fmla="*/ 88 h 176"/>
                    <a:gd name="T4" fmla="*/ 88 w 176"/>
                    <a:gd name="T5" fmla="*/ 176 h 176"/>
                    <a:gd name="T6" fmla="*/ 176 w 176"/>
                    <a:gd name="T7" fmla="*/ 88 h 176"/>
                    <a:gd name="T8" fmla="*/ 88 w 176"/>
                    <a:gd name="T9" fmla="*/ 0 h 176"/>
                    <a:gd name="T10" fmla="*/ 138 w 176"/>
                    <a:gd name="T11" fmla="*/ 89 h 176"/>
                    <a:gd name="T12" fmla="*/ 136 w 176"/>
                    <a:gd name="T13" fmla="*/ 51 h 176"/>
                    <a:gd name="T14" fmla="*/ 136 w 176"/>
                    <a:gd name="T15" fmla="*/ 51 h 176"/>
                    <a:gd name="T16" fmla="*/ 96 w 176"/>
                    <a:gd name="T17" fmla="*/ 51 h 176"/>
                    <a:gd name="T18" fmla="*/ 88 w 176"/>
                    <a:gd name="T19" fmla="*/ 60 h 176"/>
                    <a:gd name="T20" fmla="*/ 79 w 176"/>
                    <a:gd name="T21" fmla="*/ 51 h 176"/>
                    <a:gd name="T22" fmla="*/ 39 w 176"/>
                    <a:gd name="T23" fmla="*/ 51 h 176"/>
                    <a:gd name="T24" fmla="*/ 39 w 176"/>
                    <a:gd name="T25" fmla="*/ 51 h 176"/>
                    <a:gd name="T26" fmla="*/ 39 w 176"/>
                    <a:gd name="T27" fmla="*/ 91 h 176"/>
                    <a:gd name="T28" fmla="*/ 88 w 176"/>
                    <a:gd name="T29" fmla="*/ 140 h 176"/>
                    <a:gd name="T30" fmla="*/ 107 w 176"/>
                    <a:gd name="T31" fmla="*/ 120 h 176"/>
                    <a:gd name="T32" fmla="*/ 122 w 176"/>
                    <a:gd name="T33" fmla="*/ 90 h 176"/>
                    <a:gd name="T34" fmla="*/ 118 w 176"/>
                    <a:gd name="T35" fmla="*/ 94 h 176"/>
                    <a:gd name="T36" fmla="*/ 114 w 176"/>
                    <a:gd name="T37" fmla="*/ 90 h 176"/>
                    <a:gd name="T38" fmla="*/ 96 w 176"/>
                    <a:gd name="T39" fmla="*/ 90 h 176"/>
                    <a:gd name="T40" fmla="*/ 96 w 176"/>
                    <a:gd name="T41" fmla="*/ 90 h 176"/>
                    <a:gd name="T42" fmla="*/ 96 w 176"/>
                    <a:gd name="T43" fmla="*/ 109 h 176"/>
                    <a:gd name="T44" fmla="*/ 118 w 176"/>
                    <a:gd name="T45" fmla="*/ 131 h 176"/>
                    <a:gd name="T46" fmla="*/ 140 w 176"/>
                    <a:gd name="T47" fmla="*/ 109 h 176"/>
                    <a:gd name="T48" fmla="*/ 140 w 176"/>
                    <a:gd name="T49" fmla="*/ 90 h 176"/>
                    <a:gd name="T50" fmla="*/ 140 w 176"/>
                    <a:gd name="T51" fmla="*/ 90 h 176"/>
                    <a:gd name="T52" fmla="*/ 122 w 176"/>
                    <a:gd name="T53" fmla="*/ 9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6" h="176">
                      <a:moveTo>
                        <a:pt x="88" y="0"/>
                      </a:moveTo>
                      <a:cubicBezTo>
                        <a:pt x="39" y="0"/>
                        <a:pt x="0" y="39"/>
                        <a:pt x="0" y="88"/>
                      </a:cubicBezTo>
                      <a:cubicBezTo>
                        <a:pt x="0" y="137"/>
                        <a:pt x="39" y="176"/>
                        <a:pt x="88" y="176"/>
                      </a:cubicBezTo>
                      <a:cubicBezTo>
                        <a:pt x="136" y="176"/>
                        <a:pt x="176" y="137"/>
                        <a:pt x="176" y="88"/>
                      </a:cubicBezTo>
                      <a:cubicBezTo>
                        <a:pt x="176" y="39"/>
                        <a:pt x="136" y="0"/>
                        <a:pt x="88" y="0"/>
                      </a:cubicBezTo>
                      <a:close/>
                      <a:moveTo>
                        <a:pt x="138" y="89"/>
                      </a:moveTo>
                      <a:cubicBezTo>
                        <a:pt x="147" y="78"/>
                        <a:pt x="146" y="62"/>
                        <a:pt x="136" y="51"/>
                      </a:cubicBezTo>
                      <a:cubicBezTo>
                        <a:pt x="136" y="51"/>
                        <a:pt x="136" y="51"/>
                        <a:pt x="136" y="51"/>
                      </a:cubicBezTo>
                      <a:cubicBezTo>
                        <a:pt x="125" y="40"/>
                        <a:pt x="107" y="40"/>
                        <a:pt x="96" y="51"/>
                      </a:cubicBezTo>
                      <a:cubicBezTo>
                        <a:pt x="88" y="60"/>
                        <a:pt x="88" y="60"/>
                        <a:pt x="88" y="60"/>
                      </a:cubicBezTo>
                      <a:cubicBezTo>
                        <a:pt x="79" y="51"/>
                        <a:pt x="79" y="51"/>
                        <a:pt x="79" y="51"/>
                      </a:cubicBezTo>
                      <a:cubicBezTo>
                        <a:pt x="68" y="40"/>
                        <a:pt x="50" y="40"/>
                        <a:pt x="39" y="51"/>
                      </a:cubicBezTo>
                      <a:cubicBezTo>
                        <a:pt x="39" y="51"/>
                        <a:pt x="39" y="51"/>
                        <a:pt x="39" y="51"/>
                      </a:cubicBezTo>
                      <a:cubicBezTo>
                        <a:pt x="28" y="62"/>
                        <a:pt x="28" y="80"/>
                        <a:pt x="39" y="91"/>
                      </a:cubicBezTo>
                      <a:cubicBezTo>
                        <a:pt x="88" y="140"/>
                        <a:pt x="88" y="140"/>
                        <a:pt x="88" y="140"/>
                      </a:cubicBezTo>
                      <a:cubicBezTo>
                        <a:pt x="107" y="120"/>
                        <a:pt x="107" y="120"/>
                        <a:pt x="107" y="120"/>
                      </a:cubicBezTo>
                      <a:moveTo>
                        <a:pt x="122" y="90"/>
                      </a:moveTo>
                      <a:cubicBezTo>
                        <a:pt x="118" y="94"/>
                        <a:pt x="118" y="94"/>
                        <a:pt x="118" y="94"/>
                      </a:cubicBezTo>
                      <a:cubicBezTo>
                        <a:pt x="114" y="90"/>
                        <a:pt x="114" y="90"/>
                        <a:pt x="114" y="90"/>
                      </a:cubicBezTo>
                      <a:cubicBezTo>
                        <a:pt x="109" y="85"/>
                        <a:pt x="101" y="85"/>
                        <a:pt x="96" y="90"/>
                      </a:cubicBezTo>
                      <a:cubicBezTo>
                        <a:pt x="96" y="90"/>
                        <a:pt x="96" y="90"/>
                        <a:pt x="96" y="90"/>
                      </a:cubicBezTo>
                      <a:cubicBezTo>
                        <a:pt x="91" y="95"/>
                        <a:pt x="91" y="104"/>
                        <a:pt x="96" y="109"/>
                      </a:cubicBezTo>
                      <a:cubicBezTo>
                        <a:pt x="118" y="131"/>
                        <a:pt x="118" y="131"/>
                        <a:pt x="118" y="131"/>
                      </a:cubicBezTo>
                      <a:cubicBezTo>
                        <a:pt x="140" y="109"/>
                        <a:pt x="140" y="109"/>
                        <a:pt x="140" y="109"/>
                      </a:cubicBezTo>
                      <a:cubicBezTo>
                        <a:pt x="145" y="104"/>
                        <a:pt x="145" y="95"/>
                        <a:pt x="140" y="90"/>
                      </a:cubicBezTo>
                      <a:cubicBezTo>
                        <a:pt x="140" y="90"/>
                        <a:pt x="140" y="90"/>
                        <a:pt x="140" y="90"/>
                      </a:cubicBezTo>
                      <a:cubicBezTo>
                        <a:pt x="135" y="85"/>
                        <a:pt x="127" y="85"/>
                        <a:pt x="122" y="90"/>
                      </a:cubicBezTo>
                      <a:close/>
                    </a:path>
                  </a:pathLst>
                </a:custGeom>
                <a:noFill/>
                <a:ln w="7938"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grpSp>
          <p:nvGrpSpPr>
            <p:cNvPr id="167" name="Group 166">
              <a:extLst>
                <a:ext uri="{FF2B5EF4-FFF2-40B4-BE49-F238E27FC236}">
                  <a16:creationId xmlns:a16="http://schemas.microsoft.com/office/drawing/2014/main" id="{05287E09-6F45-424B-AC4A-22B2A6A7BFDF}"/>
                </a:ext>
              </a:extLst>
            </p:cNvPr>
            <p:cNvGrpSpPr/>
            <p:nvPr/>
          </p:nvGrpSpPr>
          <p:grpSpPr>
            <a:xfrm>
              <a:off x="7531726" y="2092229"/>
              <a:ext cx="878849" cy="391761"/>
              <a:chOff x="7334876" y="229774"/>
              <a:chExt cx="878849" cy="391761"/>
            </a:xfrm>
          </p:grpSpPr>
          <p:sp>
            <p:nvSpPr>
              <p:cNvPr id="168" name="Text Placeholder 3">
                <a:extLst>
                  <a:ext uri="{FF2B5EF4-FFF2-40B4-BE49-F238E27FC236}">
                    <a16:creationId xmlns:a16="http://schemas.microsoft.com/office/drawing/2014/main" id="{F7B50C18-E212-470A-B778-5635DCD7991B}"/>
                  </a:ext>
                </a:extLst>
              </p:cNvPr>
              <p:cNvSpPr txBox="1">
                <a:spLocks/>
              </p:cNvSpPr>
              <p:nvPr/>
            </p:nvSpPr>
            <p:spPr>
              <a:xfrm>
                <a:off x="7357895" y="509004"/>
                <a:ext cx="855830" cy="112531"/>
              </a:xfrm>
              <a:prstGeom prst="rect">
                <a:avLst/>
              </a:prstGeom>
              <a:ln>
                <a:noFill/>
              </a:ln>
            </p:spPr>
            <p:txBody>
              <a:bodyPr vert="horz" wrap="square" lIns="0" tIns="0" rIns="0" bIns="0" rtlCol="0" anchor="t">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1" i="0" u="none" strike="noStrike" kern="1200" cap="none" spc="0" normalizeH="0" baseline="0" noProof="0">
                    <a:ln>
                      <a:noFill/>
                    </a:ln>
                    <a:solidFill>
                      <a:srgbClr val="002050"/>
                    </a:solidFill>
                    <a:effectLst/>
                    <a:uLnTx/>
                    <a:uFillTx/>
                    <a:latin typeface="Segoe UI Semibold"/>
                    <a:ea typeface="Segoe UI Semibold" charset="0"/>
                    <a:cs typeface="Segoe UI Semibold" charset="0"/>
                  </a:rPr>
                  <a:t>require soft skills</a:t>
                </a:r>
                <a:endParaRPr kumimoji="0" lang="en-US" sz="800" b="1" i="0" u="none" strike="noStrike" kern="1200" cap="none" spc="0" normalizeH="0" baseline="0" noProof="0">
                  <a:ln>
                    <a:noFill/>
                  </a:ln>
                  <a:solidFill>
                    <a:srgbClr val="002050"/>
                  </a:solidFill>
                  <a:effectLst/>
                  <a:uLnTx/>
                  <a:uFillTx/>
                  <a:latin typeface="Segoe UI"/>
                  <a:ea typeface="Segoe UI Semibold" charset="0"/>
                  <a:cs typeface="Segoe UI Semibold" charset="0"/>
                </a:endParaRPr>
              </a:p>
            </p:txBody>
          </p:sp>
          <p:sp>
            <p:nvSpPr>
              <p:cNvPr id="169" name="Text Placeholder 3">
                <a:extLst>
                  <a:ext uri="{FF2B5EF4-FFF2-40B4-BE49-F238E27FC236}">
                    <a16:creationId xmlns:a16="http://schemas.microsoft.com/office/drawing/2014/main" id="{F21EC458-8487-4244-B3E3-E9A7F51E6E98}"/>
                  </a:ext>
                </a:extLst>
              </p:cNvPr>
              <p:cNvSpPr txBox="1">
                <a:spLocks/>
              </p:cNvSpPr>
              <p:nvPr/>
            </p:nvSpPr>
            <p:spPr>
              <a:xfrm>
                <a:off x="7334876" y="229774"/>
                <a:ext cx="758463" cy="214100"/>
              </a:xfrm>
              <a:prstGeom prst="rect">
                <a:avLst/>
              </a:prstGeom>
              <a:ln>
                <a:noFill/>
              </a:ln>
            </p:spPr>
            <p:txBody>
              <a:bodyPr vert="horz" wrap="square" lIns="0" tIns="0" rIns="0" bIns="0" rtlCol="0" anchor="ctr">
                <a:no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243A5E"/>
                    </a:solidFill>
                    <a:effectLst/>
                    <a:uLnTx/>
                    <a:uFillTx/>
                    <a:latin typeface="Segoe UI"/>
                    <a:ea typeface="Segoe UI Semibold" charset="0"/>
                    <a:cs typeface="Segoe UI Semibold" charset="0"/>
                  </a:rPr>
                  <a:t>30-40%</a:t>
                </a:r>
              </a:p>
            </p:txBody>
          </p:sp>
        </p:grpSp>
      </p:grpSp>
      <p:sp>
        <p:nvSpPr>
          <p:cNvPr id="142" name="Title 2">
            <a:extLst>
              <a:ext uri="{FF2B5EF4-FFF2-40B4-BE49-F238E27FC236}">
                <a16:creationId xmlns:a16="http://schemas.microsoft.com/office/drawing/2014/main" id="{E310BCD7-F816-4344-B7FB-2920F0961D48}"/>
              </a:ext>
            </a:extLst>
          </p:cNvPr>
          <p:cNvSpPr txBox="1">
            <a:spLocks/>
          </p:cNvSpPr>
          <p:nvPr/>
        </p:nvSpPr>
        <p:spPr>
          <a:xfrm>
            <a:off x="208578" y="4713725"/>
            <a:ext cx="2285675" cy="1469569"/>
          </a:xfrm>
          <a:prstGeom prst="rect">
            <a:avLst/>
          </a:prstGeom>
          <a:solidFill>
            <a:srgbClr val="243A5E"/>
          </a:solidFill>
        </p:spPr>
        <p:txBody>
          <a:bodyPr vert="horz" wrap="square" lIns="88876" tIns="91414" rIns="88876" bIns="91414" rtlCol="0" anchor="t">
            <a:noAutofit/>
          </a:bodyPr>
          <a:lstStyle>
            <a:lvl1pPr algn="l" defTabSz="914378" rtl="0" eaLnBrk="1" latinLnBrk="0" hangingPunct="1">
              <a:lnSpc>
                <a:spcPts val="3137"/>
              </a:lnSpc>
              <a:spcBef>
                <a:spcPct val="0"/>
              </a:spcBef>
              <a:buNone/>
              <a:defRPr lang="en-US" sz="2800" b="0" kern="1200" cap="none" spc="-147" baseline="0">
                <a:ln w="3175">
                  <a:noFill/>
                </a:ln>
                <a:solidFill>
                  <a:schemeClr val="tx1"/>
                </a:solidFill>
                <a:effectLst/>
                <a:latin typeface="+mj-lt"/>
                <a:ea typeface="+mn-ea"/>
                <a:cs typeface="Segoe UI" pitchFamily="34" charset="0"/>
              </a:defRPr>
            </a:lvl1p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rPr>
              <a:t>Only 42% of employers </a:t>
            </a:r>
            <a:r>
              <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rPr>
              <a:t>believe new graduates are adequately prepared for the workforce</a:t>
            </a:r>
          </a:p>
        </p:txBody>
      </p:sp>
      <p:sp>
        <p:nvSpPr>
          <p:cNvPr id="185" name="Freeform 60">
            <a:extLst>
              <a:ext uri="{FF2B5EF4-FFF2-40B4-BE49-F238E27FC236}">
                <a16:creationId xmlns:a16="http://schemas.microsoft.com/office/drawing/2014/main" id="{062BF8BC-C65D-4026-A2C7-15E486052B84}"/>
              </a:ext>
              <a:ext uri="{C183D7F6-B498-43B3-948B-1728B52AA6E4}">
                <adec:decorative xmlns:adec="http://schemas.microsoft.com/office/drawing/2017/decorative" val="1"/>
              </a:ext>
            </a:extLst>
          </p:cNvPr>
          <p:cNvSpPr>
            <a:spLocks noEditPoints="1"/>
          </p:cNvSpPr>
          <p:nvPr/>
        </p:nvSpPr>
        <p:spPr bwMode="auto">
          <a:xfrm>
            <a:off x="504599" y="2926367"/>
            <a:ext cx="480260" cy="304762"/>
          </a:xfrm>
          <a:custGeom>
            <a:avLst/>
            <a:gdLst>
              <a:gd name="T0" fmla="*/ 216 w 249"/>
              <a:gd name="T1" fmla="*/ 117 h 166"/>
              <a:gd name="T2" fmla="*/ 33 w 249"/>
              <a:gd name="T3" fmla="*/ 117 h 166"/>
              <a:gd name="T4" fmla="*/ 33 w 249"/>
              <a:gd name="T5" fmla="*/ 0 h 166"/>
              <a:gd name="T6" fmla="*/ 216 w 249"/>
              <a:gd name="T7" fmla="*/ 0 h 166"/>
              <a:gd name="T8" fmla="*/ 216 w 249"/>
              <a:gd name="T9" fmla="*/ 117 h 166"/>
              <a:gd name="T10" fmla="*/ 216 w 249"/>
              <a:gd name="T11" fmla="*/ 117 h 166"/>
              <a:gd name="T12" fmla="*/ 216 w 249"/>
              <a:gd name="T13" fmla="*/ 117 h 166"/>
              <a:gd name="T14" fmla="*/ 216 w 249"/>
              <a:gd name="T15" fmla="*/ 117 h 166"/>
              <a:gd name="T16" fmla="*/ 0 w 249"/>
              <a:gd name="T17" fmla="*/ 158 h 166"/>
              <a:gd name="T18" fmla="*/ 8 w 249"/>
              <a:gd name="T19" fmla="*/ 166 h 166"/>
              <a:gd name="T20" fmla="*/ 241 w 249"/>
              <a:gd name="T21" fmla="*/ 166 h 166"/>
              <a:gd name="T22" fmla="*/ 249 w 249"/>
              <a:gd name="T23" fmla="*/ 158 h 166"/>
              <a:gd name="T24" fmla="*/ 245 w 249"/>
              <a:gd name="T25" fmla="*/ 145 h 166"/>
              <a:gd name="T26" fmla="*/ 216 w 249"/>
              <a:gd name="T27" fmla="*/ 116 h 166"/>
              <a:gd name="T28" fmla="*/ 33 w 249"/>
              <a:gd name="T29" fmla="*/ 116 h 166"/>
              <a:gd name="T30" fmla="*/ 4 w 249"/>
              <a:gd name="T31" fmla="*/ 145 h 166"/>
              <a:gd name="T32" fmla="*/ 0 w 249"/>
              <a:gd name="T33" fmla="*/ 158 h 166"/>
              <a:gd name="T34" fmla="*/ 0 w 249"/>
              <a:gd name="T35" fmla="*/ 158 h 166"/>
              <a:gd name="T36" fmla="*/ 0 w 249"/>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166">
                <a:moveTo>
                  <a:pt x="216" y="117"/>
                </a:moveTo>
                <a:cubicBezTo>
                  <a:pt x="33" y="117"/>
                  <a:pt x="33" y="117"/>
                  <a:pt x="33" y="117"/>
                </a:cubicBezTo>
                <a:cubicBezTo>
                  <a:pt x="33" y="0"/>
                  <a:pt x="33" y="0"/>
                  <a:pt x="33" y="0"/>
                </a:cubicBezTo>
                <a:cubicBezTo>
                  <a:pt x="216" y="0"/>
                  <a:pt x="216" y="0"/>
                  <a:pt x="216" y="0"/>
                </a:cubicBezTo>
                <a:cubicBezTo>
                  <a:pt x="216" y="117"/>
                  <a:pt x="216" y="117"/>
                  <a:pt x="216" y="117"/>
                </a:cubicBezTo>
                <a:cubicBezTo>
                  <a:pt x="216" y="117"/>
                  <a:pt x="216" y="117"/>
                  <a:pt x="216" y="117"/>
                </a:cubicBezTo>
                <a:cubicBezTo>
                  <a:pt x="216" y="117"/>
                  <a:pt x="216" y="117"/>
                  <a:pt x="216" y="117"/>
                </a:cubicBezTo>
                <a:cubicBezTo>
                  <a:pt x="216" y="117"/>
                  <a:pt x="216" y="117"/>
                  <a:pt x="216" y="117"/>
                </a:cubicBezTo>
                <a:close/>
                <a:moveTo>
                  <a:pt x="0" y="158"/>
                </a:moveTo>
                <a:cubicBezTo>
                  <a:pt x="0" y="162"/>
                  <a:pt x="4" y="166"/>
                  <a:pt x="8" y="166"/>
                </a:cubicBezTo>
                <a:cubicBezTo>
                  <a:pt x="241" y="166"/>
                  <a:pt x="241" y="166"/>
                  <a:pt x="241" y="166"/>
                </a:cubicBezTo>
                <a:cubicBezTo>
                  <a:pt x="245" y="166"/>
                  <a:pt x="249" y="162"/>
                  <a:pt x="249" y="158"/>
                </a:cubicBezTo>
                <a:cubicBezTo>
                  <a:pt x="249" y="153"/>
                  <a:pt x="247" y="148"/>
                  <a:pt x="245" y="145"/>
                </a:cubicBezTo>
                <a:cubicBezTo>
                  <a:pt x="216" y="116"/>
                  <a:pt x="216" y="116"/>
                  <a:pt x="216" y="116"/>
                </a:cubicBezTo>
                <a:cubicBezTo>
                  <a:pt x="33" y="116"/>
                  <a:pt x="33" y="116"/>
                  <a:pt x="33" y="116"/>
                </a:cubicBezTo>
                <a:cubicBezTo>
                  <a:pt x="4" y="145"/>
                  <a:pt x="4" y="145"/>
                  <a:pt x="4" y="145"/>
                </a:cubicBezTo>
                <a:cubicBezTo>
                  <a:pt x="1" y="148"/>
                  <a:pt x="0" y="153"/>
                  <a:pt x="0" y="158"/>
                </a:cubicBezTo>
                <a:cubicBezTo>
                  <a:pt x="0" y="158"/>
                  <a:pt x="0" y="158"/>
                  <a:pt x="0" y="158"/>
                </a:cubicBezTo>
                <a:cubicBezTo>
                  <a:pt x="0" y="158"/>
                  <a:pt x="0" y="158"/>
                  <a:pt x="0" y="158"/>
                </a:cubicBezTo>
                <a:close/>
              </a:path>
            </a:pathLst>
          </a:custGeom>
          <a:solidFill>
            <a:srgbClr val="243A5E"/>
          </a:solidFill>
          <a:ln w="3175" cap="sq">
            <a:solidFill>
              <a:schemeClr val="bg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6" name="Freeform 62">
            <a:extLst>
              <a:ext uri="{FF2B5EF4-FFF2-40B4-BE49-F238E27FC236}">
                <a16:creationId xmlns:a16="http://schemas.microsoft.com/office/drawing/2014/main" id="{F46E4D0F-1516-4D5F-AC2D-079B586B32E7}"/>
              </a:ext>
              <a:ext uri="{C183D7F6-B498-43B3-948B-1728B52AA6E4}">
                <adec:decorative xmlns:adec="http://schemas.microsoft.com/office/drawing/2017/decorative" val="1"/>
              </a:ext>
            </a:extLst>
          </p:cNvPr>
          <p:cNvSpPr>
            <a:spLocks noEditPoints="1"/>
          </p:cNvSpPr>
          <p:nvPr/>
        </p:nvSpPr>
        <p:spPr bwMode="auto">
          <a:xfrm>
            <a:off x="1068383" y="2926367"/>
            <a:ext cx="483741" cy="304762"/>
          </a:xfrm>
          <a:custGeom>
            <a:avLst/>
            <a:gdLst>
              <a:gd name="T0" fmla="*/ 216 w 249"/>
              <a:gd name="T1" fmla="*/ 117 h 166"/>
              <a:gd name="T2" fmla="*/ 33 w 249"/>
              <a:gd name="T3" fmla="*/ 117 h 166"/>
              <a:gd name="T4" fmla="*/ 33 w 249"/>
              <a:gd name="T5" fmla="*/ 0 h 166"/>
              <a:gd name="T6" fmla="*/ 216 w 249"/>
              <a:gd name="T7" fmla="*/ 0 h 166"/>
              <a:gd name="T8" fmla="*/ 216 w 249"/>
              <a:gd name="T9" fmla="*/ 117 h 166"/>
              <a:gd name="T10" fmla="*/ 216 w 249"/>
              <a:gd name="T11" fmla="*/ 117 h 166"/>
              <a:gd name="T12" fmla="*/ 216 w 249"/>
              <a:gd name="T13" fmla="*/ 117 h 166"/>
              <a:gd name="T14" fmla="*/ 216 w 249"/>
              <a:gd name="T15" fmla="*/ 117 h 166"/>
              <a:gd name="T16" fmla="*/ 0 w 249"/>
              <a:gd name="T17" fmla="*/ 158 h 166"/>
              <a:gd name="T18" fmla="*/ 8 w 249"/>
              <a:gd name="T19" fmla="*/ 166 h 166"/>
              <a:gd name="T20" fmla="*/ 241 w 249"/>
              <a:gd name="T21" fmla="*/ 166 h 166"/>
              <a:gd name="T22" fmla="*/ 249 w 249"/>
              <a:gd name="T23" fmla="*/ 158 h 166"/>
              <a:gd name="T24" fmla="*/ 245 w 249"/>
              <a:gd name="T25" fmla="*/ 145 h 166"/>
              <a:gd name="T26" fmla="*/ 216 w 249"/>
              <a:gd name="T27" fmla="*/ 116 h 166"/>
              <a:gd name="T28" fmla="*/ 33 w 249"/>
              <a:gd name="T29" fmla="*/ 116 h 166"/>
              <a:gd name="T30" fmla="*/ 4 w 249"/>
              <a:gd name="T31" fmla="*/ 145 h 166"/>
              <a:gd name="T32" fmla="*/ 0 w 249"/>
              <a:gd name="T33" fmla="*/ 158 h 166"/>
              <a:gd name="T34" fmla="*/ 0 w 249"/>
              <a:gd name="T35" fmla="*/ 158 h 166"/>
              <a:gd name="T36" fmla="*/ 0 w 249"/>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166">
                <a:moveTo>
                  <a:pt x="216" y="117"/>
                </a:moveTo>
                <a:cubicBezTo>
                  <a:pt x="33" y="117"/>
                  <a:pt x="33" y="117"/>
                  <a:pt x="33" y="117"/>
                </a:cubicBezTo>
                <a:cubicBezTo>
                  <a:pt x="33" y="0"/>
                  <a:pt x="33" y="0"/>
                  <a:pt x="33" y="0"/>
                </a:cubicBezTo>
                <a:cubicBezTo>
                  <a:pt x="216" y="0"/>
                  <a:pt x="216" y="0"/>
                  <a:pt x="216" y="0"/>
                </a:cubicBezTo>
                <a:cubicBezTo>
                  <a:pt x="216" y="117"/>
                  <a:pt x="216" y="117"/>
                  <a:pt x="216" y="117"/>
                </a:cubicBezTo>
                <a:cubicBezTo>
                  <a:pt x="216" y="117"/>
                  <a:pt x="216" y="117"/>
                  <a:pt x="216" y="117"/>
                </a:cubicBezTo>
                <a:cubicBezTo>
                  <a:pt x="216" y="117"/>
                  <a:pt x="216" y="117"/>
                  <a:pt x="216" y="117"/>
                </a:cubicBezTo>
                <a:cubicBezTo>
                  <a:pt x="216" y="117"/>
                  <a:pt x="216" y="117"/>
                  <a:pt x="216" y="117"/>
                </a:cubicBezTo>
                <a:close/>
                <a:moveTo>
                  <a:pt x="0" y="158"/>
                </a:moveTo>
                <a:cubicBezTo>
                  <a:pt x="0" y="162"/>
                  <a:pt x="4" y="166"/>
                  <a:pt x="8" y="166"/>
                </a:cubicBezTo>
                <a:cubicBezTo>
                  <a:pt x="241" y="166"/>
                  <a:pt x="241" y="166"/>
                  <a:pt x="241" y="166"/>
                </a:cubicBezTo>
                <a:cubicBezTo>
                  <a:pt x="245" y="166"/>
                  <a:pt x="249" y="162"/>
                  <a:pt x="249" y="158"/>
                </a:cubicBezTo>
                <a:cubicBezTo>
                  <a:pt x="249" y="153"/>
                  <a:pt x="248" y="148"/>
                  <a:pt x="245" y="145"/>
                </a:cubicBezTo>
                <a:cubicBezTo>
                  <a:pt x="216" y="116"/>
                  <a:pt x="216" y="116"/>
                  <a:pt x="216" y="116"/>
                </a:cubicBezTo>
                <a:cubicBezTo>
                  <a:pt x="33" y="116"/>
                  <a:pt x="33" y="116"/>
                  <a:pt x="33" y="116"/>
                </a:cubicBezTo>
                <a:cubicBezTo>
                  <a:pt x="4" y="145"/>
                  <a:pt x="4" y="145"/>
                  <a:pt x="4" y="145"/>
                </a:cubicBezTo>
                <a:cubicBezTo>
                  <a:pt x="2" y="148"/>
                  <a:pt x="0" y="153"/>
                  <a:pt x="0" y="158"/>
                </a:cubicBezTo>
                <a:cubicBezTo>
                  <a:pt x="0" y="158"/>
                  <a:pt x="0" y="158"/>
                  <a:pt x="0" y="158"/>
                </a:cubicBezTo>
                <a:cubicBezTo>
                  <a:pt x="0" y="158"/>
                  <a:pt x="0" y="158"/>
                  <a:pt x="0" y="158"/>
                </a:cubicBezTo>
                <a:close/>
              </a:path>
            </a:pathLst>
          </a:custGeom>
          <a:solidFill>
            <a:srgbClr val="243A5E"/>
          </a:solidFill>
          <a:ln w="3175" cap="sq">
            <a:solidFill>
              <a:schemeClr val="bg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7" name="Freeform 64">
            <a:extLst>
              <a:ext uri="{FF2B5EF4-FFF2-40B4-BE49-F238E27FC236}">
                <a16:creationId xmlns:a16="http://schemas.microsoft.com/office/drawing/2014/main" id="{370326F0-E5E1-4B16-BB75-0E74D140EE18}"/>
              </a:ext>
              <a:ext uri="{C183D7F6-B498-43B3-948B-1728B52AA6E4}">
                <adec:decorative xmlns:adec="http://schemas.microsoft.com/office/drawing/2017/decorative" val="1"/>
              </a:ext>
            </a:extLst>
          </p:cNvPr>
          <p:cNvSpPr>
            <a:spLocks noEditPoints="1"/>
          </p:cNvSpPr>
          <p:nvPr/>
        </p:nvSpPr>
        <p:spPr bwMode="auto">
          <a:xfrm>
            <a:off x="504599" y="3347071"/>
            <a:ext cx="480260" cy="304762"/>
          </a:xfrm>
          <a:custGeom>
            <a:avLst/>
            <a:gdLst>
              <a:gd name="T0" fmla="*/ 216 w 249"/>
              <a:gd name="T1" fmla="*/ 117 h 166"/>
              <a:gd name="T2" fmla="*/ 33 w 249"/>
              <a:gd name="T3" fmla="*/ 117 h 166"/>
              <a:gd name="T4" fmla="*/ 33 w 249"/>
              <a:gd name="T5" fmla="*/ 0 h 166"/>
              <a:gd name="T6" fmla="*/ 216 w 249"/>
              <a:gd name="T7" fmla="*/ 0 h 166"/>
              <a:gd name="T8" fmla="*/ 216 w 249"/>
              <a:gd name="T9" fmla="*/ 117 h 166"/>
              <a:gd name="T10" fmla="*/ 216 w 249"/>
              <a:gd name="T11" fmla="*/ 117 h 166"/>
              <a:gd name="T12" fmla="*/ 216 w 249"/>
              <a:gd name="T13" fmla="*/ 117 h 166"/>
              <a:gd name="T14" fmla="*/ 216 w 249"/>
              <a:gd name="T15" fmla="*/ 117 h 166"/>
              <a:gd name="T16" fmla="*/ 0 w 249"/>
              <a:gd name="T17" fmla="*/ 158 h 166"/>
              <a:gd name="T18" fmla="*/ 8 w 249"/>
              <a:gd name="T19" fmla="*/ 166 h 166"/>
              <a:gd name="T20" fmla="*/ 241 w 249"/>
              <a:gd name="T21" fmla="*/ 166 h 166"/>
              <a:gd name="T22" fmla="*/ 249 w 249"/>
              <a:gd name="T23" fmla="*/ 158 h 166"/>
              <a:gd name="T24" fmla="*/ 245 w 249"/>
              <a:gd name="T25" fmla="*/ 145 h 166"/>
              <a:gd name="T26" fmla="*/ 216 w 249"/>
              <a:gd name="T27" fmla="*/ 116 h 166"/>
              <a:gd name="T28" fmla="*/ 33 w 249"/>
              <a:gd name="T29" fmla="*/ 116 h 166"/>
              <a:gd name="T30" fmla="*/ 4 w 249"/>
              <a:gd name="T31" fmla="*/ 145 h 166"/>
              <a:gd name="T32" fmla="*/ 0 w 249"/>
              <a:gd name="T33" fmla="*/ 158 h 166"/>
              <a:gd name="T34" fmla="*/ 0 w 249"/>
              <a:gd name="T35" fmla="*/ 158 h 166"/>
              <a:gd name="T36" fmla="*/ 0 w 249"/>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166">
                <a:moveTo>
                  <a:pt x="216" y="117"/>
                </a:moveTo>
                <a:cubicBezTo>
                  <a:pt x="33" y="117"/>
                  <a:pt x="33" y="117"/>
                  <a:pt x="33" y="117"/>
                </a:cubicBezTo>
                <a:cubicBezTo>
                  <a:pt x="33" y="0"/>
                  <a:pt x="33" y="0"/>
                  <a:pt x="33" y="0"/>
                </a:cubicBezTo>
                <a:cubicBezTo>
                  <a:pt x="216" y="0"/>
                  <a:pt x="216" y="0"/>
                  <a:pt x="216" y="0"/>
                </a:cubicBezTo>
                <a:cubicBezTo>
                  <a:pt x="216" y="117"/>
                  <a:pt x="216" y="117"/>
                  <a:pt x="216" y="117"/>
                </a:cubicBezTo>
                <a:cubicBezTo>
                  <a:pt x="216" y="117"/>
                  <a:pt x="216" y="117"/>
                  <a:pt x="216" y="117"/>
                </a:cubicBezTo>
                <a:cubicBezTo>
                  <a:pt x="216" y="117"/>
                  <a:pt x="216" y="117"/>
                  <a:pt x="216" y="117"/>
                </a:cubicBezTo>
                <a:cubicBezTo>
                  <a:pt x="216" y="117"/>
                  <a:pt x="216" y="117"/>
                  <a:pt x="216" y="117"/>
                </a:cubicBezTo>
                <a:close/>
                <a:moveTo>
                  <a:pt x="0" y="158"/>
                </a:moveTo>
                <a:cubicBezTo>
                  <a:pt x="0" y="162"/>
                  <a:pt x="4" y="166"/>
                  <a:pt x="8" y="166"/>
                </a:cubicBezTo>
                <a:cubicBezTo>
                  <a:pt x="241" y="166"/>
                  <a:pt x="241" y="166"/>
                  <a:pt x="241" y="166"/>
                </a:cubicBezTo>
                <a:cubicBezTo>
                  <a:pt x="245" y="166"/>
                  <a:pt x="249" y="162"/>
                  <a:pt x="249" y="158"/>
                </a:cubicBezTo>
                <a:cubicBezTo>
                  <a:pt x="249" y="153"/>
                  <a:pt x="247" y="149"/>
                  <a:pt x="245" y="145"/>
                </a:cubicBezTo>
                <a:cubicBezTo>
                  <a:pt x="216" y="116"/>
                  <a:pt x="216" y="116"/>
                  <a:pt x="216" y="116"/>
                </a:cubicBezTo>
                <a:cubicBezTo>
                  <a:pt x="33" y="116"/>
                  <a:pt x="33" y="116"/>
                  <a:pt x="33" y="116"/>
                </a:cubicBezTo>
                <a:cubicBezTo>
                  <a:pt x="4" y="145"/>
                  <a:pt x="4" y="145"/>
                  <a:pt x="4" y="145"/>
                </a:cubicBezTo>
                <a:cubicBezTo>
                  <a:pt x="1" y="149"/>
                  <a:pt x="0" y="153"/>
                  <a:pt x="0" y="158"/>
                </a:cubicBezTo>
                <a:cubicBezTo>
                  <a:pt x="0" y="158"/>
                  <a:pt x="0" y="158"/>
                  <a:pt x="0" y="158"/>
                </a:cubicBezTo>
                <a:cubicBezTo>
                  <a:pt x="0" y="158"/>
                  <a:pt x="0" y="158"/>
                  <a:pt x="0" y="158"/>
                </a:cubicBezTo>
                <a:close/>
              </a:path>
            </a:pathLst>
          </a:custGeom>
          <a:solidFill>
            <a:srgbClr val="243A5E"/>
          </a:solidFill>
          <a:ln w="3175" cap="sq">
            <a:solidFill>
              <a:schemeClr val="bg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8" name="Freeform 66">
            <a:extLst>
              <a:ext uri="{FF2B5EF4-FFF2-40B4-BE49-F238E27FC236}">
                <a16:creationId xmlns:a16="http://schemas.microsoft.com/office/drawing/2014/main" id="{90FE3E0B-064C-4675-9006-29F064A60D78}"/>
              </a:ext>
              <a:ext uri="{C183D7F6-B498-43B3-948B-1728B52AA6E4}">
                <adec:decorative xmlns:adec="http://schemas.microsoft.com/office/drawing/2017/decorative" val="1"/>
              </a:ext>
            </a:extLst>
          </p:cNvPr>
          <p:cNvSpPr>
            <a:spLocks noEditPoints="1"/>
          </p:cNvSpPr>
          <p:nvPr/>
        </p:nvSpPr>
        <p:spPr bwMode="auto">
          <a:xfrm>
            <a:off x="1068383" y="3347071"/>
            <a:ext cx="483741" cy="304762"/>
          </a:xfrm>
          <a:custGeom>
            <a:avLst/>
            <a:gdLst>
              <a:gd name="T0" fmla="*/ 216 w 249"/>
              <a:gd name="T1" fmla="*/ 117 h 166"/>
              <a:gd name="T2" fmla="*/ 33 w 249"/>
              <a:gd name="T3" fmla="*/ 117 h 166"/>
              <a:gd name="T4" fmla="*/ 33 w 249"/>
              <a:gd name="T5" fmla="*/ 0 h 166"/>
              <a:gd name="T6" fmla="*/ 216 w 249"/>
              <a:gd name="T7" fmla="*/ 0 h 166"/>
              <a:gd name="T8" fmla="*/ 216 w 249"/>
              <a:gd name="T9" fmla="*/ 117 h 166"/>
              <a:gd name="T10" fmla="*/ 216 w 249"/>
              <a:gd name="T11" fmla="*/ 117 h 166"/>
              <a:gd name="T12" fmla="*/ 216 w 249"/>
              <a:gd name="T13" fmla="*/ 117 h 166"/>
              <a:gd name="T14" fmla="*/ 216 w 249"/>
              <a:gd name="T15" fmla="*/ 117 h 166"/>
              <a:gd name="T16" fmla="*/ 0 w 249"/>
              <a:gd name="T17" fmla="*/ 158 h 166"/>
              <a:gd name="T18" fmla="*/ 8 w 249"/>
              <a:gd name="T19" fmla="*/ 166 h 166"/>
              <a:gd name="T20" fmla="*/ 241 w 249"/>
              <a:gd name="T21" fmla="*/ 166 h 166"/>
              <a:gd name="T22" fmla="*/ 249 w 249"/>
              <a:gd name="T23" fmla="*/ 158 h 166"/>
              <a:gd name="T24" fmla="*/ 245 w 249"/>
              <a:gd name="T25" fmla="*/ 145 h 166"/>
              <a:gd name="T26" fmla="*/ 216 w 249"/>
              <a:gd name="T27" fmla="*/ 116 h 166"/>
              <a:gd name="T28" fmla="*/ 33 w 249"/>
              <a:gd name="T29" fmla="*/ 116 h 166"/>
              <a:gd name="T30" fmla="*/ 4 w 249"/>
              <a:gd name="T31" fmla="*/ 145 h 166"/>
              <a:gd name="T32" fmla="*/ 0 w 249"/>
              <a:gd name="T33" fmla="*/ 158 h 166"/>
              <a:gd name="T34" fmla="*/ 0 w 249"/>
              <a:gd name="T35" fmla="*/ 158 h 166"/>
              <a:gd name="T36" fmla="*/ 0 w 249"/>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166">
                <a:moveTo>
                  <a:pt x="216" y="117"/>
                </a:moveTo>
                <a:cubicBezTo>
                  <a:pt x="33" y="117"/>
                  <a:pt x="33" y="117"/>
                  <a:pt x="33" y="117"/>
                </a:cubicBezTo>
                <a:cubicBezTo>
                  <a:pt x="33" y="0"/>
                  <a:pt x="33" y="0"/>
                  <a:pt x="33" y="0"/>
                </a:cubicBezTo>
                <a:cubicBezTo>
                  <a:pt x="216" y="0"/>
                  <a:pt x="216" y="0"/>
                  <a:pt x="216" y="0"/>
                </a:cubicBezTo>
                <a:cubicBezTo>
                  <a:pt x="216" y="117"/>
                  <a:pt x="216" y="117"/>
                  <a:pt x="216" y="117"/>
                </a:cubicBezTo>
                <a:cubicBezTo>
                  <a:pt x="216" y="117"/>
                  <a:pt x="216" y="117"/>
                  <a:pt x="216" y="117"/>
                </a:cubicBezTo>
                <a:cubicBezTo>
                  <a:pt x="216" y="117"/>
                  <a:pt x="216" y="117"/>
                  <a:pt x="216" y="117"/>
                </a:cubicBezTo>
                <a:cubicBezTo>
                  <a:pt x="216" y="117"/>
                  <a:pt x="216" y="117"/>
                  <a:pt x="216" y="117"/>
                </a:cubicBezTo>
                <a:close/>
                <a:moveTo>
                  <a:pt x="0" y="158"/>
                </a:moveTo>
                <a:cubicBezTo>
                  <a:pt x="0" y="162"/>
                  <a:pt x="4" y="166"/>
                  <a:pt x="8" y="166"/>
                </a:cubicBezTo>
                <a:cubicBezTo>
                  <a:pt x="241" y="166"/>
                  <a:pt x="241" y="166"/>
                  <a:pt x="241" y="166"/>
                </a:cubicBezTo>
                <a:cubicBezTo>
                  <a:pt x="245" y="166"/>
                  <a:pt x="249" y="162"/>
                  <a:pt x="249" y="158"/>
                </a:cubicBezTo>
                <a:cubicBezTo>
                  <a:pt x="249" y="153"/>
                  <a:pt x="248" y="149"/>
                  <a:pt x="245" y="145"/>
                </a:cubicBezTo>
                <a:cubicBezTo>
                  <a:pt x="216" y="116"/>
                  <a:pt x="216" y="116"/>
                  <a:pt x="216" y="116"/>
                </a:cubicBezTo>
                <a:cubicBezTo>
                  <a:pt x="33" y="116"/>
                  <a:pt x="33" y="116"/>
                  <a:pt x="33" y="116"/>
                </a:cubicBezTo>
                <a:cubicBezTo>
                  <a:pt x="4" y="145"/>
                  <a:pt x="4" y="145"/>
                  <a:pt x="4" y="145"/>
                </a:cubicBezTo>
                <a:cubicBezTo>
                  <a:pt x="2" y="149"/>
                  <a:pt x="0" y="153"/>
                  <a:pt x="0" y="158"/>
                </a:cubicBezTo>
                <a:cubicBezTo>
                  <a:pt x="0" y="158"/>
                  <a:pt x="0" y="158"/>
                  <a:pt x="0" y="158"/>
                </a:cubicBezTo>
                <a:cubicBezTo>
                  <a:pt x="0" y="158"/>
                  <a:pt x="0" y="158"/>
                  <a:pt x="0" y="158"/>
                </a:cubicBezTo>
                <a:close/>
              </a:path>
            </a:pathLst>
          </a:custGeom>
          <a:solidFill>
            <a:srgbClr val="243A5E"/>
          </a:solidFill>
          <a:ln w="3175" cap="sq">
            <a:solidFill>
              <a:schemeClr val="bg1"/>
            </a:solidFill>
            <a:prstDash val="solid"/>
            <a:miter lim="800000"/>
            <a:headEnd/>
            <a:tailEnd/>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9" name="Freeform 58">
            <a:extLst>
              <a:ext uri="{FF2B5EF4-FFF2-40B4-BE49-F238E27FC236}">
                <a16:creationId xmlns:a16="http://schemas.microsoft.com/office/drawing/2014/main" id="{CD6B0E4F-F140-4AE6-9F7F-E8F8BD18A3DA}"/>
              </a:ext>
              <a:ext uri="{C183D7F6-B498-43B3-948B-1728B52AA6E4}">
                <adec:decorative xmlns:adec="http://schemas.microsoft.com/office/drawing/2017/decorative" val="1"/>
              </a:ext>
            </a:extLst>
          </p:cNvPr>
          <p:cNvSpPr>
            <a:spLocks/>
          </p:cNvSpPr>
          <p:nvPr/>
        </p:nvSpPr>
        <p:spPr bwMode="auto">
          <a:xfrm>
            <a:off x="497639" y="3764462"/>
            <a:ext cx="146166" cy="304762"/>
          </a:xfrm>
          <a:custGeom>
            <a:avLst/>
            <a:gdLst>
              <a:gd name="T0" fmla="*/ 76 w 76"/>
              <a:gd name="T1" fmla="*/ 0 h 166"/>
              <a:gd name="T2" fmla="*/ 76 w 76"/>
              <a:gd name="T3" fmla="*/ 166 h 166"/>
              <a:gd name="T4" fmla="*/ 11 w 76"/>
              <a:gd name="T5" fmla="*/ 166 h 166"/>
              <a:gd name="T6" fmla="*/ 7 w 76"/>
              <a:gd name="T7" fmla="*/ 145 h 166"/>
              <a:gd name="T8" fmla="*/ 36 w 76"/>
              <a:gd name="T9" fmla="*/ 117 h 166"/>
              <a:gd name="T10" fmla="*/ 36 w 76"/>
              <a:gd name="T11" fmla="*/ 0 h 166"/>
              <a:gd name="T12" fmla="*/ 76 w 76"/>
              <a:gd name="T13" fmla="*/ 0 h 166"/>
            </a:gdLst>
            <a:ahLst/>
            <a:cxnLst>
              <a:cxn ang="0">
                <a:pos x="T0" y="T1"/>
              </a:cxn>
              <a:cxn ang="0">
                <a:pos x="T2" y="T3"/>
              </a:cxn>
              <a:cxn ang="0">
                <a:pos x="T4" y="T5"/>
              </a:cxn>
              <a:cxn ang="0">
                <a:pos x="T6" y="T7"/>
              </a:cxn>
              <a:cxn ang="0">
                <a:pos x="T8" y="T9"/>
              </a:cxn>
              <a:cxn ang="0">
                <a:pos x="T10" y="T11"/>
              </a:cxn>
              <a:cxn ang="0">
                <a:pos x="T12" y="T13"/>
              </a:cxn>
            </a:cxnLst>
            <a:rect l="0" t="0" r="r" b="b"/>
            <a:pathLst>
              <a:path w="76" h="166">
                <a:moveTo>
                  <a:pt x="76" y="0"/>
                </a:moveTo>
                <a:cubicBezTo>
                  <a:pt x="76" y="166"/>
                  <a:pt x="76" y="166"/>
                  <a:pt x="76" y="166"/>
                </a:cubicBezTo>
                <a:cubicBezTo>
                  <a:pt x="11" y="166"/>
                  <a:pt x="11" y="166"/>
                  <a:pt x="11" y="166"/>
                </a:cubicBezTo>
                <a:cubicBezTo>
                  <a:pt x="2" y="165"/>
                  <a:pt x="0" y="155"/>
                  <a:pt x="7" y="145"/>
                </a:cubicBezTo>
                <a:cubicBezTo>
                  <a:pt x="36" y="117"/>
                  <a:pt x="36" y="117"/>
                  <a:pt x="36" y="117"/>
                </a:cubicBezTo>
                <a:cubicBezTo>
                  <a:pt x="36" y="0"/>
                  <a:pt x="36" y="0"/>
                  <a:pt x="36" y="0"/>
                </a:cubicBezTo>
                <a:lnTo>
                  <a:pt x="76" y="0"/>
                </a:lnTo>
                <a:close/>
              </a:path>
            </a:pathLst>
          </a:custGeom>
          <a:solidFill>
            <a:srgbClr val="243A5E"/>
          </a:solidFill>
          <a:ln w="3175">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0" name="Freeform 59">
            <a:extLst>
              <a:ext uri="{FF2B5EF4-FFF2-40B4-BE49-F238E27FC236}">
                <a16:creationId xmlns:a16="http://schemas.microsoft.com/office/drawing/2014/main" id="{C168DD5E-5E41-4FE0-92D0-C6205519E4AC}"/>
              </a:ext>
              <a:ext uri="{C183D7F6-B498-43B3-948B-1728B52AA6E4}">
                <adec:decorative xmlns:adec="http://schemas.microsoft.com/office/drawing/2017/decorative" val="1"/>
              </a:ext>
            </a:extLst>
          </p:cNvPr>
          <p:cNvSpPr>
            <a:spLocks noEditPoints="1"/>
          </p:cNvSpPr>
          <p:nvPr/>
        </p:nvSpPr>
        <p:spPr bwMode="auto">
          <a:xfrm>
            <a:off x="699487" y="2982683"/>
            <a:ext cx="90484" cy="99379"/>
          </a:xfrm>
          <a:custGeom>
            <a:avLst/>
            <a:gdLst>
              <a:gd name="T0" fmla="*/ 23 w 47"/>
              <a:gd name="T1" fmla="*/ 0 h 53"/>
              <a:gd name="T2" fmla="*/ 6 w 47"/>
              <a:gd name="T3" fmla="*/ 17 h 53"/>
              <a:gd name="T4" fmla="*/ 23 w 47"/>
              <a:gd name="T5" fmla="*/ 34 h 53"/>
              <a:gd name="T6" fmla="*/ 40 w 47"/>
              <a:gd name="T7" fmla="*/ 17 h 53"/>
              <a:gd name="T8" fmla="*/ 23 w 47"/>
              <a:gd name="T9" fmla="*/ 0 h 53"/>
              <a:gd name="T10" fmla="*/ 47 w 47"/>
              <a:gd name="T11" fmla="*/ 53 h 53"/>
              <a:gd name="T12" fmla="*/ 23 w 47"/>
              <a:gd name="T13" fmla="*/ 34 h 53"/>
              <a:gd name="T14" fmla="*/ 0 w 47"/>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3">
                <a:moveTo>
                  <a:pt x="23" y="0"/>
                </a:moveTo>
                <a:cubicBezTo>
                  <a:pt x="14" y="0"/>
                  <a:pt x="6" y="8"/>
                  <a:pt x="6" y="17"/>
                </a:cubicBezTo>
                <a:cubicBezTo>
                  <a:pt x="6" y="26"/>
                  <a:pt x="14" y="34"/>
                  <a:pt x="23" y="34"/>
                </a:cubicBezTo>
                <a:cubicBezTo>
                  <a:pt x="33" y="34"/>
                  <a:pt x="40" y="26"/>
                  <a:pt x="40" y="17"/>
                </a:cubicBezTo>
                <a:cubicBezTo>
                  <a:pt x="40" y="8"/>
                  <a:pt x="33" y="0"/>
                  <a:pt x="23" y="0"/>
                </a:cubicBezTo>
                <a:close/>
                <a:moveTo>
                  <a:pt x="47" y="53"/>
                </a:moveTo>
                <a:cubicBezTo>
                  <a:pt x="44" y="42"/>
                  <a:pt x="35" y="34"/>
                  <a:pt x="23" y="34"/>
                </a:cubicBezTo>
                <a:cubicBezTo>
                  <a:pt x="12" y="34"/>
                  <a:pt x="2" y="42"/>
                  <a:pt x="0" y="53"/>
                </a:cubicBezTo>
              </a:path>
            </a:pathLst>
          </a:custGeom>
          <a:noFill/>
          <a:ln w="31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1" name="Freeform 61">
            <a:extLst>
              <a:ext uri="{FF2B5EF4-FFF2-40B4-BE49-F238E27FC236}">
                <a16:creationId xmlns:a16="http://schemas.microsoft.com/office/drawing/2014/main" id="{425875CB-2608-4183-A1B4-106AF890EBE6}"/>
              </a:ext>
              <a:ext uri="{C183D7F6-B498-43B3-948B-1728B52AA6E4}">
                <adec:decorative xmlns:adec="http://schemas.microsoft.com/office/drawing/2017/decorative" val="1"/>
              </a:ext>
            </a:extLst>
          </p:cNvPr>
          <p:cNvSpPr>
            <a:spLocks noEditPoints="1"/>
          </p:cNvSpPr>
          <p:nvPr/>
        </p:nvSpPr>
        <p:spPr bwMode="auto">
          <a:xfrm>
            <a:off x="1266752" y="2982683"/>
            <a:ext cx="90484" cy="99379"/>
          </a:xfrm>
          <a:custGeom>
            <a:avLst/>
            <a:gdLst>
              <a:gd name="T0" fmla="*/ 24 w 47"/>
              <a:gd name="T1" fmla="*/ 0 h 53"/>
              <a:gd name="T2" fmla="*/ 7 w 47"/>
              <a:gd name="T3" fmla="*/ 17 h 53"/>
              <a:gd name="T4" fmla="*/ 24 w 47"/>
              <a:gd name="T5" fmla="*/ 34 h 53"/>
              <a:gd name="T6" fmla="*/ 41 w 47"/>
              <a:gd name="T7" fmla="*/ 17 h 53"/>
              <a:gd name="T8" fmla="*/ 24 w 47"/>
              <a:gd name="T9" fmla="*/ 0 h 53"/>
              <a:gd name="T10" fmla="*/ 47 w 47"/>
              <a:gd name="T11" fmla="*/ 53 h 53"/>
              <a:gd name="T12" fmla="*/ 24 w 47"/>
              <a:gd name="T13" fmla="*/ 34 h 53"/>
              <a:gd name="T14" fmla="*/ 0 w 47"/>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3">
                <a:moveTo>
                  <a:pt x="24" y="0"/>
                </a:moveTo>
                <a:cubicBezTo>
                  <a:pt x="14" y="0"/>
                  <a:pt x="7" y="8"/>
                  <a:pt x="7" y="17"/>
                </a:cubicBezTo>
                <a:cubicBezTo>
                  <a:pt x="7" y="26"/>
                  <a:pt x="14" y="34"/>
                  <a:pt x="24" y="34"/>
                </a:cubicBezTo>
                <a:cubicBezTo>
                  <a:pt x="33" y="34"/>
                  <a:pt x="41" y="26"/>
                  <a:pt x="41" y="17"/>
                </a:cubicBezTo>
                <a:cubicBezTo>
                  <a:pt x="41" y="8"/>
                  <a:pt x="33" y="0"/>
                  <a:pt x="24" y="0"/>
                </a:cubicBezTo>
                <a:close/>
                <a:moveTo>
                  <a:pt x="47" y="53"/>
                </a:moveTo>
                <a:cubicBezTo>
                  <a:pt x="45" y="42"/>
                  <a:pt x="35" y="34"/>
                  <a:pt x="24" y="34"/>
                </a:cubicBezTo>
                <a:cubicBezTo>
                  <a:pt x="12" y="34"/>
                  <a:pt x="3" y="42"/>
                  <a:pt x="0" y="53"/>
                </a:cubicBezTo>
              </a:path>
            </a:pathLst>
          </a:custGeom>
          <a:noFill/>
          <a:ln w="31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2" name="Freeform 63">
            <a:extLst>
              <a:ext uri="{FF2B5EF4-FFF2-40B4-BE49-F238E27FC236}">
                <a16:creationId xmlns:a16="http://schemas.microsoft.com/office/drawing/2014/main" id="{54C84EAB-4654-4D17-87F9-E046EEE4BEBF}"/>
              </a:ext>
              <a:ext uri="{C183D7F6-B498-43B3-948B-1728B52AA6E4}">
                <adec:decorative xmlns:adec="http://schemas.microsoft.com/office/drawing/2017/decorative" val="1"/>
              </a:ext>
            </a:extLst>
          </p:cNvPr>
          <p:cNvSpPr>
            <a:spLocks noEditPoints="1"/>
          </p:cNvSpPr>
          <p:nvPr/>
        </p:nvSpPr>
        <p:spPr bwMode="auto">
          <a:xfrm>
            <a:off x="699487" y="3403385"/>
            <a:ext cx="90484" cy="99379"/>
          </a:xfrm>
          <a:custGeom>
            <a:avLst/>
            <a:gdLst>
              <a:gd name="T0" fmla="*/ 23 w 47"/>
              <a:gd name="T1" fmla="*/ 0 h 53"/>
              <a:gd name="T2" fmla="*/ 6 w 47"/>
              <a:gd name="T3" fmla="*/ 17 h 53"/>
              <a:gd name="T4" fmla="*/ 23 w 47"/>
              <a:gd name="T5" fmla="*/ 34 h 53"/>
              <a:gd name="T6" fmla="*/ 40 w 47"/>
              <a:gd name="T7" fmla="*/ 17 h 53"/>
              <a:gd name="T8" fmla="*/ 23 w 47"/>
              <a:gd name="T9" fmla="*/ 0 h 53"/>
              <a:gd name="T10" fmla="*/ 47 w 47"/>
              <a:gd name="T11" fmla="*/ 53 h 53"/>
              <a:gd name="T12" fmla="*/ 23 w 47"/>
              <a:gd name="T13" fmla="*/ 34 h 53"/>
              <a:gd name="T14" fmla="*/ 0 w 47"/>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3">
                <a:moveTo>
                  <a:pt x="23" y="0"/>
                </a:moveTo>
                <a:cubicBezTo>
                  <a:pt x="14" y="0"/>
                  <a:pt x="6" y="8"/>
                  <a:pt x="6" y="17"/>
                </a:cubicBezTo>
                <a:cubicBezTo>
                  <a:pt x="6" y="26"/>
                  <a:pt x="14" y="34"/>
                  <a:pt x="23" y="34"/>
                </a:cubicBezTo>
                <a:cubicBezTo>
                  <a:pt x="33" y="34"/>
                  <a:pt x="40" y="26"/>
                  <a:pt x="40" y="17"/>
                </a:cubicBezTo>
                <a:cubicBezTo>
                  <a:pt x="40" y="8"/>
                  <a:pt x="33" y="0"/>
                  <a:pt x="23" y="0"/>
                </a:cubicBezTo>
                <a:close/>
                <a:moveTo>
                  <a:pt x="47" y="53"/>
                </a:moveTo>
                <a:cubicBezTo>
                  <a:pt x="44" y="42"/>
                  <a:pt x="35" y="34"/>
                  <a:pt x="23" y="34"/>
                </a:cubicBezTo>
                <a:cubicBezTo>
                  <a:pt x="12" y="34"/>
                  <a:pt x="2" y="42"/>
                  <a:pt x="0" y="53"/>
                </a:cubicBezTo>
              </a:path>
            </a:pathLst>
          </a:custGeom>
          <a:noFill/>
          <a:ln w="31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3" name="Freeform 65">
            <a:extLst>
              <a:ext uri="{FF2B5EF4-FFF2-40B4-BE49-F238E27FC236}">
                <a16:creationId xmlns:a16="http://schemas.microsoft.com/office/drawing/2014/main" id="{B92CCB4F-4B0B-4B88-887F-3A4E3DCF2890}"/>
              </a:ext>
              <a:ext uri="{C183D7F6-B498-43B3-948B-1728B52AA6E4}">
                <adec:decorative xmlns:adec="http://schemas.microsoft.com/office/drawing/2017/decorative" val="1"/>
              </a:ext>
            </a:extLst>
          </p:cNvPr>
          <p:cNvSpPr>
            <a:spLocks noEditPoints="1"/>
          </p:cNvSpPr>
          <p:nvPr/>
        </p:nvSpPr>
        <p:spPr bwMode="auto">
          <a:xfrm>
            <a:off x="1266752" y="3403385"/>
            <a:ext cx="90484" cy="99379"/>
          </a:xfrm>
          <a:custGeom>
            <a:avLst/>
            <a:gdLst>
              <a:gd name="T0" fmla="*/ 24 w 47"/>
              <a:gd name="T1" fmla="*/ 0 h 53"/>
              <a:gd name="T2" fmla="*/ 7 w 47"/>
              <a:gd name="T3" fmla="*/ 17 h 53"/>
              <a:gd name="T4" fmla="*/ 24 w 47"/>
              <a:gd name="T5" fmla="*/ 34 h 53"/>
              <a:gd name="T6" fmla="*/ 41 w 47"/>
              <a:gd name="T7" fmla="*/ 17 h 53"/>
              <a:gd name="T8" fmla="*/ 24 w 47"/>
              <a:gd name="T9" fmla="*/ 0 h 53"/>
              <a:gd name="T10" fmla="*/ 47 w 47"/>
              <a:gd name="T11" fmla="*/ 53 h 53"/>
              <a:gd name="T12" fmla="*/ 24 w 47"/>
              <a:gd name="T13" fmla="*/ 34 h 53"/>
              <a:gd name="T14" fmla="*/ 0 w 47"/>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3">
                <a:moveTo>
                  <a:pt x="24" y="0"/>
                </a:moveTo>
                <a:cubicBezTo>
                  <a:pt x="14" y="0"/>
                  <a:pt x="7" y="8"/>
                  <a:pt x="7" y="17"/>
                </a:cubicBezTo>
                <a:cubicBezTo>
                  <a:pt x="7" y="26"/>
                  <a:pt x="14" y="34"/>
                  <a:pt x="24" y="34"/>
                </a:cubicBezTo>
                <a:cubicBezTo>
                  <a:pt x="33" y="34"/>
                  <a:pt x="41" y="26"/>
                  <a:pt x="41" y="17"/>
                </a:cubicBezTo>
                <a:cubicBezTo>
                  <a:pt x="41" y="8"/>
                  <a:pt x="33" y="0"/>
                  <a:pt x="24" y="0"/>
                </a:cubicBezTo>
                <a:close/>
                <a:moveTo>
                  <a:pt x="47" y="53"/>
                </a:moveTo>
                <a:cubicBezTo>
                  <a:pt x="45" y="42"/>
                  <a:pt x="35" y="34"/>
                  <a:pt x="24" y="34"/>
                </a:cubicBezTo>
                <a:cubicBezTo>
                  <a:pt x="12" y="34"/>
                  <a:pt x="3" y="42"/>
                  <a:pt x="0" y="53"/>
                </a:cubicBezTo>
              </a:path>
            </a:pathLst>
          </a:custGeom>
          <a:noFill/>
          <a:ln w="31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4" name="Freeform 67">
            <a:extLst>
              <a:ext uri="{FF2B5EF4-FFF2-40B4-BE49-F238E27FC236}">
                <a16:creationId xmlns:a16="http://schemas.microsoft.com/office/drawing/2014/main" id="{5B1D48F4-9E76-4D02-AD6F-9A56A84FA0CD}"/>
              </a:ext>
              <a:ext uri="{C183D7F6-B498-43B3-948B-1728B52AA6E4}">
                <adec:decorative xmlns:adec="http://schemas.microsoft.com/office/drawing/2017/decorative" val="1"/>
              </a:ext>
            </a:extLst>
          </p:cNvPr>
          <p:cNvSpPr>
            <a:spLocks noEditPoints="1"/>
          </p:cNvSpPr>
          <p:nvPr/>
        </p:nvSpPr>
        <p:spPr bwMode="auto">
          <a:xfrm>
            <a:off x="699487" y="3824089"/>
            <a:ext cx="90484" cy="99379"/>
          </a:xfrm>
          <a:custGeom>
            <a:avLst/>
            <a:gdLst>
              <a:gd name="T0" fmla="*/ 23 w 47"/>
              <a:gd name="T1" fmla="*/ 0 h 53"/>
              <a:gd name="T2" fmla="*/ 6 w 47"/>
              <a:gd name="T3" fmla="*/ 17 h 53"/>
              <a:gd name="T4" fmla="*/ 23 w 47"/>
              <a:gd name="T5" fmla="*/ 34 h 53"/>
              <a:gd name="T6" fmla="*/ 40 w 47"/>
              <a:gd name="T7" fmla="*/ 17 h 53"/>
              <a:gd name="T8" fmla="*/ 23 w 47"/>
              <a:gd name="T9" fmla="*/ 0 h 53"/>
              <a:gd name="T10" fmla="*/ 47 w 47"/>
              <a:gd name="T11" fmla="*/ 53 h 53"/>
              <a:gd name="T12" fmla="*/ 23 w 47"/>
              <a:gd name="T13" fmla="*/ 34 h 53"/>
              <a:gd name="T14" fmla="*/ 0 w 47"/>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3">
                <a:moveTo>
                  <a:pt x="23" y="0"/>
                </a:moveTo>
                <a:cubicBezTo>
                  <a:pt x="14" y="0"/>
                  <a:pt x="6" y="8"/>
                  <a:pt x="6" y="17"/>
                </a:cubicBezTo>
                <a:cubicBezTo>
                  <a:pt x="6" y="26"/>
                  <a:pt x="14" y="34"/>
                  <a:pt x="23" y="34"/>
                </a:cubicBezTo>
                <a:cubicBezTo>
                  <a:pt x="33" y="34"/>
                  <a:pt x="40" y="26"/>
                  <a:pt x="40" y="17"/>
                </a:cubicBezTo>
                <a:cubicBezTo>
                  <a:pt x="40" y="8"/>
                  <a:pt x="33" y="0"/>
                  <a:pt x="23" y="0"/>
                </a:cubicBezTo>
                <a:close/>
                <a:moveTo>
                  <a:pt x="47" y="53"/>
                </a:moveTo>
                <a:cubicBezTo>
                  <a:pt x="44" y="42"/>
                  <a:pt x="35" y="34"/>
                  <a:pt x="23" y="34"/>
                </a:cubicBezTo>
                <a:cubicBezTo>
                  <a:pt x="12" y="34"/>
                  <a:pt x="2" y="42"/>
                  <a:pt x="0" y="53"/>
                </a:cubicBezTo>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5" name="Freeform 68">
            <a:extLst>
              <a:ext uri="{FF2B5EF4-FFF2-40B4-BE49-F238E27FC236}">
                <a16:creationId xmlns:a16="http://schemas.microsoft.com/office/drawing/2014/main" id="{6EBCDF65-34FD-46DB-8279-7C91BA652A0E}"/>
              </a:ext>
              <a:ext uri="{C183D7F6-B498-43B3-948B-1728B52AA6E4}">
                <adec:decorative xmlns:adec="http://schemas.microsoft.com/office/drawing/2017/decorative" val="1"/>
              </a:ext>
            </a:extLst>
          </p:cNvPr>
          <p:cNvSpPr>
            <a:spLocks noEditPoints="1"/>
          </p:cNvSpPr>
          <p:nvPr/>
        </p:nvSpPr>
        <p:spPr bwMode="auto">
          <a:xfrm>
            <a:off x="504599" y="3764462"/>
            <a:ext cx="480260" cy="304762"/>
          </a:xfrm>
          <a:custGeom>
            <a:avLst/>
            <a:gdLst>
              <a:gd name="T0" fmla="*/ 216 w 249"/>
              <a:gd name="T1" fmla="*/ 117 h 166"/>
              <a:gd name="T2" fmla="*/ 33 w 249"/>
              <a:gd name="T3" fmla="*/ 117 h 166"/>
              <a:gd name="T4" fmla="*/ 33 w 249"/>
              <a:gd name="T5" fmla="*/ 0 h 166"/>
              <a:gd name="T6" fmla="*/ 216 w 249"/>
              <a:gd name="T7" fmla="*/ 0 h 166"/>
              <a:gd name="T8" fmla="*/ 216 w 249"/>
              <a:gd name="T9" fmla="*/ 117 h 166"/>
              <a:gd name="T10" fmla="*/ 216 w 249"/>
              <a:gd name="T11" fmla="*/ 117 h 166"/>
              <a:gd name="T12" fmla="*/ 216 w 249"/>
              <a:gd name="T13" fmla="*/ 117 h 166"/>
              <a:gd name="T14" fmla="*/ 216 w 249"/>
              <a:gd name="T15" fmla="*/ 117 h 166"/>
              <a:gd name="T16" fmla="*/ 0 w 249"/>
              <a:gd name="T17" fmla="*/ 158 h 166"/>
              <a:gd name="T18" fmla="*/ 8 w 249"/>
              <a:gd name="T19" fmla="*/ 166 h 166"/>
              <a:gd name="T20" fmla="*/ 241 w 249"/>
              <a:gd name="T21" fmla="*/ 166 h 166"/>
              <a:gd name="T22" fmla="*/ 249 w 249"/>
              <a:gd name="T23" fmla="*/ 158 h 166"/>
              <a:gd name="T24" fmla="*/ 245 w 249"/>
              <a:gd name="T25" fmla="*/ 145 h 166"/>
              <a:gd name="T26" fmla="*/ 216 w 249"/>
              <a:gd name="T27" fmla="*/ 116 h 166"/>
              <a:gd name="T28" fmla="*/ 33 w 249"/>
              <a:gd name="T29" fmla="*/ 116 h 166"/>
              <a:gd name="T30" fmla="*/ 4 w 249"/>
              <a:gd name="T31" fmla="*/ 145 h 166"/>
              <a:gd name="T32" fmla="*/ 0 w 249"/>
              <a:gd name="T33" fmla="*/ 158 h 166"/>
              <a:gd name="T34" fmla="*/ 0 w 249"/>
              <a:gd name="T35" fmla="*/ 158 h 166"/>
              <a:gd name="T36" fmla="*/ 0 w 249"/>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166">
                <a:moveTo>
                  <a:pt x="216" y="117"/>
                </a:moveTo>
                <a:cubicBezTo>
                  <a:pt x="33" y="117"/>
                  <a:pt x="33" y="117"/>
                  <a:pt x="33" y="117"/>
                </a:cubicBezTo>
                <a:cubicBezTo>
                  <a:pt x="33" y="0"/>
                  <a:pt x="33" y="0"/>
                  <a:pt x="33" y="0"/>
                </a:cubicBezTo>
                <a:cubicBezTo>
                  <a:pt x="216" y="0"/>
                  <a:pt x="216" y="0"/>
                  <a:pt x="216" y="0"/>
                </a:cubicBezTo>
                <a:cubicBezTo>
                  <a:pt x="216" y="117"/>
                  <a:pt x="216" y="117"/>
                  <a:pt x="216" y="117"/>
                </a:cubicBezTo>
                <a:cubicBezTo>
                  <a:pt x="216" y="117"/>
                  <a:pt x="216" y="117"/>
                  <a:pt x="216" y="117"/>
                </a:cubicBezTo>
                <a:cubicBezTo>
                  <a:pt x="216" y="117"/>
                  <a:pt x="216" y="117"/>
                  <a:pt x="216" y="117"/>
                </a:cubicBezTo>
                <a:cubicBezTo>
                  <a:pt x="216" y="117"/>
                  <a:pt x="216" y="117"/>
                  <a:pt x="216" y="117"/>
                </a:cubicBezTo>
                <a:close/>
                <a:moveTo>
                  <a:pt x="0" y="158"/>
                </a:moveTo>
                <a:cubicBezTo>
                  <a:pt x="0" y="162"/>
                  <a:pt x="4" y="166"/>
                  <a:pt x="8" y="166"/>
                </a:cubicBezTo>
                <a:cubicBezTo>
                  <a:pt x="241" y="166"/>
                  <a:pt x="241" y="166"/>
                  <a:pt x="241" y="166"/>
                </a:cubicBezTo>
                <a:cubicBezTo>
                  <a:pt x="245" y="166"/>
                  <a:pt x="249" y="162"/>
                  <a:pt x="249" y="158"/>
                </a:cubicBezTo>
                <a:cubicBezTo>
                  <a:pt x="249" y="153"/>
                  <a:pt x="247" y="149"/>
                  <a:pt x="245" y="145"/>
                </a:cubicBezTo>
                <a:cubicBezTo>
                  <a:pt x="216" y="116"/>
                  <a:pt x="216" y="116"/>
                  <a:pt x="216" y="116"/>
                </a:cubicBezTo>
                <a:cubicBezTo>
                  <a:pt x="33" y="116"/>
                  <a:pt x="33" y="116"/>
                  <a:pt x="33" y="116"/>
                </a:cubicBezTo>
                <a:cubicBezTo>
                  <a:pt x="4" y="145"/>
                  <a:pt x="4" y="145"/>
                  <a:pt x="4" y="145"/>
                </a:cubicBezTo>
                <a:cubicBezTo>
                  <a:pt x="1" y="149"/>
                  <a:pt x="0" y="153"/>
                  <a:pt x="0" y="158"/>
                </a:cubicBezTo>
                <a:cubicBezTo>
                  <a:pt x="0" y="158"/>
                  <a:pt x="0" y="158"/>
                  <a:pt x="0" y="158"/>
                </a:cubicBezTo>
                <a:cubicBezTo>
                  <a:pt x="0" y="158"/>
                  <a:pt x="0" y="158"/>
                  <a:pt x="0" y="158"/>
                </a:cubicBezTo>
                <a:close/>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6" name="Freeform 69">
            <a:extLst>
              <a:ext uri="{FF2B5EF4-FFF2-40B4-BE49-F238E27FC236}">
                <a16:creationId xmlns:a16="http://schemas.microsoft.com/office/drawing/2014/main" id="{8E92C6D9-B8B0-409A-8F17-2344B48CFD8C}"/>
              </a:ext>
              <a:ext uri="{C183D7F6-B498-43B3-948B-1728B52AA6E4}">
                <adec:decorative xmlns:adec="http://schemas.microsoft.com/office/drawing/2017/decorative" val="1"/>
              </a:ext>
            </a:extLst>
          </p:cNvPr>
          <p:cNvSpPr>
            <a:spLocks noEditPoints="1"/>
          </p:cNvSpPr>
          <p:nvPr/>
        </p:nvSpPr>
        <p:spPr bwMode="auto">
          <a:xfrm>
            <a:off x="1266752" y="3824089"/>
            <a:ext cx="90484" cy="99379"/>
          </a:xfrm>
          <a:custGeom>
            <a:avLst/>
            <a:gdLst>
              <a:gd name="T0" fmla="*/ 24 w 47"/>
              <a:gd name="T1" fmla="*/ 0 h 53"/>
              <a:gd name="T2" fmla="*/ 7 w 47"/>
              <a:gd name="T3" fmla="*/ 17 h 53"/>
              <a:gd name="T4" fmla="*/ 24 w 47"/>
              <a:gd name="T5" fmla="*/ 34 h 53"/>
              <a:gd name="T6" fmla="*/ 41 w 47"/>
              <a:gd name="T7" fmla="*/ 17 h 53"/>
              <a:gd name="T8" fmla="*/ 24 w 47"/>
              <a:gd name="T9" fmla="*/ 0 h 53"/>
              <a:gd name="T10" fmla="*/ 47 w 47"/>
              <a:gd name="T11" fmla="*/ 53 h 53"/>
              <a:gd name="T12" fmla="*/ 24 w 47"/>
              <a:gd name="T13" fmla="*/ 34 h 53"/>
              <a:gd name="T14" fmla="*/ 0 w 47"/>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3">
                <a:moveTo>
                  <a:pt x="24" y="0"/>
                </a:moveTo>
                <a:cubicBezTo>
                  <a:pt x="14" y="0"/>
                  <a:pt x="7" y="8"/>
                  <a:pt x="7" y="17"/>
                </a:cubicBezTo>
                <a:cubicBezTo>
                  <a:pt x="7" y="26"/>
                  <a:pt x="14" y="34"/>
                  <a:pt x="24" y="34"/>
                </a:cubicBezTo>
                <a:cubicBezTo>
                  <a:pt x="33" y="34"/>
                  <a:pt x="41" y="26"/>
                  <a:pt x="41" y="17"/>
                </a:cubicBezTo>
                <a:cubicBezTo>
                  <a:pt x="41" y="8"/>
                  <a:pt x="33" y="0"/>
                  <a:pt x="24" y="0"/>
                </a:cubicBezTo>
                <a:close/>
                <a:moveTo>
                  <a:pt x="47" y="53"/>
                </a:moveTo>
                <a:cubicBezTo>
                  <a:pt x="45" y="42"/>
                  <a:pt x="35" y="34"/>
                  <a:pt x="24" y="34"/>
                </a:cubicBezTo>
                <a:cubicBezTo>
                  <a:pt x="12" y="34"/>
                  <a:pt x="3" y="42"/>
                  <a:pt x="0" y="53"/>
                </a:cubicBezTo>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7" name="Freeform 70">
            <a:extLst>
              <a:ext uri="{FF2B5EF4-FFF2-40B4-BE49-F238E27FC236}">
                <a16:creationId xmlns:a16="http://schemas.microsoft.com/office/drawing/2014/main" id="{790DAEDB-5A22-4734-8D3F-F9BFA15235B8}"/>
              </a:ext>
              <a:ext uri="{C183D7F6-B498-43B3-948B-1728B52AA6E4}">
                <adec:decorative xmlns:adec="http://schemas.microsoft.com/office/drawing/2017/decorative" val="1"/>
              </a:ext>
            </a:extLst>
          </p:cNvPr>
          <p:cNvSpPr>
            <a:spLocks noEditPoints="1"/>
          </p:cNvSpPr>
          <p:nvPr/>
        </p:nvSpPr>
        <p:spPr bwMode="auto">
          <a:xfrm>
            <a:off x="1068383" y="3764462"/>
            <a:ext cx="483741" cy="304762"/>
          </a:xfrm>
          <a:custGeom>
            <a:avLst/>
            <a:gdLst>
              <a:gd name="T0" fmla="*/ 216 w 249"/>
              <a:gd name="T1" fmla="*/ 117 h 166"/>
              <a:gd name="T2" fmla="*/ 33 w 249"/>
              <a:gd name="T3" fmla="*/ 117 h 166"/>
              <a:gd name="T4" fmla="*/ 33 w 249"/>
              <a:gd name="T5" fmla="*/ 0 h 166"/>
              <a:gd name="T6" fmla="*/ 216 w 249"/>
              <a:gd name="T7" fmla="*/ 0 h 166"/>
              <a:gd name="T8" fmla="*/ 216 w 249"/>
              <a:gd name="T9" fmla="*/ 117 h 166"/>
              <a:gd name="T10" fmla="*/ 216 w 249"/>
              <a:gd name="T11" fmla="*/ 117 h 166"/>
              <a:gd name="T12" fmla="*/ 216 w 249"/>
              <a:gd name="T13" fmla="*/ 117 h 166"/>
              <a:gd name="T14" fmla="*/ 216 w 249"/>
              <a:gd name="T15" fmla="*/ 117 h 166"/>
              <a:gd name="T16" fmla="*/ 0 w 249"/>
              <a:gd name="T17" fmla="*/ 158 h 166"/>
              <a:gd name="T18" fmla="*/ 8 w 249"/>
              <a:gd name="T19" fmla="*/ 166 h 166"/>
              <a:gd name="T20" fmla="*/ 241 w 249"/>
              <a:gd name="T21" fmla="*/ 166 h 166"/>
              <a:gd name="T22" fmla="*/ 249 w 249"/>
              <a:gd name="T23" fmla="*/ 158 h 166"/>
              <a:gd name="T24" fmla="*/ 245 w 249"/>
              <a:gd name="T25" fmla="*/ 145 h 166"/>
              <a:gd name="T26" fmla="*/ 216 w 249"/>
              <a:gd name="T27" fmla="*/ 116 h 166"/>
              <a:gd name="T28" fmla="*/ 33 w 249"/>
              <a:gd name="T29" fmla="*/ 116 h 166"/>
              <a:gd name="T30" fmla="*/ 4 w 249"/>
              <a:gd name="T31" fmla="*/ 145 h 166"/>
              <a:gd name="T32" fmla="*/ 0 w 249"/>
              <a:gd name="T33" fmla="*/ 158 h 166"/>
              <a:gd name="T34" fmla="*/ 0 w 249"/>
              <a:gd name="T35" fmla="*/ 158 h 166"/>
              <a:gd name="T36" fmla="*/ 0 w 249"/>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166">
                <a:moveTo>
                  <a:pt x="216" y="117"/>
                </a:moveTo>
                <a:cubicBezTo>
                  <a:pt x="33" y="117"/>
                  <a:pt x="33" y="117"/>
                  <a:pt x="33" y="117"/>
                </a:cubicBezTo>
                <a:cubicBezTo>
                  <a:pt x="33" y="0"/>
                  <a:pt x="33" y="0"/>
                  <a:pt x="33" y="0"/>
                </a:cubicBezTo>
                <a:cubicBezTo>
                  <a:pt x="216" y="0"/>
                  <a:pt x="216" y="0"/>
                  <a:pt x="216" y="0"/>
                </a:cubicBezTo>
                <a:cubicBezTo>
                  <a:pt x="216" y="117"/>
                  <a:pt x="216" y="117"/>
                  <a:pt x="216" y="117"/>
                </a:cubicBezTo>
                <a:cubicBezTo>
                  <a:pt x="216" y="117"/>
                  <a:pt x="216" y="117"/>
                  <a:pt x="216" y="117"/>
                </a:cubicBezTo>
                <a:cubicBezTo>
                  <a:pt x="216" y="117"/>
                  <a:pt x="216" y="117"/>
                  <a:pt x="216" y="117"/>
                </a:cubicBezTo>
                <a:cubicBezTo>
                  <a:pt x="216" y="117"/>
                  <a:pt x="216" y="117"/>
                  <a:pt x="216" y="117"/>
                </a:cubicBezTo>
                <a:close/>
                <a:moveTo>
                  <a:pt x="0" y="158"/>
                </a:moveTo>
                <a:cubicBezTo>
                  <a:pt x="0" y="162"/>
                  <a:pt x="4" y="166"/>
                  <a:pt x="8" y="166"/>
                </a:cubicBezTo>
                <a:cubicBezTo>
                  <a:pt x="241" y="166"/>
                  <a:pt x="241" y="166"/>
                  <a:pt x="241" y="166"/>
                </a:cubicBezTo>
                <a:cubicBezTo>
                  <a:pt x="245" y="166"/>
                  <a:pt x="249" y="162"/>
                  <a:pt x="249" y="158"/>
                </a:cubicBezTo>
                <a:cubicBezTo>
                  <a:pt x="249" y="153"/>
                  <a:pt x="248" y="149"/>
                  <a:pt x="245" y="145"/>
                </a:cubicBezTo>
                <a:cubicBezTo>
                  <a:pt x="216" y="116"/>
                  <a:pt x="216" y="116"/>
                  <a:pt x="216" y="116"/>
                </a:cubicBezTo>
                <a:cubicBezTo>
                  <a:pt x="33" y="116"/>
                  <a:pt x="33" y="116"/>
                  <a:pt x="33" y="116"/>
                </a:cubicBezTo>
                <a:cubicBezTo>
                  <a:pt x="4" y="145"/>
                  <a:pt x="4" y="145"/>
                  <a:pt x="4" y="145"/>
                </a:cubicBezTo>
                <a:cubicBezTo>
                  <a:pt x="2" y="149"/>
                  <a:pt x="0" y="153"/>
                  <a:pt x="0" y="158"/>
                </a:cubicBezTo>
                <a:cubicBezTo>
                  <a:pt x="0" y="158"/>
                  <a:pt x="0" y="158"/>
                  <a:pt x="0" y="158"/>
                </a:cubicBezTo>
                <a:cubicBezTo>
                  <a:pt x="0" y="158"/>
                  <a:pt x="0" y="158"/>
                  <a:pt x="0" y="158"/>
                </a:cubicBezTo>
                <a:close/>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8" name="Freeform 71">
            <a:extLst>
              <a:ext uri="{FF2B5EF4-FFF2-40B4-BE49-F238E27FC236}">
                <a16:creationId xmlns:a16="http://schemas.microsoft.com/office/drawing/2014/main" id="{A52E2B85-310D-45BB-B779-B12FF1C8A12E}"/>
              </a:ext>
              <a:ext uri="{C183D7F6-B498-43B3-948B-1728B52AA6E4}">
                <adec:decorative xmlns:adec="http://schemas.microsoft.com/office/drawing/2017/decorative" val="1"/>
              </a:ext>
            </a:extLst>
          </p:cNvPr>
          <p:cNvSpPr>
            <a:spLocks noEditPoints="1"/>
          </p:cNvSpPr>
          <p:nvPr/>
        </p:nvSpPr>
        <p:spPr bwMode="auto">
          <a:xfrm>
            <a:off x="1834015" y="3824089"/>
            <a:ext cx="90484" cy="99379"/>
          </a:xfrm>
          <a:custGeom>
            <a:avLst/>
            <a:gdLst>
              <a:gd name="T0" fmla="*/ 23 w 46"/>
              <a:gd name="T1" fmla="*/ 0 h 53"/>
              <a:gd name="T2" fmla="*/ 6 w 46"/>
              <a:gd name="T3" fmla="*/ 17 h 53"/>
              <a:gd name="T4" fmla="*/ 23 w 46"/>
              <a:gd name="T5" fmla="*/ 34 h 53"/>
              <a:gd name="T6" fmla="*/ 40 w 46"/>
              <a:gd name="T7" fmla="*/ 17 h 53"/>
              <a:gd name="T8" fmla="*/ 23 w 46"/>
              <a:gd name="T9" fmla="*/ 0 h 53"/>
              <a:gd name="T10" fmla="*/ 46 w 46"/>
              <a:gd name="T11" fmla="*/ 53 h 53"/>
              <a:gd name="T12" fmla="*/ 23 w 46"/>
              <a:gd name="T13" fmla="*/ 34 h 53"/>
              <a:gd name="T14" fmla="*/ 0 w 46"/>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53">
                <a:moveTo>
                  <a:pt x="23" y="0"/>
                </a:moveTo>
                <a:cubicBezTo>
                  <a:pt x="14" y="0"/>
                  <a:pt x="6" y="8"/>
                  <a:pt x="6" y="17"/>
                </a:cubicBezTo>
                <a:cubicBezTo>
                  <a:pt x="6" y="26"/>
                  <a:pt x="14" y="34"/>
                  <a:pt x="23" y="34"/>
                </a:cubicBezTo>
                <a:cubicBezTo>
                  <a:pt x="32" y="34"/>
                  <a:pt x="40" y="26"/>
                  <a:pt x="40" y="17"/>
                </a:cubicBezTo>
                <a:cubicBezTo>
                  <a:pt x="40" y="8"/>
                  <a:pt x="32" y="0"/>
                  <a:pt x="23" y="0"/>
                </a:cubicBezTo>
                <a:close/>
                <a:moveTo>
                  <a:pt x="46" y="53"/>
                </a:moveTo>
                <a:cubicBezTo>
                  <a:pt x="44" y="42"/>
                  <a:pt x="34" y="34"/>
                  <a:pt x="23" y="34"/>
                </a:cubicBezTo>
                <a:cubicBezTo>
                  <a:pt x="12" y="34"/>
                  <a:pt x="2" y="42"/>
                  <a:pt x="0" y="53"/>
                </a:cubicBezTo>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99" name="Freeform 72">
            <a:extLst>
              <a:ext uri="{FF2B5EF4-FFF2-40B4-BE49-F238E27FC236}">
                <a16:creationId xmlns:a16="http://schemas.microsoft.com/office/drawing/2014/main" id="{804401D5-3665-460F-B194-B54CCB859618}"/>
              </a:ext>
              <a:ext uri="{C183D7F6-B498-43B3-948B-1728B52AA6E4}">
                <adec:decorative xmlns:adec="http://schemas.microsoft.com/office/drawing/2017/decorative" val="1"/>
              </a:ext>
            </a:extLst>
          </p:cNvPr>
          <p:cNvSpPr>
            <a:spLocks noEditPoints="1"/>
          </p:cNvSpPr>
          <p:nvPr/>
        </p:nvSpPr>
        <p:spPr bwMode="auto">
          <a:xfrm>
            <a:off x="1635648" y="3764462"/>
            <a:ext cx="483741" cy="304762"/>
          </a:xfrm>
          <a:custGeom>
            <a:avLst/>
            <a:gdLst>
              <a:gd name="T0" fmla="*/ 217 w 250"/>
              <a:gd name="T1" fmla="*/ 117 h 166"/>
              <a:gd name="T2" fmla="*/ 33 w 250"/>
              <a:gd name="T3" fmla="*/ 117 h 166"/>
              <a:gd name="T4" fmla="*/ 33 w 250"/>
              <a:gd name="T5" fmla="*/ 0 h 166"/>
              <a:gd name="T6" fmla="*/ 217 w 250"/>
              <a:gd name="T7" fmla="*/ 0 h 166"/>
              <a:gd name="T8" fmla="*/ 217 w 250"/>
              <a:gd name="T9" fmla="*/ 117 h 166"/>
              <a:gd name="T10" fmla="*/ 217 w 250"/>
              <a:gd name="T11" fmla="*/ 117 h 166"/>
              <a:gd name="T12" fmla="*/ 217 w 250"/>
              <a:gd name="T13" fmla="*/ 117 h 166"/>
              <a:gd name="T14" fmla="*/ 217 w 250"/>
              <a:gd name="T15" fmla="*/ 117 h 166"/>
              <a:gd name="T16" fmla="*/ 0 w 250"/>
              <a:gd name="T17" fmla="*/ 158 h 166"/>
              <a:gd name="T18" fmla="*/ 9 w 250"/>
              <a:gd name="T19" fmla="*/ 166 h 166"/>
              <a:gd name="T20" fmla="*/ 241 w 250"/>
              <a:gd name="T21" fmla="*/ 166 h 166"/>
              <a:gd name="T22" fmla="*/ 250 w 250"/>
              <a:gd name="T23" fmla="*/ 158 h 166"/>
              <a:gd name="T24" fmla="*/ 246 w 250"/>
              <a:gd name="T25" fmla="*/ 145 h 166"/>
              <a:gd name="T26" fmla="*/ 217 w 250"/>
              <a:gd name="T27" fmla="*/ 116 h 166"/>
              <a:gd name="T28" fmla="*/ 33 w 250"/>
              <a:gd name="T29" fmla="*/ 116 h 166"/>
              <a:gd name="T30" fmla="*/ 4 w 250"/>
              <a:gd name="T31" fmla="*/ 145 h 166"/>
              <a:gd name="T32" fmla="*/ 0 w 250"/>
              <a:gd name="T33" fmla="*/ 158 h 166"/>
              <a:gd name="T34" fmla="*/ 0 w 250"/>
              <a:gd name="T35" fmla="*/ 158 h 166"/>
              <a:gd name="T36" fmla="*/ 0 w 250"/>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 h="166">
                <a:moveTo>
                  <a:pt x="217" y="117"/>
                </a:moveTo>
                <a:cubicBezTo>
                  <a:pt x="33" y="117"/>
                  <a:pt x="33" y="117"/>
                  <a:pt x="33" y="117"/>
                </a:cubicBezTo>
                <a:cubicBezTo>
                  <a:pt x="33" y="0"/>
                  <a:pt x="33" y="0"/>
                  <a:pt x="33" y="0"/>
                </a:cubicBezTo>
                <a:cubicBezTo>
                  <a:pt x="217" y="0"/>
                  <a:pt x="217" y="0"/>
                  <a:pt x="217" y="0"/>
                </a:cubicBezTo>
                <a:cubicBezTo>
                  <a:pt x="217" y="117"/>
                  <a:pt x="217" y="117"/>
                  <a:pt x="217" y="117"/>
                </a:cubicBezTo>
                <a:cubicBezTo>
                  <a:pt x="217" y="117"/>
                  <a:pt x="217" y="117"/>
                  <a:pt x="217" y="117"/>
                </a:cubicBezTo>
                <a:cubicBezTo>
                  <a:pt x="217" y="117"/>
                  <a:pt x="217" y="117"/>
                  <a:pt x="217" y="117"/>
                </a:cubicBezTo>
                <a:cubicBezTo>
                  <a:pt x="217" y="117"/>
                  <a:pt x="217" y="117"/>
                  <a:pt x="217" y="117"/>
                </a:cubicBezTo>
                <a:close/>
                <a:moveTo>
                  <a:pt x="0" y="158"/>
                </a:moveTo>
                <a:cubicBezTo>
                  <a:pt x="0" y="162"/>
                  <a:pt x="4" y="166"/>
                  <a:pt x="9" y="166"/>
                </a:cubicBezTo>
                <a:cubicBezTo>
                  <a:pt x="241" y="166"/>
                  <a:pt x="241" y="166"/>
                  <a:pt x="241" y="166"/>
                </a:cubicBezTo>
                <a:cubicBezTo>
                  <a:pt x="246" y="166"/>
                  <a:pt x="250" y="162"/>
                  <a:pt x="250" y="158"/>
                </a:cubicBezTo>
                <a:cubicBezTo>
                  <a:pt x="250" y="153"/>
                  <a:pt x="248" y="149"/>
                  <a:pt x="246" y="145"/>
                </a:cubicBezTo>
                <a:cubicBezTo>
                  <a:pt x="217" y="116"/>
                  <a:pt x="217" y="116"/>
                  <a:pt x="217" y="116"/>
                </a:cubicBezTo>
                <a:cubicBezTo>
                  <a:pt x="33" y="116"/>
                  <a:pt x="33" y="116"/>
                  <a:pt x="33" y="116"/>
                </a:cubicBezTo>
                <a:cubicBezTo>
                  <a:pt x="4" y="145"/>
                  <a:pt x="4" y="145"/>
                  <a:pt x="4" y="145"/>
                </a:cubicBezTo>
                <a:cubicBezTo>
                  <a:pt x="2" y="149"/>
                  <a:pt x="0" y="153"/>
                  <a:pt x="0" y="158"/>
                </a:cubicBezTo>
                <a:cubicBezTo>
                  <a:pt x="0" y="158"/>
                  <a:pt x="0" y="158"/>
                  <a:pt x="0" y="158"/>
                </a:cubicBezTo>
                <a:cubicBezTo>
                  <a:pt x="0" y="158"/>
                  <a:pt x="0" y="158"/>
                  <a:pt x="0" y="158"/>
                </a:cubicBezTo>
                <a:close/>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00" name="Freeform 73">
            <a:extLst>
              <a:ext uri="{FF2B5EF4-FFF2-40B4-BE49-F238E27FC236}">
                <a16:creationId xmlns:a16="http://schemas.microsoft.com/office/drawing/2014/main" id="{E4768EFD-6CBF-441F-B59E-75A1D9BEDDA7}"/>
              </a:ext>
              <a:ext uri="{C183D7F6-B498-43B3-948B-1728B52AA6E4}">
                <adec:decorative xmlns:adec="http://schemas.microsoft.com/office/drawing/2017/decorative" val="1"/>
              </a:ext>
            </a:extLst>
          </p:cNvPr>
          <p:cNvSpPr>
            <a:spLocks noEditPoints="1"/>
          </p:cNvSpPr>
          <p:nvPr/>
        </p:nvSpPr>
        <p:spPr bwMode="auto">
          <a:xfrm>
            <a:off x="699487" y="4244792"/>
            <a:ext cx="90484" cy="99379"/>
          </a:xfrm>
          <a:custGeom>
            <a:avLst/>
            <a:gdLst>
              <a:gd name="T0" fmla="*/ 23 w 47"/>
              <a:gd name="T1" fmla="*/ 0 h 53"/>
              <a:gd name="T2" fmla="*/ 6 w 47"/>
              <a:gd name="T3" fmla="*/ 17 h 53"/>
              <a:gd name="T4" fmla="*/ 23 w 47"/>
              <a:gd name="T5" fmla="*/ 34 h 53"/>
              <a:gd name="T6" fmla="*/ 40 w 47"/>
              <a:gd name="T7" fmla="*/ 17 h 53"/>
              <a:gd name="T8" fmla="*/ 23 w 47"/>
              <a:gd name="T9" fmla="*/ 0 h 53"/>
              <a:gd name="T10" fmla="*/ 47 w 47"/>
              <a:gd name="T11" fmla="*/ 53 h 53"/>
              <a:gd name="T12" fmla="*/ 23 w 47"/>
              <a:gd name="T13" fmla="*/ 34 h 53"/>
              <a:gd name="T14" fmla="*/ 0 w 47"/>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3">
                <a:moveTo>
                  <a:pt x="23" y="0"/>
                </a:moveTo>
                <a:cubicBezTo>
                  <a:pt x="14" y="0"/>
                  <a:pt x="6" y="8"/>
                  <a:pt x="6" y="17"/>
                </a:cubicBezTo>
                <a:cubicBezTo>
                  <a:pt x="6" y="27"/>
                  <a:pt x="14" y="34"/>
                  <a:pt x="23" y="34"/>
                </a:cubicBezTo>
                <a:cubicBezTo>
                  <a:pt x="33" y="34"/>
                  <a:pt x="40" y="27"/>
                  <a:pt x="40" y="17"/>
                </a:cubicBezTo>
                <a:cubicBezTo>
                  <a:pt x="40" y="8"/>
                  <a:pt x="33" y="0"/>
                  <a:pt x="23" y="0"/>
                </a:cubicBezTo>
                <a:close/>
                <a:moveTo>
                  <a:pt x="47" y="53"/>
                </a:moveTo>
                <a:cubicBezTo>
                  <a:pt x="44" y="42"/>
                  <a:pt x="35" y="34"/>
                  <a:pt x="23" y="34"/>
                </a:cubicBezTo>
                <a:cubicBezTo>
                  <a:pt x="12" y="34"/>
                  <a:pt x="2" y="42"/>
                  <a:pt x="0" y="53"/>
                </a:cubicBezTo>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01" name="Freeform 74">
            <a:extLst>
              <a:ext uri="{FF2B5EF4-FFF2-40B4-BE49-F238E27FC236}">
                <a16:creationId xmlns:a16="http://schemas.microsoft.com/office/drawing/2014/main" id="{409BE993-244F-46B8-B77B-F0ABDB9ABDFE}"/>
              </a:ext>
              <a:ext uri="{C183D7F6-B498-43B3-948B-1728B52AA6E4}">
                <adec:decorative xmlns:adec="http://schemas.microsoft.com/office/drawing/2017/decorative" val="1"/>
              </a:ext>
            </a:extLst>
          </p:cNvPr>
          <p:cNvSpPr>
            <a:spLocks noEditPoints="1"/>
          </p:cNvSpPr>
          <p:nvPr/>
        </p:nvSpPr>
        <p:spPr bwMode="auto">
          <a:xfrm>
            <a:off x="504599" y="4185165"/>
            <a:ext cx="480260" cy="304762"/>
          </a:xfrm>
          <a:custGeom>
            <a:avLst/>
            <a:gdLst>
              <a:gd name="T0" fmla="*/ 216 w 249"/>
              <a:gd name="T1" fmla="*/ 117 h 166"/>
              <a:gd name="T2" fmla="*/ 33 w 249"/>
              <a:gd name="T3" fmla="*/ 117 h 166"/>
              <a:gd name="T4" fmla="*/ 33 w 249"/>
              <a:gd name="T5" fmla="*/ 0 h 166"/>
              <a:gd name="T6" fmla="*/ 216 w 249"/>
              <a:gd name="T7" fmla="*/ 0 h 166"/>
              <a:gd name="T8" fmla="*/ 216 w 249"/>
              <a:gd name="T9" fmla="*/ 117 h 166"/>
              <a:gd name="T10" fmla="*/ 216 w 249"/>
              <a:gd name="T11" fmla="*/ 117 h 166"/>
              <a:gd name="T12" fmla="*/ 216 w 249"/>
              <a:gd name="T13" fmla="*/ 117 h 166"/>
              <a:gd name="T14" fmla="*/ 216 w 249"/>
              <a:gd name="T15" fmla="*/ 117 h 166"/>
              <a:gd name="T16" fmla="*/ 0 w 249"/>
              <a:gd name="T17" fmla="*/ 158 h 166"/>
              <a:gd name="T18" fmla="*/ 8 w 249"/>
              <a:gd name="T19" fmla="*/ 166 h 166"/>
              <a:gd name="T20" fmla="*/ 241 w 249"/>
              <a:gd name="T21" fmla="*/ 166 h 166"/>
              <a:gd name="T22" fmla="*/ 249 w 249"/>
              <a:gd name="T23" fmla="*/ 158 h 166"/>
              <a:gd name="T24" fmla="*/ 245 w 249"/>
              <a:gd name="T25" fmla="*/ 145 h 166"/>
              <a:gd name="T26" fmla="*/ 216 w 249"/>
              <a:gd name="T27" fmla="*/ 116 h 166"/>
              <a:gd name="T28" fmla="*/ 33 w 249"/>
              <a:gd name="T29" fmla="*/ 116 h 166"/>
              <a:gd name="T30" fmla="*/ 4 w 249"/>
              <a:gd name="T31" fmla="*/ 145 h 166"/>
              <a:gd name="T32" fmla="*/ 0 w 249"/>
              <a:gd name="T33" fmla="*/ 158 h 166"/>
              <a:gd name="T34" fmla="*/ 0 w 249"/>
              <a:gd name="T35" fmla="*/ 158 h 166"/>
              <a:gd name="T36" fmla="*/ 0 w 249"/>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166">
                <a:moveTo>
                  <a:pt x="216" y="117"/>
                </a:moveTo>
                <a:cubicBezTo>
                  <a:pt x="33" y="117"/>
                  <a:pt x="33" y="117"/>
                  <a:pt x="33" y="117"/>
                </a:cubicBezTo>
                <a:cubicBezTo>
                  <a:pt x="33" y="0"/>
                  <a:pt x="33" y="0"/>
                  <a:pt x="33" y="0"/>
                </a:cubicBezTo>
                <a:cubicBezTo>
                  <a:pt x="216" y="0"/>
                  <a:pt x="216" y="0"/>
                  <a:pt x="216" y="0"/>
                </a:cubicBezTo>
                <a:cubicBezTo>
                  <a:pt x="216" y="117"/>
                  <a:pt x="216" y="117"/>
                  <a:pt x="216" y="117"/>
                </a:cubicBezTo>
                <a:cubicBezTo>
                  <a:pt x="216" y="117"/>
                  <a:pt x="216" y="117"/>
                  <a:pt x="216" y="117"/>
                </a:cubicBezTo>
                <a:cubicBezTo>
                  <a:pt x="216" y="117"/>
                  <a:pt x="216" y="117"/>
                  <a:pt x="216" y="117"/>
                </a:cubicBezTo>
                <a:cubicBezTo>
                  <a:pt x="216" y="117"/>
                  <a:pt x="216" y="117"/>
                  <a:pt x="216" y="117"/>
                </a:cubicBezTo>
                <a:close/>
                <a:moveTo>
                  <a:pt x="0" y="158"/>
                </a:moveTo>
                <a:cubicBezTo>
                  <a:pt x="0" y="163"/>
                  <a:pt x="4" y="166"/>
                  <a:pt x="8" y="166"/>
                </a:cubicBezTo>
                <a:cubicBezTo>
                  <a:pt x="241" y="166"/>
                  <a:pt x="241" y="166"/>
                  <a:pt x="241" y="166"/>
                </a:cubicBezTo>
                <a:cubicBezTo>
                  <a:pt x="245" y="166"/>
                  <a:pt x="249" y="163"/>
                  <a:pt x="249" y="158"/>
                </a:cubicBezTo>
                <a:cubicBezTo>
                  <a:pt x="249" y="153"/>
                  <a:pt x="247" y="149"/>
                  <a:pt x="245" y="145"/>
                </a:cubicBezTo>
                <a:cubicBezTo>
                  <a:pt x="216" y="116"/>
                  <a:pt x="216" y="116"/>
                  <a:pt x="216" y="116"/>
                </a:cubicBezTo>
                <a:cubicBezTo>
                  <a:pt x="33" y="116"/>
                  <a:pt x="33" y="116"/>
                  <a:pt x="33" y="116"/>
                </a:cubicBezTo>
                <a:cubicBezTo>
                  <a:pt x="4" y="145"/>
                  <a:pt x="4" y="145"/>
                  <a:pt x="4" y="145"/>
                </a:cubicBezTo>
                <a:cubicBezTo>
                  <a:pt x="1" y="149"/>
                  <a:pt x="0" y="153"/>
                  <a:pt x="0" y="158"/>
                </a:cubicBezTo>
                <a:cubicBezTo>
                  <a:pt x="0" y="158"/>
                  <a:pt x="0" y="158"/>
                  <a:pt x="0" y="158"/>
                </a:cubicBezTo>
                <a:cubicBezTo>
                  <a:pt x="0" y="158"/>
                  <a:pt x="0" y="158"/>
                  <a:pt x="0" y="158"/>
                </a:cubicBezTo>
                <a:close/>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02" name="Freeform 75">
            <a:extLst>
              <a:ext uri="{FF2B5EF4-FFF2-40B4-BE49-F238E27FC236}">
                <a16:creationId xmlns:a16="http://schemas.microsoft.com/office/drawing/2014/main" id="{214593AD-D60A-44A1-90C7-2BD005160A28}"/>
              </a:ext>
              <a:ext uri="{C183D7F6-B498-43B3-948B-1728B52AA6E4}">
                <adec:decorative xmlns:adec="http://schemas.microsoft.com/office/drawing/2017/decorative" val="1"/>
              </a:ext>
            </a:extLst>
          </p:cNvPr>
          <p:cNvSpPr>
            <a:spLocks noEditPoints="1"/>
          </p:cNvSpPr>
          <p:nvPr/>
        </p:nvSpPr>
        <p:spPr bwMode="auto">
          <a:xfrm>
            <a:off x="1266752" y="4244792"/>
            <a:ext cx="90484" cy="99379"/>
          </a:xfrm>
          <a:custGeom>
            <a:avLst/>
            <a:gdLst>
              <a:gd name="T0" fmla="*/ 24 w 47"/>
              <a:gd name="T1" fmla="*/ 0 h 53"/>
              <a:gd name="T2" fmla="*/ 7 w 47"/>
              <a:gd name="T3" fmla="*/ 17 h 53"/>
              <a:gd name="T4" fmla="*/ 24 w 47"/>
              <a:gd name="T5" fmla="*/ 34 h 53"/>
              <a:gd name="T6" fmla="*/ 41 w 47"/>
              <a:gd name="T7" fmla="*/ 17 h 53"/>
              <a:gd name="T8" fmla="*/ 24 w 47"/>
              <a:gd name="T9" fmla="*/ 0 h 53"/>
              <a:gd name="T10" fmla="*/ 47 w 47"/>
              <a:gd name="T11" fmla="*/ 53 h 53"/>
              <a:gd name="T12" fmla="*/ 24 w 47"/>
              <a:gd name="T13" fmla="*/ 34 h 53"/>
              <a:gd name="T14" fmla="*/ 0 w 47"/>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3">
                <a:moveTo>
                  <a:pt x="24" y="0"/>
                </a:moveTo>
                <a:cubicBezTo>
                  <a:pt x="14" y="0"/>
                  <a:pt x="7" y="8"/>
                  <a:pt x="7" y="17"/>
                </a:cubicBezTo>
                <a:cubicBezTo>
                  <a:pt x="7" y="27"/>
                  <a:pt x="14" y="34"/>
                  <a:pt x="24" y="34"/>
                </a:cubicBezTo>
                <a:cubicBezTo>
                  <a:pt x="33" y="34"/>
                  <a:pt x="41" y="27"/>
                  <a:pt x="41" y="17"/>
                </a:cubicBezTo>
                <a:cubicBezTo>
                  <a:pt x="41" y="8"/>
                  <a:pt x="33" y="0"/>
                  <a:pt x="24" y="0"/>
                </a:cubicBezTo>
                <a:close/>
                <a:moveTo>
                  <a:pt x="47" y="53"/>
                </a:moveTo>
                <a:cubicBezTo>
                  <a:pt x="45" y="42"/>
                  <a:pt x="35" y="34"/>
                  <a:pt x="24" y="34"/>
                </a:cubicBezTo>
                <a:cubicBezTo>
                  <a:pt x="12" y="34"/>
                  <a:pt x="3" y="42"/>
                  <a:pt x="0" y="53"/>
                </a:cubicBezTo>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03" name="Freeform 76">
            <a:extLst>
              <a:ext uri="{FF2B5EF4-FFF2-40B4-BE49-F238E27FC236}">
                <a16:creationId xmlns:a16="http://schemas.microsoft.com/office/drawing/2014/main" id="{3CC14F07-F47C-4D65-9CC2-8BD00E6C1D77}"/>
              </a:ext>
              <a:ext uri="{C183D7F6-B498-43B3-948B-1728B52AA6E4}">
                <adec:decorative xmlns:adec="http://schemas.microsoft.com/office/drawing/2017/decorative" val="1"/>
              </a:ext>
            </a:extLst>
          </p:cNvPr>
          <p:cNvSpPr>
            <a:spLocks noEditPoints="1"/>
          </p:cNvSpPr>
          <p:nvPr/>
        </p:nvSpPr>
        <p:spPr bwMode="auto">
          <a:xfrm>
            <a:off x="1068383" y="4185165"/>
            <a:ext cx="483741" cy="304762"/>
          </a:xfrm>
          <a:custGeom>
            <a:avLst/>
            <a:gdLst>
              <a:gd name="T0" fmla="*/ 216 w 249"/>
              <a:gd name="T1" fmla="*/ 117 h 166"/>
              <a:gd name="T2" fmla="*/ 33 w 249"/>
              <a:gd name="T3" fmla="*/ 117 h 166"/>
              <a:gd name="T4" fmla="*/ 33 w 249"/>
              <a:gd name="T5" fmla="*/ 0 h 166"/>
              <a:gd name="T6" fmla="*/ 216 w 249"/>
              <a:gd name="T7" fmla="*/ 0 h 166"/>
              <a:gd name="T8" fmla="*/ 216 w 249"/>
              <a:gd name="T9" fmla="*/ 117 h 166"/>
              <a:gd name="T10" fmla="*/ 216 w 249"/>
              <a:gd name="T11" fmla="*/ 117 h 166"/>
              <a:gd name="T12" fmla="*/ 216 w 249"/>
              <a:gd name="T13" fmla="*/ 117 h 166"/>
              <a:gd name="T14" fmla="*/ 216 w 249"/>
              <a:gd name="T15" fmla="*/ 117 h 166"/>
              <a:gd name="T16" fmla="*/ 0 w 249"/>
              <a:gd name="T17" fmla="*/ 158 h 166"/>
              <a:gd name="T18" fmla="*/ 8 w 249"/>
              <a:gd name="T19" fmla="*/ 166 h 166"/>
              <a:gd name="T20" fmla="*/ 241 w 249"/>
              <a:gd name="T21" fmla="*/ 166 h 166"/>
              <a:gd name="T22" fmla="*/ 249 w 249"/>
              <a:gd name="T23" fmla="*/ 158 h 166"/>
              <a:gd name="T24" fmla="*/ 245 w 249"/>
              <a:gd name="T25" fmla="*/ 145 h 166"/>
              <a:gd name="T26" fmla="*/ 216 w 249"/>
              <a:gd name="T27" fmla="*/ 116 h 166"/>
              <a:gd name="T28" fmla="*/ 33 w 249"/>
              <a:gd name="T29" fmla="*/ 116 h 166"/>
              <a:gd name="T30" fmla="*/ 4 w 249"/>
              <a:gd name="T31" fmla="*/ 145 h 166"/>
              <a:gd name="T32" fmla="*/ 0 w 249"/>
              <a:gd name="T33" fmla="*/ 158 h 166"/>
              <a:gd name="T34" fmla="*/ 0 w 249"/>
              <a:gd name="T35" fmla="*/ 158 h 166"/>
              <a:gd name="T36" fmla="*/ 0 w 249"/>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9" h="166">
                <a:moveTo>
                  <a:pt x="216" y="117"/>
                </a:moveTo>
                <a:cubicBezTo>
                  <a:pt x="33" y="117"/>
                  <a:pt x="33" y="117"/>
                  <a:pt x="33" y="117"/>
                </a:cubicBezTo>
                <a:cubicBezTo>
                  <a:pt x="33" y="0"/>
                  <a:pt x="33" y="0"/>
                  <a:pt x="33" y="0"/>
                </a:cubicBezTo>
                <a:cubicBezTo>
                  <a:pt x="216" y="0"/>
                  <a:pt x="216" y="0"/>
                  <a:pt x="216" y="0"/>
                </a:cubicBezTo>
                <a:cubicBezTo>
                  <a:pt x="216" y="117"/>
                  <a:pt x="216" y="117"/>
                  <a:pt x="216" y="117"/>
                </a:cubicBezTo>
                <a:cubicBezTo>
                  <a:pt x="216" y="117"/>
                  <a:pt x="216" y="117"/>
                  <a:pt x="216" y="117"/>
                </a:cubicBezTo>
                <a:cubicBezTo>
                  <a:pt x="216" y="117"/>
                  <a:pt x="216" y="117"/>
                  <a:pt x="216" y="117"/>
                </a:cubicBezTo>
                <a:cubicBezTo>
                  <a:pt x="216" y="117"/>
                  <a:pt x="216" y="117"/>
                  <a:pt x="216" y="117"/>
                </a:cubicBezTo>
                <a:close/>
                <a:moveTo>
                  <a:pt x="0" y="158"/>
                </a:moveTo>
                <a:cubicBezTo>
                  <a:pt x="0" y="163"/>
                  <a:pt x="4" y="166"/>
                  <a:pt x="8" y="166"/>
                </a:cubicBezTo>
                <a:cubicBezTo>
                  <a:pt x="241" y="166"/>
                  <a:pt x="241" y="166"/>
                  <a:pt x="241" y="166"/>
                </a:cubicBezTo>
                <a:cubicBezTo>
                  <a:pt x="245" y="166"/>
                  <a:pt x="249" y="163"/>
                  <a:pt x="249" y="158"/>
                </a:cubicBezTo>
                <a:cubicBezTo>
                  <a:pt x="249" y="153"/>
                  <a:pt x="248" y="149"/>
                  <a:pt x="245" y="145"/>
                </a:cubicBezTo>
                <a:cubicBezTo>
                  <a:pt x="216" y="116"/>
                  <a:pt x="216" y="116"/>
                  <a:pt x="216" y="116"/>
                </a:cubicBezTo>
                <a:cubicBezTo>
                  <a:pt x="33" y="116"/>
                  <a:pt x="33" y="116"/>
                  <a:pt x="33" y="116"/>
                </a:cubicBezTo>
                <a:cubicBezTo>
                  <a:pt x="4" y="145"/>
                  <a:pt x="4" y="145"/>
                  <a:pt x="4" y="145"/>
                </a:cubicBezTo>
                <a:cubicBezTo>
                  <a:pt x="2" y="149"/>
                  <a:pt x="0" y="153"/>
                  <a:pt x="0" y="158"/>
                </a:cubicBezTo>
                <a:cubicBezTo>
                  <a:pt x="0" y="158"/>
                  <a:pt x="0" y="158"/>
                  <a:pt x="0" y="158"/>
                </a:cubicBezTo>
                <a:cubicBezTo>
                  <a:pt x="0" y="158"/>
                  <a:pt x="0" y="158"/>
                  <a:pt x="0" y="158"/>
                </a:cubicBezTo>
                <a:close/>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04" name="Freeform 77">
            <a:extLst>
              <a:ext uri="{FF2B5EF4-FFF2-40B4-BE49-F238E27FC236}">
                <a16:creationId xmlns:a16="http://schemas.microsoft.com/office/drawing/2014/main" id="{53F9E277-9ED4-4C89-88FE-4ED9B8819878}"/>
              </a:ext>
              <a:ext uri="{C183D7F6-B498-43B3-948B-1728B52AA6E4}">
                <adec:decorative xmlns:adec="http://schemas.microsoft.com/office/drawing/2017/decorative" val="1"/>
              </a:ext>
            </a:extLst>
          </p:cNvPr>
          <p:cNvSpPr>
            <a:spLocks noEditPoints="1"/>
          </p:cNvSpPr>
          <p:nvPr/>
        </p:nvSpPr>
        <p:spPr bwMode="auto">
          <a:xfrm>
            <a:off x="1834015" y="4244792"/>
            <a:ext cx="90484" cy="99379"/>
          </a:xfrm>
          <a:custGeom>
            <a:avLst/>
            <a:gdLst>
              <a:gd name="T0" fmla="*/ 23 w 46"/>
              <a:gd name="T1" fmla="*/ 0 h 53"/>
              <a:gd name="T2" fmla="*/ 6 w 46"/>
              <a:gd name="T3" fmla="*/ 17 h 53"/>
              <a:gd name="T4" fmla="*/ 23 w 46"/>
              <a:gd name="T5" fmla="*/ 34 h 53"/>
              <a:gd name="T6" fmla="*/ 40 w 46"/>
              <a:gd name="T7" fmla="*/ 17 h 53"/>
              <a:gd name="T8" fmla="*/ 23 w 46"/>
              <a:gd name="T9" fmla="*/ 0 h 53"/>
              <a:gd name="T10" fmla="*/ 46 w 46"/>
              <a:gd name="T11" fmla="*/ 53 h 53"/>
              <a:gd name="T12" fmla="*/ 23 w 46"/>
              <a:gd name="T13" fmla="*/ 34 h 53"/>
              <a:gd name="T14" fmla="*/ 0 w 46"/>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53">
                <a:moveTo>
                  <a:pt x="23" y="0"/>
                </a:moveTo>
                <a:cubicBezTo>
                  <a:pt x="14" y="0"/>
                  <a:pt x="6" y="8"/>
                  <a:pt x="6" y="17"/>
                </a:cubicBezTo>
                <a:cubicBezTo>
                  <a:pt x="6" y="27"/>
                  <a:pt x="14" y="34"/>
                  <a:pt x="23" y="34"/>
                </a:cubicBezTo>
                <a:cubicBezTo>
                  <a:pt x="32" y="34"/>
                  <a:pt x="40" y="27"/>
                  <a:pt x="40" y="17"/>
                </a:cubicBezTo>
                <a:cubicBezTo>
                  <a:pt x="40" y="8"/>
                  <a:pt x="32" y="0"/>
                  <a:pt x="23" y="0"/>
                </a:cubicBezTo>
                <a:close/>
                <a:moveTo>
                  <a:pt x="46" y="53"/>
                </a:moveTo>
                <a:cubicBezTo>
                  <a:pt x="44" y="42"/>
                  <a:pt x="34" y="34"/>
                  <a:pt x="23" y="34"/>
                </a:cubicBezTo>
                <a:cubicBezTo>
                  <a:pt x="12" y="34"/>
                  <a:pt x="2" y="42"/>
                  <a:pt x="0" y="53"/>
                </a:cubicBezTo>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05" name="Freeform 78">
            <a:extLst>
              <a:ext uri="{FF2B5EF4-FFF2-40B4-BE49-F238E27FC236}">
                <a16:creationId xmlns:a16="http://schemas.microsoft.com/office/drawing/2014/main" id="{4C03FA0D-43CF-4D80-95F2-5588387D4EDC}"/>
              </a:ext>
              <a:ext uri="{C183D7F6-B498-43B3-948B-1728B52AA6E4}">
                <adec:decorative xmlns:adec="http://schemas.microsoft.com/office/drawing/2017/decorative" val="1"/>
              </a:ext>
            </a:extLst>
          </p:cNvPr>
          <p:cNvSpPr>
            <a:spLocks noEditPoints="1"/>
          </p:cNvSpPr>
          <p:nvPr/>
        </p:nvSpPr>
        <p:spPr bwMode="auto">
          <a:xfrm>
            <a:off x="1635648" y="4185165"/>
            <a:ext cx="483741" cy="304762"/>
          </a:xfrm>
          <a:custGeom>
            <a:avLst/>
            <a:gdLst>
              <a:gd name="T0" fmla="*/ 217 w 250"/>
              <a:gd name="T1" fmla="*/ 117 h 166"/>
              <a:gd name="T2" fmla="*/ 33 w 250"/>
              <a:gd name="T3" fmla="*/ 117 h 166"/>
              <a:gd name="T4" fmla="*/ 33 w 250"/>
              <a:gd name="T5" fmla="*/ 0 h 166"/>
              <a:gd name="T6" fmla="*/ 217 w 250"/>
              <a:gd name="T7" fmla="*/ 0 h 166"/>
              <a:gd name="T8" fmla="*/ 217 w 250"/>
              <a:gd name="T9" fmla="*/ 117 h 166"/>
              <a:gd name="T10" fmla="*/ 217 w 250"/>
              <a:gd name="T11" fmla="*/ 117 h 166"/>
              <a:gd name="T12" fmla="*/ 217 w 250"/>
              <a:gd name="T13" fmla="*/ 117 h 166"/>
              <a:gd name="T14" fmla="*/ 217 w 250"/>
              <a:gd name="T15" fmla="*/ 117 h 166"/>
              <a:gd name="T16" fmla="*/ 0 w 250"/>
              <a:gd name="T17" fmla="*/ 158 h 166"/>
              <a:gd name="T18" fmla="*/ 9 w 250"/>
              <a:gd name="T19" fmla="*/ 166 h 166"/>
              <a:gd name="T20" fmla="*/ 241 w 250"/>
              <a:gd name="T21" fmla="*/ 166 h 166"/>
              <a:gd name="T22" fmla="*/ 250 w 250"/>
              <a:gd name="T23" fmla="*/ 158 h 166"/>
              <a:gd name="T24" fmla="*/ 246 w 250"/>
              <a:gd name="T25" fmla="*/ 145 h 166"/>
              <a:gd name="T26" fmla="*/ 217 w 250"/>
              <a:gd name="T27" fmla="*/ 116 h 166"/>
              <a:gd name="T28" fmla="*/ 33 w 250"/>
              <a:gd name="T29" fmla="*/ 116 h 166"/>
              <a:gd name="T30" fmla="*/ 4 w 250"/>
              <a:gd name="T31" fmla="*/ 145 h 166"/>
              <a:gd name="T32" fmla="*/ 0 w 250"/>
              <a:gd name="T33" fmla="*/ 158 h 166"/>
              <a:gd name="T34" fmla="*/ 0 w 250"/>
              <a:gd name="T35" fmla="*/ 158 h 166"/>
              <a:gd name="T36" fmla="*/ 0 w 250"/>
              <a:gd name="T37" fmla="*/ 15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0" h="166">
                <a:moveTo>
                  <a:pt x="217" y="117"/>
                </a:moveTo>
                <a:cubicBezTo>
                  <a:pt x="33" y="117"/>
                  <a:pt x="33" y="117"/>
                  <a:pt x="33" y="117"/>
                </a:cubicBezTo>
                <a:cubicBezTo>
                  <a:pt x="33" y="0"/>
                  <a:pt x="33" y="0"/>
                  <a:pt x="33" y="0"/>
                </a:cubicBezTo>
                <a:cubicBezTo>
                  <a:pt x="217" y="0"/>
                  <a:pt x="217" y="0"/>
                  <a:pt x="217" y="0"/>
                </a:cubicBezTo>
                <a:cubicBezTo>
                  <a:pt x="217" y="117"/>
                  <a:pt x="217" y="117"/>
                  <a:pt x="217" y="117"/>
                </a:cubicBezTo>
                <a:cubicBezTo>
                  <a:pt x="217" y="117"/>
                  <a:pt x="217" y="117"/>
                  <a:pt x="217" y="117"/>
                </a:cubicBezTo>
                <a:cubicBezTo>
                  <a:pt x="217" y="117"/>
                  <a:pt x="217" y="117"/>
                  <a:pt x="217" y="117"/>
                </a:cubicBezTo>
                <a:cubicBezTo>
                  <a:pt x="217" y="117"/>
                  <a:pt x="217" y="117"/>
                  <a:pt x="217" y="117"/>
                </a:cubicBezTo>
                <a:close/>
                <a:moveTo>
                  <a:pt x="0" y="158"/>
                </a:moveTo>
                <a:cubicBezTo>
                  <a:pt x="0" y="163"/>
                  <a:pt x="4" y="166"/>
                  <a:pt x="9" y="166"/>
                </a:cubicBezTo>
                <a:cubicBezTo>
                  <a:pt x="241" y="166"/>
                  <a:pt x="241" y="166"/>
                  <a:pt x="241" y="166"/>
                </a:cubicBezTo>
                <a:cubicBezTo>
                  <a:pt x="246" y="166"/>
                  <a:pt x="250" y="163"/>
                  <a:pt x="250" y="158"/>
                </a:cubicBezTo>
                <a:cubicBezTo>
                  <a:pt x="250" y="153"/>
                  <a:pt x="248" y="149"/>
                  <a:pt x="246" y="145"/>
                </a:cubicBezTo>
                <a:cubicBezTo>
                  <a:pt x="217" y="116"/>
                  <a:pt x="217" y="116"/>
                  <a:pt x="217" y="116"/>
                </a:cubicBezTo>
                <a:cubicBezTo>
                  <a:pt x="33" y="116"/>
                  <a:pt x="33" y="116"/>
                  <a:pt x="33" y="116"/>
                </a:cubicBezTo>
                <a:cubicBezTo>
                  <a:pt x="4" y="145"/>
                  <a:pt x="4" y="145"/>
                  <a:pt x="4" y="145"/>
                </a:cubicBezTo>
                <a:cubicBezTo>
                  <a:pt x="2" y="149"/>
                  <a:pt x="0" y="153"/>
                  <a:pt x="0" y="158"/>
                </a:cubicBezTo>
                <a:cubicBezTo>
                  <a:pt x="0" y="158"/>
                  <a:pt x="0" y="158"/>
                  <a:pt x="0" y="158"/>
                </a:cubicBezTo>
                <a:cubicBezTo>
                  <a:pt x="0" y="158"/>
                  <a:pt x="0" y="158"/>
                  <a:pt x="0" y="158"/>
                </a:cubicBezTo>
                <a:close/>
              </a:path>
            </a:pathLst>
          </a:custGeom>
          <a:noFill/>
          <a:ln w="3175" cap="sq">
            <a:solidFill>
              <a:srgbClr val="243A5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83" name="Text Placeholder 3">
            <a:extLst>
              <a:ext uri="{FF2B5EF4-FFF2-40B4-BE49-F238E27FC236}">
                <a16:creationId xmlns:a16="http://schemas.microsoft.com/office/drawing/2014/main" id="{693F2ED9-3A5B-4BD1-A269-5256B0A53179}"/>
              </a:ext>
            </a:extLst>
          </p:cNvPr>
          <p:cNvSpPr txBox="1">
            <a:spLocks/>
          </p:cNvSpPr>
          <p:nvPr/>
        </p:nvSpPr>
        <p:spPr>
          <a:xfrm>
            <a:off x="1707447" y="3092198"/>
            <a:ext cx="237387" cy="138498"/>
          </a:xfrm>
          <a:prstGeom prst="rect">
            <a:avLst/>
          </a:prstGeom>
          <a:ln>
            <a:noFill/>
          </a:ln>
        </p:spPr>
        <p:txBody>
          <a:bodyPr vert="horz" wrap="square" lIns="0" tIns="0" rIns="0" bIns="0" rtlCol="0" anchor="t">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1" i="0" u="none" strike="noStrike" kern="1200" cap="none" spc="0" normalizeH="0" baseline="0" noProof="0">
                <a:ln>
                  <a:noFill/>
                </a:ln>
                <a:solidFill>
                  <a:srgbClr val="002050"/>
                </a:solidFill>
                <a:effectLst/>
                <a:uLnTx/>
                <a:uFillTx/>
                <a:latin typeface="Segoe UI Semibold"/>
                <a:ea typeface="Segoe UI Semibold" charset="0"/>
                <a:cs typeface="Segoe UI Semibold" charset="0"/>
              </a:rPr>
              <a:t>only</a:t>
            </a:r>
            <a:endParaRPr kumimoji="0" lang="en-US" sz="800" b="1" i="0" u="none" strike="noStrike" kern="1200" cap="none" spc="0" normalizeH="0" baseline="0" noProof="0">
              <a:ln>
                <a:noFill/>
              </a:ln>
              <a:solidFill>
                <a:srgbClr val="002050"/>
              </a:solidFill>
              <a:effectLst/>
              <a:uLnTx/>
              <a:uFillTx/>
              <a:latin typeface="Segoe UI"/>
              <a:ea typeface="Segoe UI Semibold" charset="0"/>
              <a:cs typeface="Segoe UI Semibold" charset="0"/>
            </a:endParaRPr>
          </a:p>
        </p:txBody>
      </p:sp>
      <p:sp>
        <p:nvSpPr>
          <p:cNvPr id="184" name="Text Placeholder 3">
            <a:extLst>
              <a:ext uri="{FF2B5EF4-FFF2-40B4-BE49-F238E27FC236}">
                <a16:creationId xmlns:a16="http://schemas.microsoft.com/office/drawing/2014/main" id="{F2EC6022-4595-4F97-AC85-65CDB4E41E5B}"/>
              </a:ext>
            </a:extLst>
          </p:cNvPr>
          <p:cNvSpPr txBox="1">
            <a:spLocks/>
          </p:cNvSpPr>
          <p:nvPr/>
        </p:nvSpPr>
        <p:spPr>
          <a:xfrm>
            <a:off x="1686735" y="3214357"/>
            <a:ext cx="510128" cy="307777"/>
          </a:xfrm>
          <a:prstGeom prst="rect">
            <a:avLst/>
          </a:prstGeom>
          <a:ln>
            <a:noFill/>
          </a:ln>
        </p:spPr>
        <p:txBody>
          <a:bodyPr vert="horz" wrap="square" lIns="0" tIns="0" rIns="0" bIns="0" rtlCol="0" anchor="ctr">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243A5E"/>
                </a:solidFill>
                <a:effectLst/>
                <a:uLnTx/>
                <a:uFillTx/>
                <a:latin typeface="Segoe UI"/>
                <a:ea typeface="Segoe UI Semibold" charset="0"/>
                <a:cs typeface="Segoe UI Semibold" charset="0"/>
              </a:rPr>
              <a:t>42%</a:t>
            </a:r>
          </a:p>
        </p:txBody>
      </p:sp>
      <p:grpSp>
        <p:nvGrpSpPr>
          <p:cNvPr id="11" name="Group 10">
            <a:extLst>
              <a:ext uri="{FF2B5EF4-FFF2-40B4-BE49-F238E27FC236}">
                <a16:creationId xmlns:a16="http://schemas.microsoft.com/office/drawing/2014/main" id="{F3118F5A-A0E0-48D7-B86A-10AE6785E750}"/>
              </a:ext>
              <a:ext uri="{C183D7F6-B498-43B3-948B-1728B52AA6E4}">
                <adec:decorative xmlns:adec="http://schemas.microsoft.com/office/drawing/2017/decorative" val="1"/>
              </a:ext>
            </a:extLst>
          </p:cNvPr>
          <p:cNvGrpSpPr/>
          <p:nvPr/>
        </p:nvGrpSpPr>
        <p:grpSpPr>
          <a:xfrm>
            <a:off x="7306707" y="2628635"/>
            <a:ext cx="2285675" cy="3552419"/>
            <a:chOff x="7306707" y="2628635"/>
            <a:chExt cx="2285675" cy="3552419"/>
          </a:xfrm>
        </p:grpSpPr>
        <p:sp>
          <p:nvSpPr>
            <p:cNvPr id="138" name="Rectangle 137">
              <a:extLst>
                <a:ext uri="{FF2B5EF4-FFF2-40B4-BE49-F238E27FC236}">
                  <a16:creationId xmlns:a16="http://schemas.microsoft.com/office/drawing/2014/main" id="{8DA29CD6-A612-4143-8E9C-1DA694E8D3FB}"/>
                </a:ext>
              </a:extLst>
            </p:cNvPr>
            <p:cNvSpPr/>
            <p:nvPr/>
          </p:nvSpPr>
          <p:spPr bwMode="auto">
            <a:xfrm>
              <a:off x="7306707" y="2628635"/>
              <a:ext cx="2285675" cy="3552419"/>
            </a:xfrm>
            <a:prstGeom prst="rect">
              <a:avLst/>
            </a:prstGeom>
            <a:solidFill>
              <a:schemeClr val="bg1">
                <a:lumMod val="95000"/>
              </a:scheme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8876" tIns="45706" rIns="88876" bIns="45706" numCol="1" spcCol="0" rtlCol="0" fromWordArt="0" anchor="t" anchorCtr="0" forceAA="0" compatLnSpc="1">
              <a:prstTxWarp prst="textNoShape">
                <a:avLst/>
              </a:prstTxWarp>
              <a:noAutofit/>
            </a:bodyPr>
            <a:lstStyle/>
            <a:p>
              <a:pPr marL="0" marR="0" lvl="0" indent="0" algn="l" defTabSz="89609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D0D0D"/>
                </a:solidFill>
                <a:effectLst/>
                <a:uLnTx/>
                <a:uFillTx/>
                <a:latin typeface="Segoe UI Semibold"/>
                <a:ea typeface="Segoe UI Light" charset="0"/>
                <a:cs typeface="Segoe UI Light" charset="0"/>
              </a:endParaRPr>
            </a:p>
          </p:txBody>
        </p:sp>
        <p:sp>
          <p:nvSpPr>
            <p:cNvPr id="143" name="Title 2">
              <a:extLst>
                <a:ext uri="{FF2B5EF4-FFF2-40B4-BE49-F238E27FC236}">
                  <a16:creationId xmlns:a16="http://schemas.microsoft.com/office/drawing/2014/main" id="{604F096E-5E6B-4004-B0D5-597FBD9FA549}"/>
                </a:ext>
              </a:extLst>
            </p:cNvPr>
            <p:cNvSpPr txBox="1">
              <a:spLocks/>
            </p:cNvSpPr>
            <p:nvPr/>
          </p:nvSpPr>
          <p:spPr>
            <a:xfrm>
              <a:off x="7324289" y="4711485"/>
              <a:ext cx="2268089" cy="1469569"/>
            </a:xfrm>
            <a:prstGeom prst="rect">
              <a:avLst/>
            </a:prstGeom>
            <a:solidFill>
              <a:srgbClr val="243A5E"/>
            </a:solidFill>
          </p:spPr>
          <p:txBody>
            <a:bodyPr vert="horz" wrap="square" lIns="88876" tIns="91414" rIns="88876" bIns="91414" rtlCol="0" anchor="t">
              <a:noAutofit/>
            </a:bodyPr>
            <a:lstStyle>
              <a:lvl1pPr algn="l" defTabSz="914378" rtl="0" eaLnBrk="1" latinLnBrk="0" hangingPunct="1">
                <a:lnSpc>
                  <a:spcPts val="3137"/>
                </a:lnSpc>
                <a:spcBef>
                  <a:spcPct val="0"/>
                </a:spcBef>
                <a:buNone/>
                <a:defRPr lang="en-US" sz="2800" b="0" kern="1200" cap="none" spc="-147" baseline="0">
                  <a:ln w="3175">
                    <a:noFill/>
                  </a:ln>
                  <a:solidFill>
                    <a:schemeClr val="tx1"/>
                  </a:solidFill>
                  <a:effectLst/>
                  <a:latin typeface="+mj-lt"/>
                  <a:ea typeface="+mn-ea"/>
                  <a:cs typeface="Segoe UI" pitchFamily="34" charset="0"/>
                </a:defRPr>
              </a:lvl1p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rPr>
                <a:t>Up to 51% teachers </a:t>
              </a:r>
              <a:r>
                <a:rPr kumimoji="0" lang="en-US" sz="1400" b="0" i="0" u="none" strike="noStrike" kern="1200" cap="none" spc="0" normalizeH="0" baseline="0" noProof="0">
                  <a:ln w="3175">
                    <a:noFill/>
                  </a:ln>
                  <a:solidFill>
                    <a:prstClr val="white"/>
                  </a:solidFill>
                  <a:effectLst/>
                  <a:uLnTx/>
                  <a:uFillTx/>
                  <a:latin typeface="Segoe UI"/>
                  <a:ea typeface="+mn-ea"/>
                  <a:cs typeface="Segoe UI Light" charset="0"/>
                </a:rPr>
                <a:t>report</a:t>
              </a:r>
              <a:r>
                <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rPr>
                <a:t> strong relationships with their students…</a:t>
              </a:r>
            </a:p>
            <a:p>
              <a:pPr marL="0" marR="0" lvl="0" indent="0" algn="ctr" defTabSz="89609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endParaRPr>
            </a:p>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rPr>
                <a:t>but only </a:t>
              </a:r>
              <a:r>
                <a:rPr kumimoji="0" lang="en-US" sz="1400" b="0" i="0" u="none" strike="noStrike" kern="1200" cap="none" spc="0" normalizeH="0" baseline="0" noProof="0">
                  <a:ln w="3175">
                    <a:noFill/>
                  </a:ln>
                  <a:solidFill>
                    <a:prstClr val="white"/>
                  </a:solidFill>
                  <a:effectLst/>
                  <a:uLnTx/>
                  <a:uFillTx/>
                  <a:latin typeface="Segoe UI Semibold"/>
                  <a:ea typeface="+mn-ea"/>
                  <a:cs typeface="Segoe UI Light" charset="0"/>
                </a:rPr>
                <a:t>34% of students </a:t>
              </a:r>
              <a:r>
                <a:rPr kumimoji="0" lang="en-US" sz="1400" b="0" i="0" u="none" strike="noStrike" kern="1200" cap="none" spc="0" normalizeH="0" baseline="0" noProof="0">
                  <a:ln w="3175">
                    <a:noFill/>
                  </a:ln>
                  <a:solidFill>
                    <a:prstClr val="white"/>
                  </a:solidFill>
                  <a:effectLst/>
                  <a:uLnTx/>
                  <a:uFillTx/>
                  <a:latin typeface="Segoe UI"/>
                  <a:ea typeface="Segoe UI Light" charset="0"/>
                  <a:cs typeface="Segoe UI Light" charset="0"/>
                </a:rPr>
                <a:t>agreed</a:t>
              </a:r>
            </a:p>
          </p:txBody>
        </p:sp>
      </p:grpSp>
      <p:grpSp>
        <p:nvGrpSpPr>
          <p:cNvPr id="206" name="Group 205">
            <a:extLst>
              <a:ext uri="{FF2B5EF4-FFF2-40B4-BE49-F238E27FC236}">
                <a16:creationId xmlns:a16="http://schemas.microsoft.com/office/drawing/2014/main" id="{10CFC38C-B7CB-4331-8850-71FD35DE3EF4}"/>
              </a:ext>
              <a:ext uri="{C183D7F6-B498-43B3-948B-1728B52AA6E4}">
                <adec:decorative xmlns:adec="http://schemas.microsoft.com/office/drawing/2017/decorative" val="1"/>
              </a:ext>
            </a:extLst>
          </p:cNvPr>
          <p:cNvGrpSpPr/>
          <p:nvPr/>
        </p:nvGrpSpPr>
        <p:grpSpPr>
          <a:xfrm>
            <a:off x="7415716" y="3137329"/>
            <a:ext cx="1809055" cy="1137159"/>
            <a:chOff x="6749751" y="4293983"/>
            <a:chExt cx="1497615" cy="941389"/>
          </a:xfrm>
        </p:grpSpPr>
        <p:grpSp>
          <p:nvGrpSpPr>
            <p:cNvPr id="207" name="Group 206">
              <a:extLst>
                <a:ext uri="{FF2B5EF4-FFF2-40B4-BE49-F238E27FC236}">
                  <a16:creationId xmlns:a16="http://schemas.microsoft.com/office/drawing/2014/main" id="{CCFF0906-2D80-474D-92B1-B221563DC8A5}"/>
                </a:ext>
              </a:extLst>
            </p:cNvPr>
            <p:cNvGrpSpPr/>
            <p:nvPr/>
          </p:nvGrpSpPr>
          <p:grpSpPr>
            <a:xfrm>
              <a:off x="6749751" y="4328289"/>
              <a:ext cx="563017" cy="853607"/>
              <a:chOff x="6894894" y="4299260"/>
              <a:chExt cx="563017" cy="853607"/>
            </a:xfrm>
          </p:grpSpPr>
          <p:sp>
            <p:nvSpPr>
              <p:cNvPr id="217" name="Freeform 82">
                <a:extLst>
                  <a:ext uri="{FF2B5EF4-FFF2-40B4-BE49-F238E27FC236}">
                    <a16:creationId xmlns:a16="http://schemas.microsoft.com/office/drawing/2014/main" id="{7F592D49-00A8-45DE-8CAF-F7B384DE7209}"/>
                  </a:ext>
                </a:extLst>
              </p:cNvPr>
              <p:cNvSpPr>
                <a:spLocks noEditPoints="1"/>
              </p:cNvSpPr>
              <p:nvPr/>
            </p:nvSpPr>
            <p:spPr bwMode="auto">
              <a:xfrm>
                <a:off x="6894894" y="4879430"/>
                <a:ext cx="534765" cy="273437"/>
              </a:xfrm>
              <a:custGeom>
                <a:avLst/>
                <a:gdLst>
                  <a:gd name="T0" fmla="*/ 121 w 390"/>
                  <a:gd name="T1" fmla="*/ 92 h 200"/>
                  <a:gd name="T2" fmla="*/ 70 w 390"/>
                  <a:gd name="T3" fmla="*/ 143 h 200"/>
                  <a:gd name="T4" fmla="*/ 19 w 390"/>
                  <a:gd name="T5" fmla="*/ 92 h 200"/>
                  <a:gd name="T6" fmla="*/ 70 w 390"/>
                  <a:gd name="T7" fmla="*/ 41 h 200"/>
                  <a:gd name="T8" fmla="*/ 121 w 390"/>
                  <a:gd name="T9" fmla="*/ 92 h 200"/>
                  <a:gd name="T10" fmla="*/ 121 w 390"/>
                  <a:gd name="T11" fmla="*/ 163 h 200"/>
                  <a:gd name="T12" fmla="*/ 70 w 390"/>
                  <a:gd name="T13" fmla="*/ 143 h 200"/>
                  <a:gd name="T14" fmla="*/ 0 w 390"/>
                  <a:gd name="T15" fmla="*/ 200 h 200"/>
                  <a:gd name="T16" fmla="*/ 319 w 390"/>
                  <a:gd name="T17" fmla="*/ 41 h 200"/>
                  <a:gd name="T18" fmla="*/ 268 w 390"/>
                  <a:gd name="T19" fmla="*/ 92 h 200"/>
                  <a:gd name="T20" fmla="*/ 319 w 390"/>
                  <a:gd name="T21" fmla="*/ 143 h 200"/>
                  <a:gd name="T22" fmla="*/ 370 w 390"/>
                  <a:gd name="T23" fmla="*/ 92 h 200"/>
                  <a:gd name="T24" fmla="*/ 319 w 390"/>
                  <a:gd name="T25" fmla="*/ 41 h 200"/>
                  <a:gd name="T26" fmla="*/ 390 w 390"/>
                  <a:gd name="T27" fmla="*/ 200 h 200"/>
                  <a:gd name="T28" fmla="*/ 319 w 390"/>
                  <a:gd name="T29" fmla="*/ 143 h 200"/>
                  <a:gd name="T30" fmla="*/ 266 w 390"/>
                  <a:gd name="T31" fmla="*/ 166 h 200"/>
                  <a:gd name="T32" fmla="*/ 192 w 390"/>
                  <a:gd name="T33" fmla="*/ 0 h 200"/>
                  <a:gd name="T34" fmla="*/ 128 w 390"/>
                  <a:gd name="T35" fmla="*/ 64 h 200"/>
                  <a:gd name="T36" fmla="*/ 192 w 390"/>
                  <a:gd name="T37" fmla="*/ 128 h 200"/>
                  <a:gd name="T38" fmla="*/ 257 w 390"/>
                  <a:gd name="T39" fmla="*/ 64 h 200"/>
                  <a:gd name="T40" fmla="*/ 192 w 390"/>
                  <a:gd name="T41" fmla="*/ 0 h 200"/>
                  <a:gd name="T42" fmla="*/ 281 w 390"/>
                  <a:gd name="T43" fmla="*/ 200 h 200"/>
                  <a:gd name="T44" fmla="*/ 192 w 390"/>
                  <a:gd name="T45" fmla="*/ 128 h 200"/>
                  <a:gd name="T46" fmla="*/ 104 w 390"/>
                  <a:gd name="T4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200">
                    <a:moveTo>
                      <a:pt x="121" y="92"/>
                    </a:moveTo>
                    <a:cubicBezTo>
                      <a:pt x="121" y="120"/>
                      <a:pt x="99" y="143"/>
                      <a:pt x="70" y="143"/>
                    </a:cubicBezTo>
                    <a:cubicBezTo>
                      <a:pt x="42" y="143"/>
                      <a:pt x="19" y="120"/>
                      <a:pt x="19" y="92"/>
                    </a:cubicBezTo>
                    <a:cubicBezTo>
                      <a:pt x="19" y="64"/>
                      <a:pt x="42" y="41"/>
                      <a:pt x="70" y="41"/>
                    </a:cubicBezTo>
                    <a:cubicBezTo>
                      <a:pt x="99" y="41"/>
                      <a:pt x="121" y="64"/>
                      <a:pt x="121" y="92"/>
                    </a:cubicBezTo>
                    <a:close/>
                    <a:moveTo>
                      <a:pt x="121" y="163"/>
                    </a:moveTo>
                    <a:cubicBezTo>
                      <a:pt x="108" y="151"/>
                      <a:pt x="90" y="143"/>
                      <a:pt x="70" y="143"/>
                    </a:cubicBezTo>
                    <a:cubicBezTo>
                      <a:pt x="36" y="143"/>
                      <a:pt x="7" y="167"/>
                      <a:pt x="0" y="200"/>
                    </a:cubicBezTo>
                    <a:moveTo>
                      <a:pt x="319" y="41"/>
                    </a:moveTo>
                    <a:cubicBezTo>
                      <a:pt x="291" y="41"/>
                      <a:pt x="268" y="64"/>
                      <a:pt x="268" y="92"/>
                    </a:cubicBezTo>
                    <a:cubicBezTo>
                      <a:pt x="268" y="120"/>
                      <a:pt x="291" y="143"/>
                      <a:pt x="319" y="143"/>
                    </a:cubicBezTo>
                    <a:cubicBezTo>
                      <a:pt x="347" y="143"/>
                      <a:pt x="370" y="120"/>
                      <a:pt x="370" y="92"/>
                    </a:cubicBezTo>
                    <a:cubicBezTo>
                      <a:pt x="370" y="64"/>
                      <a:pt x="347" y="41"/>
                      <a:pt x="319" y="41"/>
                    </a:cubicBezTo>
                    <a:close/>
                    <a:moveTo>
                      <a:pt x="390" y="200"/>
                    </a:moveTo>
                    <a:cubicBezTo>
                      <a:pt x="383" y="167"/>
                      <a:pt x="354" y="143"/>
                      <a:pt x="319" y="143"/>
                    </a:cubicBezTo>
                    <a:cubicBezTo>
                      <a:pt x="298" y="143"/>
                      <a:pt x="279" y="152"/>
                      <a:pt x="266" y="166"/>
                    </a:cubicBezTo>
                    <a:moveTo>
                      <a:pt x="192" y="0"/>
                    </a:moveTo>
                    <a:cubicBezTo>
                      <a:pt x="157" y="0"/>
                      <a:pt x="128" y="29"/>
                      <a:pt x="128" y="64"/>
                    </a:cubicBezTo>
                    <a:cubicBezTo>
                      <a:pt x="128" y="100"/>
                      <a:pt x="157" y="128"/>
                      <a:pt x="192" y="128"/>
                    </a:cubicBezTo>
                    <a:cubicBezTo>
                      <a:pt x="228" y="128"/>
                      <a:pt x="257" y="100"/>
                      <a:pt x="257" y="64"/>
                    </a:cubicBezTo>
                    <a:cubicBezTo>
                      <a:pt x="257" y="29"/>
                      <a:pt x="228" y="0"/>
                      <a:pt x="192" y="0"/>
                    </a:cubicBezTo>
                    <a:close/>
                    <a:moveTo>
                      <a:pt x="281" y="200"/>
                    </a:moveTo>
                    <a:cubicBezTo>
                      <a:pt x="272" y="159"/>
                      <a:pt x="236" y="128"/>
                      <a:pt x="192" y="128"/>
                    </a:cubicBezTo>
                    <a:cubicBezTo>
                      <a:pt x="149" y="128"/>
                      <a:pt x="113" y="159"/>
                      <a:pt x="104" y="200"/>
                    </a:cubicBezTo>
                  </a:path>
                </a:pathLst>
              </a:cu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18" name="Freeform 83">
                <a:extLst>
                  <a:ext uri="{FF2B5EF4-FFF2-40B4-BE49-F238E27FC236}">
                    <a16:creationId xmlns:a16="http://schemas.microsoft.com/office/drawing/2014/main" id="{B0032DFC-1923-411A-8B4E-C2628AE2DC98}"/>
                  </a:ext>
                </a:extLst>
              </p:cNvPr>
              <p:cNvSpPr>
                <a:spLocks/>
              </p:cNvSpPr>
              <p:nvPr/>
            </p:nvSpPr>
            <p:spPr bwMode="auto">
              <a:xfrm>
                <a:off x="6901957" y="4299260"/>
                <a:ext cx="431848" cy="277473"/>
              </a:xfrm>
              <a:custGeom>
                <a:avLst/>
                <a:gdLst>
                  <a:gd name="T0" fmla="*/ 338 w 428"/>
                  <a:gd name="T1" fmla="*/ 275 h 275"/>
                  <a:gd name="T2" fmla="*/ 0 w 428"/>
                  <a:gd name="T3" fmla="*/ 275 h 275"/>
                  <a:gd name="T4" fmla="*/ 0 w 428"/>
                  <a:gd name="T5" fmla="*/ 0 h 275"/>
                  <a:gd name="T6" fmla="*/ 428 w 428"/>
                  <a:gd name="T7" fmla="*/ 0 h 275"/>
                  <a:gd name="T8" fmla="*/ 428 w 428"/>
                  <a:gd name="T9" fmla="*/ 60 h 275"/>
                </a:gdLst>
                <a:ahLst/>
                <a:cxnLst>
                  <a:cxn ang="0">
                    <a:pos x="T0" y="T1"/>
                  </a:cxn>
                  <a:cxn ang="0">
                    <a:pos x="T2" y="T3"/>
                  </a:cxn>
                  <a:cxn ang="0">
                    <a:pos x="T4" y="T5"/>
                  </a:cxn>
                  <a:cxn ang="0">
                    <a:pos x="T6" y="T7"/>
                  </a:cxn>
                  <a:cxn ang="0">
                    <a:pos x="T8" y="T9"/>
                  </a:cxn>
                </a:cxnLst>
                <a:rect l="0" t="0" r="r" b="b"/>
                <a:pathLst>
                  <a:path w="428" h="275">
                    <a:moveTo>
                      <a:pt x="338" y="275"/>
                    </a:moveTo>
                    <a:lnTo>
                      <a:pt x="0" y="275"/>
                    </a:lnTo>
                    <a:lnTo>
                      <a:pt x="0" y="0"/>
                    </a:lnTo>
                    <a:lnTo>
                      <a:pt x="428" y="0"/>
                    </a:lnTo>
                    <a:lnTo>
                      <a:pt x="428" y="60"/>
                    </a:lnTo>
                  </a:path>
                </a:pathLst>
              </a:cu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19" name="Oval 84">
                <a:extLst>
                  <a:ext uri="{FF2B5EF4-FFF2-40B4-BE49-F238E27FC236}">
                    <a16:creationId xmlns:a16="http://schemas.microsoft.com/office/drawing/2014/main" id="{C2D525BC-13EE-49F3-A6FF-4DB540677029}"/>
                  </a:ext>
                </a:extLst>
              </p:cNvPr>
              <p:cNvSpPr>
                <a:spLocks noChangeArrowheads="1"/>
              </p:cNvSpPr>
              <p:nvPr/>
            </p:nvSpPr>
            <p:spPr bwMode="auto">
              <a:xfrm>
                <a:off x="7245014" y="4359799"/>
                <a:ext cx="178591" cy="177582"/>
              </a:xfrm>
              <a:prstGeom prst="ellips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20" name="Freeform 85">
                <a:extLst>
                  <a:ext uri="{FF2B5EF4-FFF2-40B4-BE49-F238E27FC236}">
                    <a16:creationId xmlns:a16="http://schemas.microsoft.com/office/drawing/2014/main" id="{937FF8C0-1370-4BEE-B9A2-5DB40B35FD81}"/>
                  </a:ext>
                </a:extLst>
              </p:cNvPr>
              <p:cNvSpPr>
                <a:spLocks/>
              </p:cNvSpPr>
              <p:nvPr/>
            </p:nvSpPr>
            <p:spPr bwMode="auto">
              <a:xfrm>
                <a:off x="7210708" y="4537382"/>
                <a:ext cx="247203" cy="98881"/>
              </a:xfrm>
              <a:custGeom>
                <a:avLst/>
                <a:gdLst>
                  <a:gd name="T0" fmla="*/ 180 w 180"/>
                  <a:gd name="T1" fmla="*/ 72 h 72"/>
                  <a:gd name="T2" fmla="*/ 90 w 180"/>
                  <a:gd name="T3" fmla="*/ 0 h 72"/>
                  <a:gd name="T4" fmla="*/ 0 w 180"/>
                  <a:gd name="T5" fmla="*/ 72 h 72"/>
                </a:gdLst>
                <a:ahLst/>
                <a:cxnLst>
                  <a:cxn ang="0">
                    <a:pos x="T0" y="T1"/>
                  </a:cxn>
                  <a:cxn ang="0">
                    <a:pos x="T2" y="T3"/>
                  </a:cxn>
                  <a:cxn ang="0">
                    <a:pos x="T4" y="T5"/>
                  </a:cxn>
                </a:cxnLst>
                <a:rect l="0" t="0" r="r" b="b"/>
                <a:pathLst>
                  <a:path w="180" h="72">
                    <a:moveTo>
                      <a:pt x="180" y="72"/>
                    </a:moveTo>
                    <a:cubicBezTo>
                      <a:pt x="171" y="31"/>
                      <a:pt x="134" y="0"/>
                      <a:pt x="90" y="0"/>
                    </a:cubicBezTo>
                    <a:cubicBezTo>
                      <a:pt x="46" y="0"/>
                      <a:pt x="10" y="31"/>
                      <a:pt x="0" y="72"/>
                    </a:cubicBezTo>
                  </a:path>
                </a:pathLst>
              </a:cu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21" name="Line 86">
                <a:extLst>
                  <a:ext uri="{FF2B5EF4-FFF2-40B4-BE49-F238E27FC236}">
                    <a16:creationId xmlns:a16="http://schemas.microsoft.com/office/drawing/2014/main" id="{7B7E7920-CE50-4EFB-B3BF-6D3336927A2F}"/>
                  </a:ext>
                </a:extLst>
              </p:cNvPr>
              <p:cNvSpPr>
                <a:spLocks noChangeShapeType="1"/>
              </p:cNvSpPr>
              <p:nvPr/>
            </p:nvSpPr>
            <p:spPr bwMode="auto">
              <a:xfrm>
                <a:off x="6949380" y="4359799"/>
                <a:ext cx="129151" cy="0"/>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22" name="Line 87">
                <a:extLst>
                  <a:ext uri="{FF2B5EF4-FFF2-40B4-BE49-F238E27FC236}">
                    <a16:creationId xmlns:a16="http://schemas.microsoft.com/office/drawing/2014/main" id="{37A6919E-6849-4E8A-B553-4FB159C8F60E}"/>
                  </a:ext>
                </a:extLst>
              </p:cNvPr>
              <p:cNvSpPr>
                <a:spLocks noChangeShapeType="1"/>
              </p:cNvSpPr>
              <p:nvPr/>
            </p:nvSpPr>
            <p:spPr bwMode="auto">
              <a:xfrm>
                <a:off x="6949380" y="4414285"/>
                <a:ext cx="185654" cy="0"/>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23" name="Line 88">
                <a:extLst>
                  <a:ext uri="{FF2B5EF4-FFF2-40B4-BE49-F238E27FC236}">
                    <a16:creationId xmlns:a16="http://schemas.microsoft.com/office/drawing/2014/main" id="{F88A6898-7387-4D74-B14F-18C6D83BA94D}"/>
                  </a:ext>
                </a:extLst>
              </p:cNvPr>
              <p:cNvSpPr>
                <a:spLocks noChangeShapeType="1"/>
              </p:cNvSpPr>
              <p:nvPr/>
            </p:nvSpPr>
            <p:spPr bwMode="auto">
              <a:xfrm>
                <a:off x="6949380" y="4470788"/>
                <a:ext cx="143277" cy="0"/>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8" name="Group 207">
              <a:extLst>
                <a:ext uri="{FF2B5EF4-FFF2-40B4-BE49-F238E27FC236}">
                  <a16:creationId xmlns:a16="http://schemas.microsoft.com/office/drawing/2014/main" id="{14E73C0F-E566-4BC4-B7FE-6661C68A2608}"/>
                </a:ext>
              </a:extLst>
            </p:cNvPr>
            <p:cNvGrpSpPr/>
            <p:nvPr/>
          </p:nvGrpSpPr>
          <p:grpSpPr>
            <a:xfrm>
              <a:off x="7352119" y="4293983"/>
              <a:ext cx="503486" cy="941389"/>
              <a:chOff x="7497262" y="4264954"/>
              <a:chExt cx="503486" cy="941389"/>
            </a:xfrm>
          </p:grpSpPr>
          <p:sp>
            <p:nvSpPr>
              <p:cNvPr id="214" name="Rectangle 90">
                <a:extLst>
                  <a:ext uri="{FF2B5EF4-FFF2-40B4-BE49-F238E27FC236}">
                    <a16:creationId xmlns:a16="http://schemas.microsoft.com/office/drawing/2014/main" id="{4E6C8F82-AD10-4141-A571-32DD73140765}"/>
                  </a:ext>
                </a:extLst>
              </p:cNvPr>
              <p:cNvSpPr>
                <a:spLocks noChangeArrowheads="1"/>
              </p:cNvSpPr>
              <p:nvPr/>
            </p:nvSpPr>
            <p:spPr bwMode="auto">
              <a:xfrm>
                <a:off x="7497262" y="4272286"/>
                <a:ext cx="503486" cy="126124"/>
              </a:xfrm>
              <a:prstGeom prst="rect">
                <a:avLst/>
              </a:prstGeom>
              <a:solidFill>
                <a:srgbClr val="243A5E"/>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15" name="Rectangle 91">
                <a:extLst>
                  <a:ext uri="{FF2B5EF4-FFF2-40B4-BE49-F238E27FC236}">
                    <a16:creationId xmlns:a16="http://schemas.microsoft.com/office/drawing/2014/main" id="{76A0BA90-CDE5-4DA1-90F5-A59F0806854A}"/>
                  </a:ext>
                </a:extLst>
              </p:cNvPr>
              <p:cNvSpPr>
                <a:spLocks noChangeArrowheads="1"/>
              </p:cNvSpPr>
              <p:nvPr/>
            </p:nvSpPr>
            <p:spPr bwMode="auto">
              <a:xfrm>
                <a:off x="7497262" y="4807239"/>
                <a:ext cx="365255" cy="126124"/>
              </a:xfrm>
              <a:prstGeom prst="rect">
                <a:avLst/>
              </a:prstGeom>
              <a:solidFill>
                <a:srgbClr val="243A5E"/>
              </a:solidFill>
              <a:ln>
                <a:noFill/>
              </a:ln>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16" name="Line 89">
                <a:extLst>
                  <a:ext uri="{FF2B5EF4-FFF2-40B4-BE49-F238E27FC236}">
                    <a16:creationId xmlns:a16="http://schemas.microsoft.com/office/drawing/2014/main" id="{4A02A7A2-8FA4-44B9-9A23-65596F3BD360}"/>
                  </a:ext>
                </a:extLst>
              </p:cNvPr>
              <p:cNvSpPr>
                <a:spLocks noChangeShapeType="1"/>
              </p:cNvSpPr>
              <p:nvPr/>
            </p:nvSpPr>
            <p:spPr bwMode="auto">
              <a:xfrm>
                <a:off x="7497262" y="4264954"/>
                <a:ext cx="0" cy="941389"/>
              </a:xfrm>
              <a:prstGeom prst="lin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209" name="Group 208">
              <a:extLst>
                <a:ext uri="{FF2B5EF4-FFF2-40B4-BE49-F238E27FC236}">
                  <a16:creationId xmlns:a16="http://schemas.microsoft.com/office/drawing/2014/main" id="{A228FAF8-A2C6-4FBB-8663-2A77A4B924E7}"/>
                </a:ext>
              </a:extLst>
            </p:cNvPr>
            <p:cNvGrpSpPr/>
            <p:nvPr/>
          </p:nvGrpSpPr>
          <p:grpSpPr>
            <a:xfrm>
              <a:off x="7385808" y="4455596"/>
              <a:ext cx="693283" cy="254778"/>
              <a:chOff x="7443621" y="323732"/>
              <a:chExt cx="693283" cy="254778"/>
            </a:xfrm>
          </p:grpSpPr>
          <p:sp>
            <p:nvSpPr>
              <p:cNvPr id="212" name="Text Placeholder 3">
                <a:extLst>
                  <a:ext uri="{FF2B5EF4-FFF2-40B4-BE49-F238E27FC236}">
                    <a16:creationId xmlns:a16="http://schemas.microsoft.com/office/drawing/2014/main" id="{DAB8170D-32D7-4068-807D-DB2206F2DFD9}"/>
                  </a:ext>
                </a:extLst>
              </p:cNvPr>
              <p:cNvSpPr txBox="1">
                <a:spLocks/>
              </p:cNvSpPr>
              <p:nvPr/>
            </p:nvSpPr>
            <p:spPr>
              <a:xfrm>
                <a:off x="7443621" y="448452"/>
                <a:ext cx="347830" cy="114656"/>
              </a:xfrm>
              <a:prstGeom prst="rect">
                <a:avLst/>
              </a:prstGeom>
            </p:spPr>
            <p:txBody>
              <a:bodyPr vert="horz" wrap="square" lIns="0" tIns="0" rIns="0" bIns="0" rtlCol="0" anchor="b">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1" i="0" u="none" strike="noStrike" kern="1200" cap="none" spc="0" normalizeH="0" baseline="0" noProof="0">
                    <a:ln>
                      <a:noFill/>
                    </a:ln>
                    <a:solidFill>
                      <a:srgbClr val="002050"/>
                    </a:solidFill>
                    <a:effectLst/>
                    <a:uLnTx/>
                    <a:uFillTx/>
                    <a:latin typeface="Segoe UI Semibold"/>
                    <a:ea typeface="Segoe UI Semibold" charset="0"/>
                    <a:cs typeface="Segoe UI Semibold" charset="0"/>
                  </a:rPr>
                  <a:t>up to</a:t>
                </a:r>
                <a:endParaRPr kumimoji="0" lang="en-US" sz="800" b="1" i="0" u="none" strike="noStrike" kern="1200" cap="none" spc="0" normalizeH="0" baseline="0" noProof="0">
                  <a:ln>
                    <a:noFill/>
                  </a:ln>
                  <a:solidFill>
                    <a:srgbClr val="002050"/>
                  </a:solidFill>
                  <a:effectLst/>
                  <a:uLnTx/>
                  <a:uFillTx/>
                  <a:latin typeface="Segoe UI"/>
                  <a:ea typeface="Segoe UI Semibold" charset="0"/>
                  <a:cs typeface="Segoe UI Semibold" charset="0"/>
                </a:endParaRPr>
              </a:p>
            </p:txBody>
          </p:sp>
          <p:sp>
            <p:nvSpPr>
              <p:cNvPr id="213" name="Text Placeholder 3">
                <a:extLst>
                  <a:ext uri="{FF2B5EF4-FFF2-40B4-BE49-F238E27FC236}">
                    <a16:creationId xmlns:a16="http://schemas.microsoft.com/office/drawing/2014/main" id="{DD8CB61B-D3B6-4069-B5E6-220AB071B3F3}"/>
                  </a:ext>
                </a:extLst>
              </p:cNvPr>
              <p:cNvSpPr txBox="1">
                <a:spLocks/>
              </p:cNvSpPr>
              <p:nvPr/>
            </p:nvSpPr>
            <p:spPr>
              <a:xfrm>
                <a:off x="7734926" y="323732"/>
                <a:ext cx="401978" cy="254778"/>
              </a:xfrm>
              <a:prstGeom prst="rect">
                <a:avLst/>
              </a:prstGeom>
            </p:spPr>
            <p:txBody>
              <a:bodyPr vert="horz" wrap="square" lIns="0" tIns="0" rIns="0" bIns="0" rtlCol="0" anchor="ctr">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243A5E"/>
                    </a:solidFill>
                    <a:effectLst/>
                    <a:uLnTx/>
                    <a:uFillTx/>
                    <a:latin typeface="Segoe UI"/>
                    <a:ea typeface="Segoe UI Semibold" charset="0"/>
                    <a:cs typeface="Segoe UI Semibold" charset="0"/>
                  </a:rPr>
                  <a:t>51%</a:t>
                </a:r>
              </a:p>
            </p:txBody>
          </p:sp>
        </p:grpSp>
        <p:sp>
          <p:nvSpPr>
            <p:cNvPr id="210" name="Text Placeholder 3">
              <a:extLst>
                <a:ext uri="{FF2B5EF4-FFF2-40B4-BE49-F238E27FC236}">
                  <a16:creationId xmlns:a16="http://schemas.microsoft.com/office/drawing/2014/main" id="{E8A25C77-3D3A-426B-B552-F2788F623C47}"/>
                </a:ext>
              </a:extLst>
            </p:cNvPr>
            <p:cNvSpPr txBox="1">
              <a:spLocks/>
            </p:cNvSpPr>
            <p:nvPr/>
          </p:nvSpPr>
          <p:spPr>
            <a:xfrm>
              <a:off x="7385808" y="5102606"/>
              <a:ext cx="485924" cy="114655"/>
            </a:xfrm>
            <a:prstGeom prst="rect">
              <a:avLst/>
            </a:prstGeom>
          </p:spPr>
          <p:txBody>
            <a:bodyPr vert="horz" wrap="square" lIns="0" tIns="0" rIns="0" bIns="0" rtlCol="0" anchor="b">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1" i="0" u="none" strike="noStrike" kern="1200" cap="none" spc="0" normalizeH="0" baseline="0" noProof="0">
                  <a:ln>
                    <a:noFill/>
                  </a:ln>
                  <a:solidFill>
                    <a:srgbClr val="002050"/>
                  </a:solidFill>
                  <a:effectLst/>
                  <a:uLnTx/>
                  <a:uFillTx/>
                  <a:latin typeface="Segoe UI Semibold"/>
                  <a:ea typeface="Segoe UI Semibold" charset="0"/>
                  <a:cs typeface="Segoe UI Semibold" charset="0"/>
                </a:rPr>
                <a:t>as few as</a:t>
              </a:r>
              <a:endParaRPr kumimoji="0" lang="en-US" sz="800" b="1" i="0" u="none" strike="noStrike" kern="1200" cap="none" spc="0" normalizeH="0" baseline="0" noProof="0">
                <a:ln>
                  <a:noFill/>
                </a:ln>
                <a:solidFill>
                  <a:srgbClr val="002050"/>
                </a:solidFill>
                <a:effectLst/>
                <a:uLnTx/>
                <a:uFillTx/>
                <a:latin typeface="Segoe UI"/>
                <a:ea typeface="Segoe UI Semibold" charset="0"/>
                <a:cs typeface="Segoe UI Semibold" charset="0"/>
              </a:endParaRPr>
            </a:p>
          </p:txBody>
        </p:sp>
        <p:sp>
          <p:nvSpPr>
            <p:cNvPr id="211" name="Text Placeholder 3">
              <a:extLst>
                <a:ext uri="{FF2B5EF4-FFF2-40B4-BE49-F238E27FC236}">
                  <a16:creationId xmlns:a16="http://schemas.microsoft.com/office/drawing/2014/main" id="{BFF1DB08-E80A-477E-A04B-C6FCBF019712}"/>
                </a:ext>
              </a:extLst>
            </p:cNvPr>
            <p:cNvSpPr txBox="1">
              <a:spLocks/>
            </p:cNvSpPr>
            <p:nvPr/>
          </p:nvSpPr>
          <p:spPr>
            <a:xfrm>
              <a:off x="7845388" y="4977885"/>
              <a:ext cx="401978" cy="254778"/>
            </a:xfrm>
            <a:prstGeom prst="rect">
              <a:avLst/>
            </a:prstGeom>
          </p:spPr>
          <p:txBody>
            <a:bodyPr vert="horz" wrap="square" lIns="0" tIns="0" rIns="0" bIns="0" rtlCol="0" anchor="ctr">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243A5E"/>
                  </a:solidFill>
                  <a:effectLst/>
                  <a:uLnTx/>
                  <a:uFillTx/>
                  <a:latin typeface="Segoe UI"/>
                  <a:ea typeface="Segoe UI Semibold" charset="0"/>
                  <a:cs typeface="Segoe UI Semibold" charset="0"/>
                </a:rPr>
                <a:t>34%</a:t>
              </a:r>
            </a:p>
          </p:txBody>
        </p:sp>
      </p:grpSp>
      <p:grpSp>
        <p:nvGrpSpPr>
          <p:cNvPr id="12" name="Group 11">
            <a:extLst>
              <a:ext uri="{FF2B5EF4-FFF2-40B4-BE49-F238E27FC236}">
                <a16:creationId xmlns:a16="http://schemas.microsoft.com/office/drawing/2014/main" id="{C6B79563-6E4A-4DD7-81A6-5C099F1059F7}"/>
              </a:ext>
              <a:ext uri="{C183D7F6-B498-43B3-948B-1728B52AA6E4}">
                <adec:decorative xmlns:adec="http://schemas.microsoft.com/office/drawing/2017/decorative" val="1"/>
              </a:ext>
            </a:extLst>
          </p:cNvPr>
          <p:cNvGrpSpPr/>
          <p:nvPr/>
        </p:nvGrpSpPr>
        <p:grpSpPr>
          <a:xfrm>
            <a:off x="9852873" y="3189655"/>
            <a:ext cx="1942861" cy="1271965"/>
            <a:chOff x="9550904" y="2984899"/>
            <a:chExt cx="1943412" cy="1272319"/>
          </a:xfrm>
        </p:grpSpPr>
        <p:sp>
          <p:nvSpPr>
            <p:cNvPr id="225" name="Text Placeholder 3">
              <a:extLst>
                <a:ext uri="{FF2B5EF4-FFF2-40B4-BE49-F238E27FC236}">
                  <a16:creationId xmlns:a16="http://schemas.microsoft.com/office/drawing/2014/main" id="{609E38F7-617D-4BCE-978A-A4079D696731}"/>
                </a:ext>
              </a:extLst>
            </p:cNvPr>
            <p:cNvSpPr txBox="1">
              <a:spLocks/>
            </p:cNvSpPr>
            <p:nvPr/>
          </p:nvSpPr>
          <p:spPr>
            <a:xfrm>
              <a:off x="9550904" y="3675358"/>
              <a:ext cx="645373" cy="581860"/>
            </a:xfrm>
            <a:prstGeom prst="rect">
              <a:avLst/>
            </a:prstGeom>
          </p:spPr>
          <p:txBody>
            <a:bodyPr vert="horz" wrap="square" lIns="0" tIns="0" rIns="0" bIns="0" rtlCol="0" anchor="b">
              <a:sp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1" i="0" u="none" strike="noStrike" kern="1200" cap="none" spc="0" normalizeH="0" baseline="0" noProof="0">
                  <a:ln>
                    <a:noFill/>
                  </a:ln>
                  <a:solidFill>
                    <a:srgbClr val="002050"/>
                  </a:solidFill>
                  <a:effectLst/>
                  <a:uLnTx/>
                  <a:uFillTx/>
                  <a:latin typeface="Segoe UI Semibold"/>
                  <a:ea typeface="Segoe UI Semibold" charset="0"/>
                  <a:cs typeface="Segoe UI Semibold" charset="0"/>
                </a:rPr>
                <a:t>up to</a:t>
              </a:r>
            </a:p>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900" b="1" i="0" u="none" strike="noStrike" kern="1200" cap="none" spc="0" normalizeH="0" baseline="0" noProof="0">
                  <a:ln>
                    <a:noFill/>
                  </a:ln>
                  <a:solidFill>
                    <a:srgbClr val="002050"/>
                  </a:solidFill>
                  <a:effectLst/>
                  <a:uLnTx/>
                  <a:uFillTx/>
                  <a:latin typeface="Segoe UI Semibold"/>
                  <a:ea typeface="Segoe UI Semibold" charset="0"/>
                  <a:cs typeface="Segoe UI Semibold" charset="0"/>
                </a:rPr>
                <a:t>more classroom time </a:t>
              </a:r>
              <a:endParaRPr kumimoji="0" lang="en-US" sz="800" b="1" i="0" u="none" strike="noStrike" kern="1200" cap="none" spc="0" normalizeH="0" baseline="0" noProof="0">
                <a:ln>
                  <a:noFill/>
                </a:ln>
                <a:solidFill>
                  <a:srgbClr val="002050"/>
                </a:solidFill>
                <a:effectLst/>
                <a:uLnTx/>
                <a:uFillTx/>
                <a:latin typeface="Segoe UI"/>
                <a:ea typeface="Segoe UI Semibold" charset="0"/>
                <a:cs typeface="Segoe UI Semibold" charset="0"/>
              </a:endParaRPr>
            </a:p>
          </p:txBody>
        </p:sp>
        <p:sp>
          <p:nvSpPr>
            <p:cNvPr id="226" name="Text Placeholder 3">
              <a:extLst>
                <a:ext uri="{FF2B5EF4-FFF2-40B4-BE49-F238E27FC236}">
                  <a16:creationId xmlns:a16="http://schemas.microsoft.com/office/drawing/2014/main" id="{A58FD17A-2FF7-492B-BFF9-0D24AC61A01F}"/>
                </a:ext>
              </a:extLst>
            </p:cNvPr>
            <p:cNvSpPr txBox="1">
              <a:spLocks/>
            </p:cNvSpPr>
            <p:nvPr/>
          </p:nvSpPr>
          <p:spPr>
            <a:xfrm>
              <a:off x="9873093" y="3591886"/>
              <a:ext cx="594605" cy="243431"/>
            </a:xfrm>
            <a:prstGeom prst="rect">
              <a:avLst/>
            </a:prstGeom>
          </p:spPr>
          <p:txBody>
            <a:bodyPr vert="horz" wrap="square" lIns="0" tIns="0" rIns="0" bIns="0" rtlCol="0" anchor="ctr">
              <a:noAutofit/>
            </a:bodyPr>
            <a:lstStyle>
              <a:lvl1pPr marL="224100"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481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72298"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8963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120497" marR="0" indent="-224100" algn="l" defTabSz="914378"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251453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729"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91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108" indent="-228595" algn="l" defTabSz="914378"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090"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243A5E"/>
                  </a:solidFill>
                  <a:effectLst/>
                  <a:uLnTx/>
                  <a:uFillTx/>
                  <a:latin typeface="Segoe UI"/>
                  <a:ea typeface="Segoe UI Semibold" charset="0"/>
                  <a:cs typeface="Segoe UI Semibold" charset="0"/>
                </a:rPr>
                <a:t>30%</a:t>
              </a:r>
            </a:p>
          </p:txBody>
        </p:sp>
        <p:sp>
          <p:nvSpPr>
            <p:cNvPr id="227" name="Freeform 95">
              <a:extLst>
                <a:ext uri="{FF2B5EF4-FFF2-40B4-BE49-F238E27FC236}">
                  <a16:creationId xmlns:a16="http://schemas.microsoft.com/office/drawing/2014/main" id="{06A79D1F-AA80-4EA7-9FD3-48892EACED83}"/>
                </a:ext>
              </a:extLst>
            </p:cNvPr>
            <p:cNvSpPr>
              <a:spLocks noEditPoints="1"/>
            </p:cNvSpPr>
            <p:nvPr/>
          </p:nvSpPr>
          <p:spPr bwMode="auto">
            <a:xfrm>
              <a:off x="10595440" y="3567586"/>
              <a:ext cx="898876" cy="319377"/>
            </a:xfrm>
            <a:custGeom>
              <a:avLst/>
              <a:gdLst>
                <a:gd name="T0" fmla="*/ 126 w 659"/>
                <a:gd name="T1" fmla="*/ 94 h 234"/>
                <a:gd name="T2" fmla="*/ 73 w 659"/>
                <a:gd name="T3" fmla="*/ 147 h 234"/>
                <a:gd name="T4" fmla="*/ 21 w 659"/>
                <a:gd name="T5" fmla="*/ 94 h 234"/>
                <a:gd name="T6" fmla="*/ 73 w 659"/>
                <a:gd name="T7" fmla="*/ 42 h 234"/>
                <a:gd name="T8" fmla="*/ 126 w 659"/>
                <a:gd name="T9" fmla="*/ 94 h 234"/>
                <a:gd name="T10" fmla="*/ 125 w 659"/>
                <a:gd name="T11" fmla="*/ 168 h 234"/>
                <a:gd name="T12" fmla="*/ 73 w 659"/>
                <a:gd name="T13" fmla="*/ 147 h 234"/>
                <a:gd name="T14" fmla="*/ 0 w 659"/>
                <a:gd name="T15" fmla="*/ 205 h 234"/>
                <a:gd name="T16" fmla="*/ 199 w 659"/>
                <a:gd name="T17" fmla="*/ 0 h 234"/>
                <a:gd name="T18" fmla="*/ 133 w 659"/>
                <a:gd name="T19" fmla="*/ 66 h 234"/>
                <a:gd name="T20" fmla="*/ 199 w 659"/>
                <a:gd name="T21" fmla="*/ 132 h 234"/>
                <a:gd name="T22" fmla="*/ 265 w 659"/>
                <a:gd name="T23" fmla="*/ 66 h 234"/>
                <a:gd name="T24" fmla="*/ 199 w 659"/>
                <a:gd name="T25" fmla="*/ 0 h 234"/>
                <a:gd name="T26" fmla="*/ 286 w 659"/>
                <a:gd name="T27" fmla="*/ 191 h 234"/>
                <a:gd name="T28" fmla="*/ 199 w 659"/>
                <a:gd name="T29" fmla="*/ 132 h 234"/>
                <a:gd name="T30" fmla="*/ 107 w 659"/>
                <a:gd name="T31" fmla="*/ 205 h 234"/>
                <a:gd name="T32" fmla="*/ 383 w 659"/>
                <a:gd name="T33" fmla="*/ 124 h 234"/>
                <a:gd name="T34" fmla="*/ 331 w 659"/>
                <a:gd name="T35" fmla="*/ 176 h 234"/>
                <a:gd name="T36" fmla="*/ 278 w 659"/>
                <a:gd name="T37" fmla="*/ 124 h 234"/>
                <a:gd name="T38" fmla="*/ 331 w 659"/>
                <a:gd name="T39" fmla="*/ 71 h 234"/>
                <a:gd name="T40" fmla="*/ 383 w 659"/>
                <a:gd name="T41" fmla="*/ 124 h 234"/>
                <a:gd name="T42" fmla="*/ 382 w 659"/>
                <a:gd name="T43" fmla="*/ 197 h 234"/>
                <a:gd name="T44" fmla="*/ 331 w 659"/>
                <a:gd name="T45" fmla="*/ 176 h 234"/>
                <a:gd name="T46" fmla="*/ 258 w 659"/>
                <a:gd name="T47" fmla="*/ 234 h 234"/>
                <a:gd name="T48" fmla="*/ 587 w 659"/>
                <a:gd name="T49" fmla="*/ 71 h 234"/>
                <a:gd name="T50" fmla="*/ 534 w 659"/>
                <a:gd name="T51" fmla="*/ 124 h 234"/>
                <a:gd name="T52" fmla="*/ 587 w 659"/>
                <a:gd name="T53" fmla="*/ 176 h 234"/>
                <a:gd name="T54" fmla="*/ 639 w 659"/>
                <a:gd name="T55" fmla="*/ 124 h 234"/>
                <a:gd name="T56" fmla="*/ 587 w 659"/>
                <a:gd name="T57" fmla="*/ 71 h 234"/>
                <a:gd name="T58" fmla="*/ 659 w 659"/>
                <a:gd name="T59" fmla="*/ 234 h 234"/>
                <a:gd name="T60" fmla="*/ 587 w 659"/>
                <a:gd name="T61" fmla="*/ 176 h 234"/>
                <a:gd name="T62" fmla="*/ 532 w 659"/>
                <a:gd name="T63" fmla="*/ 200 h 234"/>
                <a:gd name="T64" fmla="*/ 456 w 659"/>
                <a:gd name="T65" fmla="*/ 29 h 234"/>
                <a:gd name="T66" fmla="*/ 390 w 659"/>
                <a:gd name="T67" fmla="*/ 95 h 234"/>
                <a:gd name="T68" fmla="*/ 456 w 659"/>
                <a:gd name="T69" fmla="*/ 161 h 234"/>
                <a:gd name="T70" fmla="*/ 522 w 659"/>
                <a:gd name="T71" fmla="*/ 95 h 234"/>
                <a:gd name="T72" fmla="*/ 456 w 659"/>
                <a:gd name="T73" fmla="*/ 29 h 234"/>
                <a:gd name="T74" fmla="*/ 547 w 659"/>
                <a:gd name="T75" fmla="*/ 234 h 234"/>
                <a:gd name="T76" fmla="*/ 456 w 659"/>
                <a:gd name="T77" fmla="*/ 161 h 234"/>
                <a:gd name="T78" fmla="*/ 365 w 659"/>
                <a:gd name="T7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9" h="234">
                  <a:moveTo>
                    <a:pt x="126" y="94"/>
                  </a:moveTo>
                  <a:cubicBezTo>
                    <a:pt x="126" y="123"/>
                    <a:pt x="102" y="147"/>
                    <a:pt x="73" y="147"/>
                  </a:cubicBezTo>
                  <a:cubicBezTo>
                    <a:pt x="44" y="147"/>
                    <a:pt x="21" y="123"/>
                    <a:pt x="21" y="94"/>
                  </a:cubicBezTo>
                  <a:cubicBezTo>
                    <a:pt x="21" y="65"/>
                    <a:pt x="44" y="42"/>
                    <a:pt x="73" y="42"/>
                  </a:cubicBezTo>
                  <a:cubicBezTo>
                    <a:pt x="102" y="42"/>
                    <a:pt x="126" y="65"/>
                    <a:pt x="126" y="94"/>
                  </a:cubicBezTo>
                  <a:close/>
                  <a:moveTo>
                    <a:pt x="125" y="168"/>
                  </a:moveTo>
                  <a:cubicBezTo>
                    <a:pt x="112" y="155"/>
                    <a:pt x="93" y="147"/>
                    <a:pt x="73" y="147"/>
                  </a:cubicBezTo>
                  <a:cubicBezTo>
                    <a:pt x="38" y="147"/>
                    <a:pt x="8" y="172"/>
                    <a:pt x="0" y="205"/>
                  </a:cubicBezTo>
                  <a:moveTo>
                    <a:pt x="199" y="0"/>
                  </a:moveTo>
                  <a:cubicBezTo>
                    <a:pt x="162" y="0"/>
                    <a:pt x="133" y="29"/>
                    <a:pt x="133" y="66"/>
                  </a:cubicBezTo>
                  <a:cubicBezTo>
                    <a:pt x="133" y="102"/>
                    <a:pt x="162" y="132"/>
                    <a:pt x="199" y="132"/>
                  </a:cubicBezTo>
                  <a:cubicBezTo>
                    <a:pt x="235" y="132"/>
                    <a:pt x="265" y="102"/>
                    <a:pt x="265" y="66"/>
                  </a:cubicBezTo>
                  <a:cubicBezTo>
                    <a:pt x="265" y="29"/>
                    <a:pt x="235" y="0"/>
                    <a:pt x="199" y="0"/>
                  </a:cubicBezTo>
                  <a:close/>
                  <a:moveTo>
                    <a:pt x="286" y="191"/>
                  </a:moveTo>
                  <a:cubicBezTo>
                    <a:pt x="272" y="157"/>
                    <a:pt x="238" y="132"/>
                    <a:pt x="199" y="132"/>
                  </a:cubicBezTo>
                  <a:cubicBezTo>
                    <a:pt x="154" y="132"/>
                    <a:pt x="117" y="163"/>
                    <a:pt x="107" y="205"/>
                  </a:cubicBezTo>
                  <a:moveTo>
                    <a:pt x="383" y="124"/>
                  </a:moveTo>
                  <a:cubicBezTo>
                    <a:pt x="383" y="153"/>
                    <a:pt x="360" y="176"/>
                    <a:pt x="331" y="176"/>
                  </a:cubicBezTo>
                  <a:cubicBezTo>
                    <a:pt x="302" y="176"/>
                    <a:pt x="278" y="153"/>
                    <a:pt x="278" y="124"/>
                  </a:cubicBezTo>
                  <a:cubicBezTo>
                    <a:pt x="278" y="95"/>
                    <a:pt x="302" y="71"/>
                    <a:pt x="331" y="71"/>
                  </a:cubicBezTo>
                  <a:cubicBezTo>
                    <a:pt x="360" y="71"/>
                    <a:pt x="383" y="95"/>
                    <a:pt x="383" y="124"/>
                  </a:cubicBezTo>
                  <a:close/>
                  <a:moveTo>
                    <a:pt x="382" y="197"/>
                  </a:moveTo>
                  <a:cubicBezTo>
                    <a:pt x="369" y="184"/>
                    <a:pt x="351" y="176"/>
                    <a:pt x="331" y="176"/>
                  </a:cubicBezTo>
                  <a:cubicBezTo>
                    <a:pt x="295" y="176"/>
                    <a:pt x="265" y="201"/>
                    <a:pt x="258" y="234"/>
                  </a:cubicBezTo>
                  <a:moveTo>
                    <a:pt x="587" y="71"/>
                  </a:moveTo>
                  <a:cubicBezTo>
                    <a:pt x="558" y="71"/>
                    <a:pt x="534" y="95"/>
                    <a:pt x="534" y="124"/>
                  </a:cubicBezTo>
                  <a:cubicBezTo>
                    <a:pt x="534" y="153"/>
                    <a:pt x="558" y="176"/>
                    <a:pt x="587" y="176"/>
                  </a:cubicBezTo>
                  <a:cubicBezTo>
                    <a:pt x="616" y="176"/>
                    <a:pt x="639" y="153"/>
                    <a:pt x="639" y="124"/>
                  </a:cubicBezTo>
                  <a:cubicBezTo>
                    <a:pt x="639" y="95"/>
                    <a:pt x="616" y="71"/>
                    <a:pt x="587" y="71"/>
                  </a:cubicBezTo>
                  <a:close/>
                  <a:moveTo>
                    <a:pt x="659" y="234"/>
                  </a:moveTo>
                  <a:cubicBezTo>
                    <a:pt x="652" y="201"/>
                    <a:pt x="622" y="176"/>
                    <a:pt x="587" y="176"/>
                  </a:cubicBezTo>
                  <a:cubicBezTo>
                    <a:pt x="565" y="176"/>
                    <a:pt x="545" y="185"/>
                    <a:pt x="532" y="200"/>
                  </a:cubicBezTo>
                  <a:moveTo>
                    <a:pt x="456" y="29"/>
                  </a:moveTo>
                  <a:cubicBezTo>
                    <a:pt x="420" y="29"/>
                    <a:pt x="390" y="59"/>
                    <a:pt x="390" y="95"/>
                  </a:cubicBezTo>
                  <a:cubicBezTo>
                    <a:pt x="390" y="132"/>
                    <a:pt x="420" y="161"/>
                    <a:pt x="456" y="161"/>
                  </a:cubicBezTo>
                  <a:cubicBezTo>
                    <a:pt x="492" y="161"/>
                    <a:pt x="522" y="132"/>
                    <a:pt x="522" y="95"/>
                  </a:cubicBezTo>
                  <a:cubicBezTo>
                    <a:pt x="522" y="59"/>
                    <a:pt x="492" y="29"/>
                    <a:pt x="456" y="29"/>
                  </a:cubicBezTo>
                  <a:close/>
                  <a:moveTo>
                    <a:pt x="547" y="234"/>
                  </a:moveTo>
                  <a:cubicBezTo>
                    <a:pt x="538" y="193"/>
                    <a:pt x="501" y="161"/>
                    <a:pt x="456" y="161"/>
                  </a:cubicBezTo>
                  <a:cubicBezTo>
                    <a:pt x="411" y="161"/>
                    <a:pt x="374" y="193"/>
                    <a:pt x="365" y="234"/>
                  </a:cubicBezTo>
                </a:path>
              </a:pathLst>
            </a:cu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nvGrpSpPr>
            <p:cNvPr id="228" name="Group 227">
              <a:extLst>
                <a:ext uri="{FF2B5EF4-FFF2-40B4-BE49-F238E27FC236}">
                  <a16:creationId xmlns:a16="http://schemas.microsoft.com/office/drawing/2014/main" id="{E42B5267-FD4F-46FD-93DF-A6610E426313}"/>
                </a:ext>
              </a:extLst>
            </p:cNvPr>
            <p:cNvGrpSpPr/>
            <p:nvPr/>
          </p:nvGrpSpPr>
          <p:grpSpPr>
            <a:xfrm>
              <a:off x="10596673" y="3233237"/>
              <a:ext cx="284459" cy="320601"/>
              <a:chOff x="7462926" y="5737191"/>
              <a:chExt cx="250184" cy="281970"/>
            </a:xfrm>
          </p:grpSpPr>
          <p:sp>
            <p:nvSpPr>
              <p:cNvPr id="230" name="Oval 96">
                <a:extLst>
                  <a:ext uri="{FF2B5EF4-FFF2-40B4-BE49-F238E27FC236}">
                    <a16:creationId xmlns:a16="http://schemas.microsoft.com/office/drawing/2014/main" id="{86298157-A42C-44CC-B56C-A762559BF14A}"/>
                  </a:ext>
                </a:extLst>
              </p:cNvPr>
              <p:cNvSpPr>
                <a:spLocks noChangeArrowheads="1"/>
              </p:cNvSpPr>
              <p:nvPr/>
            </p:nvSpPr>
            <p:spPr bwMode="auto">
              <a:xfrm>
                <a:off x="7497787" y="5737191"/>
                <a:ext cx="180461" cy="181486"/>
              </a:xfrm>
              <a:prstGeom prst="ellipse">
                <a:avLst/>
              </a:pr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231" name="Freeform 97">
                <a:extLst>
                  <a:ext uri="{FF2B5EF4-FFF2-40B4-BE49-F238E27FC236}">
                    <a16:creationId xmlns:a16="http://schemas.microsoft.com/office/drawing/2014/main" id="{75B8ACDC-F695-4D96-B76B-9FA060DA2480}"/>
                  </a:ext>
                </a:extLst>
              </p:cNvPr>
              <p:cNvSpPr>
                <a:spLocks/>
              </p:cNvSpPr>
              <p:nvPr/>
            </p:nvSpPr>
            <p:spPr bwMode="auto">
              <a:xfrm>
                <a:off x="7462926" y="5918677"/>
                <a:ext cx="250184" cy="100484"/>
              </a:xfrm>
              <a:custGeom>
                <a:avLst/>
                <a:gdLst>
                  <a:gd name="T0" fmla="*/ 180 w 180"/>
                  <a:gd name="T1" fmla="*/ 72 h 72"/>
                  <a:gd name="T2" fmla="*/ 90 w 180"/>
                  <a:gd name="T3" fmla="*/ 0 h 72"/>
                  <a:gd name="T4" fmla="*/ 0 w 180"/>
                  <a:gd name="T5" fmla="*/ 72 h 72"/>
                </a:gdLst>
                <a:ahLst/>
                <a:cxnLst>
                  <a:cxn ang="0">
                    <a:pos x="T0" y="T1"/>
                  </a:cxn>
                  <a:cxn ang="0">
                    <a:pos x="T2" y="T3"/>
                  </a:cxn>
                  <a:cxn ang="0">
                    <a:pos x="T4" y="T5"/>
                  </a:cxn>
                </a:cxnLst>
                <a:rect l="0" t="0" r="r" b="b"/>
                <a:pathLst>
                  <a:path w="180" h="72">
                    <a:moveTo>
                      <a:pt x="180" y="72"/>
                    </a:moveTo>
                    <a:cubicBezTo>
                      <a:pt x="170" y="31"/>
                      <a:pt x="134" y="0"/>
                      <a:pt x="90" y="0"/>
                    </a:cubicBezTo>
                    <a:cubicBezTo>
                      <a:pt x="46" y="0"/>
                      <a:pt x="9" y="31"/>
                      <a:pt x="0" y="72"/>
                    </a:cubicBezTo>
                  </a:path>
                </a:pathLst>
              </a:cu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229" name="Freeform 98">
              <a:extLst>
                <a:ext uri="{FF2B5EF4-FFF2-40B4-BE49-F238E27FC236}">
                  <a16:creationId xmlns:a16="http://schemas.microsoft.com/office/drawing/2014/main" id="{D75B4360-1B8C-41E4-845E-384FAD8ABA22}"/>
                </a:ext>
              </a:extLst>
            </p:cNvPr>
            <p:cNvSpPr>
              <a:spLocks noEditPoints="1"/>
            </p:cNvSpPr>
            <p:nvPr/>
          </p:nvSpPr>
          <p:spPr bwMode="auto">
            <a:xfrm>
              <a:off x="9956640" y="2984899"/>
              <a:ext cx="782263" cy="500135"/>
            </a:xfrm>
            <a:custGeom>
              <a:avLst/>
              <a:gdLst>
                <a:gd name="T0" fmla="*/ 494 w 494"/>
                <a:gd name="T1" fmla="*/ 157 h 316"/>
                <a:gd name="T2" fmla="*/ 494 w 494"/>
                <a:gd name="T3" fmla="*/ 14 h 316"/>
                <a:gd name="T4" fmla="*/ 480 w 494"/>
                <a:gd name="T5" fmla="*/ 0 h 316"/>
                <a:gd name="T6" fmla="*/ 13 w 494"/>
                <a:gd name="T7" fmla="*/ 0 h 316"/>
                <a:gd name="T8" fmla="*/ 0 w 494"/>
                <a:gd name="T9" fmla="*/ 14 h 316"/>
                <a:gd name="T10" fmla="*/ 0 w 494"/>
                <a:gd name="T11" fmla="*/ 302 h 316"/>
                <a:gd name="T12" fmla="*/ 13 w 494"/>
                <a:gd name="T13" fmla="*/ 316 h 316"/>
                <a:gd name="T14" fmla="*/ 427 w 494"/>
                <a:gd name="T15" fmla="*/ 316 h 316"/>
                <a:gd name="T16" fmla="*/ 34 w 494"/>
                <a:gd name="T17" fmla="*/ 316 h 316"/>
                <a:gd name="T18" fmla="*/ 34 w 494"/>
                <a:gd name="T19" fmla="*/ 0 h 316"/>
                <a:gd name="T20" fmla="*/ 34 w 494"/>
                <a:gd name="T21" fmla="*/ 76 h 316"/>
                <a:gd name="T22" fmla="*/ 0 w 494"/>
                <a:gd name="T23" fmla="*/ 76 h 316"/>
                <a:gd name="T24" fmla="*/ 463 w 494"/>
                <a:gd name="T25" fmla="*/ 0 h 316"/>
                <a:gd name="T26" fmla="*/ 463 w 494"/>
                <a:gd name="T27" fmla="*/ 164 h 316"/>
                <a:gd name="T28" fmla="*/ 463 w 494"/>
                <a:gd name="T29" fmla="*/ 76 h 316"/>
                <a:gd name="T30" fmla="*/ 494 w 494"/>
                <a:gd name="T31" fmla="*/ 76 h 316"/>
                <a:gd name="T32" fmla="*/ 338 w 494"/>
                <a:gd name="T33" fmla="*/ 242 h 316"/>
                <a:gd name="T34" fmla="*/ 155 w 494"/>
                <a:gd name="T35" fmla="*/ 242 h 316"/>
                <a:gd name="T36" fmla="*/ 148 w 494"/>
                <a:gd name="T37" fmla="*/ 235 h 316"/>
                <a:gd name="T38" fmla="*/ 148 w 494"/>
                <a:gd name="T39" fmla="*/ 80 h 316"/>
                <a:gd name="T40" fmla="*/ 155 w 494"/>
                <a:gd name="T41" fmla="*/ 73 h 316"/>
                <a:gd name="T42" fmla="*/ 338 w 494"/>
                <a:gd name="T43" fmla="*/ 73 h 316"/>
                <a:gd name="T44" fmla="*/ 345 w 494"/>
                <a:gd name="T45" fmla="*/ 80 h 316"/>
                <a:gd name="T46" fmla="*/ 345 w 494"/>
                <a:gd name="T47" fmla="*/ 235 h 316"/>
                <a:gd name="T48" fmla="*/ 338 w 494"/>
                <a:gd name="T49" fmla="*/ 242 h 316"/>
                <a:gd name="T50" fmla="*/ 148 w 494"/>
                <a:gd name="T51" fmla="*/ 102 h 316"/>
                <a:gd name="T52" fmla="*/ 345 w 494"/>
                <a:gd name="T53" fmla="*/ 102 h 316"/>
                <a:gd name="T54" fmla="*/ 180 w 494"/>
                <a:gd name="T55" fmla="*/ 151 h 316"/>
                <a:gd name="T56" fmla="*/ 242 w 494"/>
                <a:gd name="T57" fmla="*/ 151 h 316"/>
                <a:gd name="T58" fmla="*/ 180 w 494"/>
                <a:gd name="T59" fmla="*/ 189 h 316"/>
                <a:gd name="T60" fmla="*/ 287 w 494"/>
                <a:gd name="T61" fmla="*/ 189 h 316"/>
                <a:gd name="T62" fmla="*/ 290 w 494"/>
                <a:gd name="T63" fmla="*/ 88 h 316"/>
                <a:gd name="T64" fmla="*/ 294 w 494"/>
                <a:gd name="T65" fmla="*/ 88 h 316"/>
                <a:gd name="T66" fmla="*/ 308 w 494"/>
                <a:gd name="T67" fmla="*/ 88 h 316"/>
                <a:gd name="T68" fmla="*/ 312 w 494"/>
                <a:gd name="T69" fmla="*/ 88 h 316"/>
                <a:gd name="T70" fmla="*/ 326 w 494"/>
                <a:gd name="T71" fmla="*/ 88 h 316"/>
                <a:gd name="T72" fmla="*/ 330 w 494"/>
                <a:gd name="T73" fmla="*/ 8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4" h="316">
                  <a:moveTo>
                    <a:pt x="494" y="157"/>
                  </a:moveTo>
                  <a:cubicBezTo>
                    <a:pt x="494" y="14"/>
                    <a:pt x="494" y="14"/>
                    <a:pt x="494" y="14"/>
                  </a:cubicBezTo>
                  <a:cubicBezTo>
                    <a:pt x="494" y="6"/>
                    <a:pt x="488" y="0"/>
                    <a:pt x="480" y="0"/>
                  </a:cubicBezTo>
                  <a:cubicBezTo>
                    <a:pt x="13" y="0"/>
                    <a:pt x="13" y="0"/>
                    <a:pt x="13" y="0"/>
                  </a:cubicBezTo>
                  <a:cubicBezTo>
                    <a:pt x="6" y="0"/>
                    <a:pt x="0" y="6"/>
                    <a:pt x="0" y="14"/>
                  </a:cubicBezTo>
                  <a:cubicBezTo>
                    <a:pt x="0" y="302"/>
                    <a:pt x="0" y="302"/>
                    <a:pt x="0" y="302"/>
                  </a:cubicBezTo>
                  <a:cubicBezTo>
                    <a:pt x="0" y="309"/>
                    <a:pt x="6" y="316"/>
                    <a:pt x="13" y="316"/>
                  </a:cubicBezTo>
                  <a:cubicBezTo>
                    <a:pt x="427" y="316"/>
                    <a:pt x="427" y="316"/>
                    <a:pt x="427" y="316"/>
                  </a:cubicBezTo>
                  <a:moveTo>
                    <a:pt x="34" y="316"/>
                  </a:moveTo>
                  <a:cubicBezTo>
                    <a:pt x="34" y="0"/>
                    <a:pt x="34" y="0"/>
                    <a:pt x="34" y="0"/>
                  </a:cubicBezTo>
                  <a:moveTo>
                    <a:pt x="34" y="76"/>
                  </a:moveTo>
                  <a:cubicBezTo>
                    <a:pt x="0" y="76"/>
                    <a:pt x="0" y="76"/>
                    <a:pt x="0" y="76"/>
                  </a:cubicBezTo>
                  <a:moveTo>
                    <a:pt x="463" y="0"/>
                  </a:moveTo>
                  <a:cubicBezTo>
                    <a:pt x="463" y="164"/>
                    <a:pt x="463" y="164"/>
                    <a:pt x="463" y="164"/>
                  </a:cubicBezTo>
                  <a:moveTo>
                    <a:pt x="463" y="76"/>
                  </a:moveTo>
                  <a:cubicBezTo>
                    <a:pt x="494" y="76"/>
                    <a:pt x="494" y="76"/>
                    <a:pt x="494" y="76"/>
                  </a:cubicBezTo>
                  <a:moveTo>
                    <a:pt x="338" y="242"/>
                  </a:moveTo>
                  <a:cubicBezTo>
                    <a:pt x="155" y="242"/>
                    <a:pt x="155" y="242"/>
                    <a:pt x="155" y="242"/>
                  </a:cubicBezTo>
                  <a:cubicBezTo>
                    <a:pt x="151" y="242"/>
                    <a:pt x="148" y="239"/>
                    <a:pt x="148" y="235"/>
                  </a:cubicBezTo>
                  <a:cubicBezTo>
                    <a:pt x="148" y="80"/>
                    <a:pt x="148" y="80"/>
                    <a:pt x="148" y="80"/>
                  </a:cubicBezTo>
                  <a:cubicBezTo>
                    <a:pt x="148" y="76"/>
                    <a:pt x="151" y="73"/>
                    <a:pt x="155" y="73"/>
                  </a:cubicBezTo>
                  <a:cubicBezTo>
                    <a:pt x="338" y="73"/>
                    <a:pt x="338" y="73"/>
                    <a:pt x="338" y="73"/>
                  </a:cubicBezTo>
                  <a:cubicBezTo>
                    <a:pt x="342" y="73"/>
                    <a:pt x="345" y="76"/>
                    <a:pt x="345" y="80"/>
                  </a:cubicBezTo>
                  <a:cubicBezTo>
                    <a:pt x="345" y="235"/>
                    <a:pt x="345" y="235"/>
                    <a:pt x="345" y="235"/>
                  </a:cubicBezTo>
                  <a:cubicBezTo>
                    <a:pt x="345" y="239"/>
                    <a:pt x="342" y="242"/>
                    <a:pt x="338" y="242"/>
                  </a:cubicBezTo>
                  <a:close/>
                  <a:moveTo>
                    <a:pt x="148" y="102"/>
                  </a:moveTo>
                  <a:cubicBezTo>
                    <a:pt x="345" y="102"/>
                    <a:pt x="345" y="102"/>
                    <a:pt x="345" y="102"/>
                  </a:cubicBezTo>
                  <a:moveTo>
                    <a:pt x="180" y="151"/>
                  </a:moveTo>
                  <a:cubicBezTo>
                    <a:pt x="242" y="151"/>
                    <a:pt x="242" y="151"/>
                    <a:pt x="242" y="151"/>
                  </a:cubicBezTo>
                  <a:moveTo>
                    <a:pt x="180" y="189"/>
                  </a:moveTo>
                  <a:cubicBezTo>
                    <a:pt x="287" y="189"/>
                    <a:pt x="287" y="189"/>
                    <a:pt x="287" y="189"/>
                  </a:cubicBezTo>
                  <a:moveTo>
                    <a:pt x="290" y="88"/>
                  </a:moveTo>
                  <a:cubicBezTo>
                    <a:pt x="294" y="88"/>
                    <a:pt x="294" y="88"/>
                    <a:pt x="294" y="88"/>
                  </a:cubicBezTo>
                  <a:moveTo>
                    <a:pt x="308" y="88"/>
                  </a:moveTo>
                  <a:cubicBezTo>
                    <a:pt x="312" y="88"/>
                    <a:pt x="312" y="88"/>
                    <a:pt x="312" y="88"/>
                  </a:cubicBezTo>
                  <a:moveTo>
                    <a:pt x="326" y="88"/>
                  </a:moveTo>
                  <a:cubicBezTo>
                    <a:pt x="330" y="88"/>
                    <a:pt x="330" y="88"/>
                    <a:pt x="330" y="88"/>
                  </a:cubicBezTo>
                </a:path>
              </a:pathLst>
            </a:custGeom>
            <a:noFill/>
            <a:ln w="7938" cap="sq">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grpSp>
      <p:sp>
        <p:nvSpPr>
          <p:cNvPr id="232" name="Rectangle 231">
            <a:extLst>
              <a:ext uri="{FF2B5EF4-FFF2-40B4-BE49-F238E27FC236}">
                <a16:creationId xmlns:a16="http://schemas.microsoft.com/office/drawing/2014/main" id="{47D10799-925F-4172-BBCD-FFF2FA09FDA9}"/>
              </a:ext>
            </a:extLst>
          </p:cNvPr>
          <p:cNvSpPr/>
          <p:nvPr/>
        </p:nvSpPr>
        <p:spPr bwMode="auto">
          <a:xfrm>
            <a:off x="4947359" y="1903255"/>
            <a:ext cx="2285675" cy="6814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Semibold"/>
                <a:ea typeface="Segoe UI Light" charset="0"/>
                <a:cs typeface="Segoe UI Light" charset="0"/>
              </a:rPr>
              <a:t>Personalized learning is in high demand</a:t>
            </a:r>
          </a:p>
        </p:txBody>
      </p:sp>
      <p:sp>
        <p:nvSpPr>
          <p:cNvPr id="233" name="Rectangle 232">
            <a:extLst>
              <a:ext uri="{FF2B5EF4-FFF2-40B4-BE49-F238E27FC236}">
                <a16:creationId xmlns:a16="http://schemas.microsoft.com/office/drawing/2014/main" id="{737F231D-09D7-4A64-9D24-06A37DD04D15}"/>
              </a:ext>
            </a:extLst>
          </p:cNvPr>
          <p:cNvSpPr/>
          <p:nvPr/>
        </p:nvSpPr>
        <p:spPr bwMode="auto">
          <a:xfrm>
            <a:off x="2567924" y="1903255"/>
            <a:ext cx="2401546" cy="6814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Semibold"/>
                <a:ea typeface="Segoe UI Light" charset="0"/>
                <a:cs typeface="Segoe UI Light" charset="0"/>
              </a:rPr>
              <a:t>Soft skills come into sharp focus</a:t>
            </a:r>
          </a:p>
        </p:txBody>
      </p:sp>
      <p:sp>
        <p:nvSpPr>
          <p:cNvPr id="234" name="Rectangle 233">
            <a:extLst>
              <a:ext uri="{FF2B5EF4-FFF2-40B4-BE49-F238E27FC236}">
                <a16:creationId xmlns:a16="http://schemas.microsoft.com/office/drawing/2014/main" id="{BC7F0F39-621B-421E-A631-1CF24B79D31B}"/>
              </a:ext>
            </a:extLst>
          </p:cNvPr>
          <p:cNvSpPr/>
          <p:nvPr/>
        </p:nvSpPr>
        <p:spPr bwMode="auto">
          <a:xfrm>
            <a:off x="208578" y="1903255"/>
            <a:ext cx="2277348" cy="6814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Semibold"/>
                <a:ea typeface="Segoe UI Light" charset="0"/>
                <a:cs typeface="Segoe UI Light" charset="0"/>
              </a:rPr>
              <a:t>Preparing students for work and life</a:t>
            </a:r>
          </a:p>
        </p:txBody>
      </p:sp>
      <p:sp>
        <p:nvSpPr>
          <p:cNvPr id="235" name="Rectangle 234">
            <a:extLst>
              <a:ext uri="{FF2B5EF4-FFF2-40B4-BE49-F238E27FC236}">
                <a16:creationId xmlns:a16="http://schemas.microsoft.com/office/drawing/2014/main" id="{91A8D99E-0A02-4697-A7E5-D307A3EC1163}"/>
              </a:ext>
            </a:extLst>
          </p:cNvPr>
          <p:cNvSpPr/>
          <p:nvPr/>
        </p:nvSpPr>
        <p:spPr bwMode="auto">
          <a:xfrm>
            <a:off x="7306707" y="1903255"/>
            <a:ext cx="2285671" cy="6814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Semibold"/>
                <a:ea typeface="Segoe UI Light" charset="0"/>
                <a:cs typeface="Segoe UI Light" charset="0"/>
              </a:rPr>
              <a:t>The role of teachers is amplified</a:t>
            </a:r>
          </a:p>
        </p:txBody>
      </p:sp>
      <p:sp>
        <p:nvSpPr>
          <p:cNvPr id="236" name="Rectangle 235">
            <a:extLst>
              <a:ext uri="{FF2B5EF4-FFF2-40B4-BE49-F238E27FC236}">
                <a16:creationId xmlns:a16="http://schemas.microsoft.com/office/drawing/2014/main" id="{83202E3C-AA42-48DF-9AD7-FA83C6709472}"/>
              </a:ext>
            </a:extLst>
          </p:cNvPr>
          <p:cNvSpPr/>
          <p:nvPr/>
        </p:nvSpPr>
        <p:spPr bwMode="auto">
          <a:xfrm>
            <a:off x="9666048" y="1903255"/>
            <a:ext cx="2285671" cy="68142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ctr" defTabSz="89609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D0D0D"/>
                </a:solidFill>
                <a:effectLst/>
                <a:uLnTx/>
                <a:uFillTx/>
                <a:latin typeface="Segoe UI Semibold"/>
                <a:ea typeface="Segoe UI Light" charset="0"/>
                <a:cs typeface="Segoe UI Light" charset="0"/>
              </a:rPr>
              <a:t>Technology creates opportunity</a:t>
            </a:r>
          </a:p>
        </p:txBody>
      </p:sp>
      <p:sp>
        <p:nvSpPr>
          <p:cNvPr id="110" name="Line 17">
            <a:extLst>
              <a:ext uri="{FF2B5EF4-FFF2-40B4-BE49-F238E27FC236}">
                <a16:creationId xmlns:a16="http://schemas.microsoft.com/office/drawing/2014/main" id="{D53B7858-246C-4EE4-8906-F493248E2163}"/>
              </a:ext>
              <a:ext uri="{C183D7F6-B498-43B3-948B-1728B52AA6E4}">
                <adec:decorative xmlns:adec="http://schemas.microsoft.com/office/drawing/2017/decorative" val="1"/>
              </a:ext>
            </a:extLst>
          </p:cNvPr>
          <p:cNvSpPr>
            <a:spLocks noChangeShapeType="1"/>
          </p:cNvSpPr>
          <p:nvPr/>
        </p:nvSpPr>
        <p:spPr bwMode="auto">
          <a:xfrm flipH="1">
            <a:off x="5330444" y="3145399"/>
            <a:ext cx="140361" cy="139748"/>
          </a:xfrm>
          <a:prstGeom prst="line">
            <a:avLst/>
          </a:prstGeom>
          <a:noFill/>
          <a:ln w="7938" cap="flat">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1" name="Line 17">
            <a:extLst>
              <a:ext uri="{FF2B5EF4-FFF2-40B4-BE49-F238E27FC236}">
                <a16:creationId xmlns:a16="http://schemas.microsoft.com/office/drawing/2014/main" id="{CAAFEBAC-99AD-43AA-9359-5E3C2E23A0EF}"/>
              </a:ext>
              <a:ext uri="{C183D7F6-B498-43B3-948B-1728B52AA6E4}">
                <adec:decorative xmlns:adec="http://schemas.microsoft.com/office/drawing/2017/decorative" val="1"/>
              </a:ext>
            </a:extLst>
          </p:cNvPr>
          <p:cNvSpPr>
            <a:spLocks noChangeShapeType="1"/>
          </p:cNvSpPr>
          <p:nvPr/>
        </p:nvSpPr>
        <p:spPr bwMode="auto">
          <a:xfrm flipH="1">
            <a:off x="5329543" y="3212317"/>
            <a:ext cx="139095" cy="133289"/>
          </a:xfrm>
          <a:prstGeom prst="line">
            <a:avLst/>
          </a:prstGeom>
          <a:noFill/>
          <a:ln w="7938" cap="flat">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2" name="Line 17">
            <a:extLst>
              <a:ext uri="{FF2B5EF4-FFF2-40B4-BE49-F238E27FC236}">
                <a16:creationId xmlns:a16="http://schemas.microsoft.com/office/drawing/2014/main" id="{1B29BE6B-DD13-4068-9A65-AF11BF2367BF}"/>
              </a:ext>
              <a:ext uri="{C183D7F6-B498-43B3-948B-1728B52AA6E4}">
                <adec:decorative xmlns:adec="http://schemas.microsoft.com/office/drawing/2017/decorative" val="1"/>
              </a:ext>
            </a:extLst>
          </p:cNvPr>
          <p:cNvSpPr>
            <a:spLocks noChangeShapeType="1"/>
          </p:cNvSpPr>
          <p:nvPr/>
        </p:nvSpPr>
        <p:spPr bwMode="auto">
          <a:xfrm flipH="1">
            <a:off x="5331363" y="3283899"/>
            <a:ext cx="139095" cy="133289"/>
          </a:xfrm>
          <a:prstGeom prst="line">
            <a:avLst/>
          </a:prstGeom>
          <a:noFill/>
          <a:ln w="7938" cap="flat">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
        <p:nvSpPr>
          <p:cNvPr id="113" name="Line 17">
            <a:extLst>
              <a:ext uri="{FF2B5EF4-FFF2-40B4-BE49-F238E27FC236}">
                <a16:creationId xmlns:a16="http://schemas.microsoft.com/office/drawing/2014/main" id="{CB30B7A6-A9F5-48BC-8D2B-351479EF6BB2}"/>
              </a:ext>
              <a:ext uri="{C183D7F6-B498-43B3-948B-1728B52AA6E4}">
                <adec:decorative xmlns:adec="http://schemas.microsoft.com/office/drawing/2017/decorative" val="1"/>
              </a:ext>
            </a:extLst>
          </p:cNvPr>
          <p:cNvSpPr>
            <a:spLocks noChangeShapeType="1"/>
          </p:cNvSpPr>
          <p:nvPr/>
        </p:nvSpPr>
        <p:spPr bwMode="auto">
          <a:xfrm flipH="1">
            <a:off x="5330091" y="3351487"/>
            <a:ext cx="139095" cy="133289"/>
          </a:xfrm>
          <a:prstGeom prst="line">
            <a:avLst/>
          </a:prstGeom>
          <a:noFill/>
          <a:ln w="7938" cap="flat">
            <a:solidFill>
              <a:srgbClr val="243A5E"/>
            </a:solidFill>
            <a:prstDash val="solid"/>
            <a:miter lim="800000"/>
            <a:headEnd/>
            <a:tailEnd/>
          </a:ln>
          <a:extLst>
            <a:ext uri="{909E8E84-426E-40DD-AFC4-6F175D3DCCD1}">
              <a14:hiddenFill xmlns:a14="http://schemas.microsoft.com/office/drawing/2010/main">
                <a:noFill/>
              </a14:hiddenFill>
            </a:ext>
          </a:extLst>
        </p:spPr>
        <p:txBody>
          <a:bodyPr vert="horz" wrap="square" lIns="91414" tIns="45706" rIns="91414" bIns="45706" numCol="1" anchor="t" anchorCtr="0" compatLnSpc="1">
            <a:prstTxWarp prst="textNoShape">
              <a:avLst/>
            </a:prstTxWarp>
          </a:bodyPr>
          <a:lstStyle/>
          <a:p>
            <a:pPr marL="0" marR="0" lvl="0" indent="0" algn="l" defTabSz="914016"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1A1A1A"/>
              </a:solidFill>
              <a:effectLst/>
              <a:uLnTx/>
              <a:uFillTx/>
              <a:latin typeface="Segoe UI"/>
              <a:ea typeface="+mn-ea"/>
              <a:cs typeface="+mn-cs"/>
            </a:endParaRPr>
          </a:p>
        </p:txBody>
      </p:sp>
    </p:spTree>
    <p:extLst>
      <p:ext uri="{BB962C8B-B14F-4D97-AF65-F5344CB8AC3E}">
        <p14:creationId xmlns:p14="http://schemas.microsoft.com/office/powerpoint/2010/main" val="3755607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588263" y="457200"/>
            <a:ext cx="11018520" cy="1107996"/>
          </a:xfrm>
        </p:spPr>
        <p:txBody>
          <a:bodyPr>
            <a:normAutofit fontScale="90000"/>
          </a:bodyPr>
          <a:lstStyle/>
          <a:p>
            <a:r>
              <a:rPr lang="en-US"/>
              <a:t>Microsoft has a </a:t>
            </a:r>
            <a:r>
              <a:rPr lang="en-US">
                <a:solidFill>
                  <a:srgbClr val="0069BA"/>
                </a:solidFill>
              </a:rPr>
              <a:t>clear technology roadmap </a:t>
            </a:r>
            <a:r>
              <a:rPr lang="en-US"/>
              <a:t>for Education Policy Makers</a:t>
            </a:r>
            <a:endParaRPr lang="en-US">
              <a:solidFill>
                <a:srgbClr val="0069BA"/>
              </a:solidFill>
            </a:endParaRPr>
          </a:p>
        </p:txBody>
      </p:sp>
      <p:grpSp>
        <p:nvGrpSpPr>
          <p:cNvPr id="5" name="Group 4">
            <a:extLst>
              <a:ext uri="{FF2B5EF4-FFF2-40B4-BE49-F238E27FC236}">
                <a16:creationId xmlns:a16="http://schemas.microsoft.com/office/drawing/2014/main" id="{D4DACC67-FDF2-4FB7-83B0-E31C1B5A3879}"/>
              </a:ext>
            </a:extLst>
          </p:cNvPr>
          <p:cNvGrpSpPr/>
          <p:nvPr/>
        </p:nvGrpSpPr>
        <p:grpSpPr>
          <a:xfrm>
            <a:off x="2830462" y="1714499"/>
            <a:ext cx="6314015" cy="4754563"/>
            <a:chOff x="2181744" y="309396"/>
            <a:chExt cx="6658075" cy="5013646"/>
          </a:xfrm>
        </p:grpSpPr>
        <p:pic>
          <p:nvPicPr>
            <p:cNvPr id="6" name="Picture 5" descr="A close up of a logo&#10;&#10;Description automatically generated">
              <a:extLst>
                <a:ext uri="{FF2B5EF4-FFF2-40B4-BE49-F238E27FC236}">
                  <a16:creationId xmlns:a16="http://schemas.microsoft.com/office/drawing/2014/main" id="{CDF8A791-D070-4EC1-817C-5D7262F302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1423" y="527960"/>
              <a:ext cx="515072" cy="515072"/>
            </a:xfrm>
            <a:prstGeom prst="rect">
              <a:avLst/>
            </a:prstGeom>
          </p:spPr>
        </p:pic>
        <p:sp>
          <p:nvSpPr>
            <p:cNvPr id="7" name="bk object 27">
              <a:extLst>
                <a:ext uri="{FF2B5EF4-FFF2-40B4-BE49-F238E27FC236}">
                  <a16:creationId xmlns:a16="http://schemas.microsoft.com/office/drawing/2014/main" id="{A7BD53A4-9979-412D-ADF3-04E01A89550E}"/>
                </a:ext>
              </a:extLst>
            </p:cNvPr>
            <p:cNvSpPr/>
            <p:nvPr/>
          </p:nvSpPr>
          <p:spPr>
            <a:xfrm>
              <a:off x="3623990" y="309396"/>
              <a:ext cx="2582517" cy="1435531"/>
            </a:xfrm>
            <a:custGeom>
              <a:avLst/>
              <a:gdLst/>
              <a:ahLst/>
              <a:cxnLst/>
              <a:rect l="l" t="t" r="r" b="b"/>
              <a:pathLst>
                <a:path w="2780029" h="1608455">
                  <a:moveTo>
                    <a:pt x="1389926" y="0"/>
                  </a:moveTo>
                  <a:lnTo>
                    <a:pt x="0" y="802487"/>
                  </a:lnTo>
                  <a:lnTo>
                    <a:pt x="1392135" y="1607947"/>
                  </a:lnTo>
                  <a:lnTo>
                    <a:pt x="2779852" y="802487"/>
                  </a:lnTo>
                  <a:lnTo>
                    <a:pt x="1389926" y="0"/>
                  </a:lnTo>
                  <a:close/>
                </a:path>
              </a:pathLst>
            </a:custGeom>
            <a:solidFill>
              <a:srgbClr val="00A99D"/>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8" name="bk object 31">
              <a:extLst>
                <a:ext uri="{FF2B5EF4-FFF2-40B4-BE49-F238E27FC236}">
                  <a16:creationId xmlns:a16="http://schemas.microsoft.com/office/drawing/2014/main" id="{793FD67C-B605-4CBE-9AA4-3F850BB36A4E}"/>
                </a:ext>
              </a:extLst>
            </p:cNvPr>
            <p:cNvSpPr/>
            <p:nvPr/>
          </p:nvSpPr>
          <p:spPr>
            <a:xfrm>
              <a:off x="3623987" y="1025603"/>
              <a:ext cx="1293618" cy="1432697"/>
            </a:xfrm>
            <a:custGeom>
              <a:avLst/>
              <a:gdLst/>
              <a:ahLst/>
              <a:cxnLst/>
              <a:rect l="l" t="t" r="r" b="b"/>
              <a:pathLst>
                <a:path w="1392554" h="1605280">
                  <a:moveTo>
                    <a:pt x="0" y="0"/>
                  </a:moveTo>
                  <a:lnTo>
                    <a:pt x="0" y="1604962"/>
                  </a:lnTo>
                  <a:lnTo>
                    <a:pt x="1392135" y="805472"/>
                  </a:lnTo>
                  <a:lnTo>
                    <a:pt x="0" y="0"/>
                  </a:lnTo>
                  <a:close/>
                </a:path>
              </a:pathLst>
            </a:custGeom>
            <a:solidFill>
              <a:srgbClr val="4DC2BB"/>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9" name="bk object 29">
              <a:extLst>
                <a:ext uri="{FF2B5EF4-FFF2-40B4-BE49-F238E27FC236}">
                  <a16:creationId xmlns:a16="http://schemas.microsoft.com/office/drawing/2014/main" id="{FD3A3A9A-7E10-4171-B7CB-A97991BDB84F}"/>
                </a:ext>
              </a:extLst>
            </p:cNvPr>
            <p:cNvSpPr/>
            <p:nvPr/>
          </p:nvSpPr>
          <p:spPr>
            <a:xfrm>
              <a:off x="4917209" y="1025604"/>
              <a:ext cx="1289489" cy="1432697"/>
            </a:xfrm>
            <a:custGeom>
              <a:avLst/>
              <a:gdLst/>
              <a:ahLst/>
              <a:cxnLst/>
              <a:rect l="l" t="t" r="r" b="b"/>
              <a:pathLst>
                <a:path w="1388109" h="1605280">
                  <a:moveTo>
                    <a:pt x="1387728" y="0"/>
                  </a:moveTo>
                  <a:lnTo>
                    <a:pt x="0" y="805472"/>
                  </a:lnTo>
                  <a:lnTo>
                    <a:pt x="1387728" y="1604962"/>
                  </a:lnTo>
                  <a:lnTo>
                    <a:pt x="1387728" y="0"/>
                  </a:lnTo>
                  <a:close/>
                </a:path>
              </a:pathLst>
            </a:custGeom>
            <a:solidFill>
              <a:srgbClr val="00AEA4"/>
            </a:solidFill>
            <a:ln w="6350">
              <a:solidFill>
                <a:schemeClr val="bg1"/>
              </a:solidFill>
            </a:ln>
          </p:spPr>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0" name="bk object 28">
              <a:extLst>
                <a:ext uri="{FF2B5EF4-FFF2-40B4-BE49-F238E27FC236}">
                  <a16:creationId xmlns:a16="http://schemas.microsoft.com/office/drawing/2014/main" id="{1904E35F-DFC0-43A7-B2B6-D11BD3602C41}"/>
                </a:ext>
              </a:extLst>
            </p:cNvPr>
            <p:cNvSpPr/>
            <p:nvPr/>
          </p:nvSpPr>
          <p:spPr>
            <a:xfrm>
              <a:off x="3623984" y="1744479"/>
              <a:ext cx="1293618" cy="1429864"/>
            </a:xfrm>
            <a:custGeom>
              <a:avLst/>
              <a:gdLst/>
              <a:ahLst/>
              <a:cxnLst/>
              <a:rect l="l" t="t" r="r" b="b"/>
              <a:pathLst>
                <a:path w="1392554" h="1602104">
                  <a:moveTo>
                    <a:pt x="1392135" y="0"/>
                  </a:moveTo>
                  <a:lnTo>
                    <a:pt x="0" y="799490"/>
                  </a:lnTo>
                  <a:lnTo>
                    <a:pt x="1389926" y="1601965"/>
                  </a:lnTo>
                  <a:lnTo>
                    <a:pt x="1392135" y="0"/>
                  </a:lnTo>
                  <a:close/>
                </a:path>
              </a:pathLst>
            </a:custGeom>
            <a:solidFill>
              <a:srgbClr val="12BBB3"/>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1" name="bk object 30">
              <a:extLst>
                <a:ext uri="{FF2B5EF4-FFF2-40B4-BE49-F238E27FC236}">
                  <a16:creationId xmlns:a16="http://schemas.microsoft.com/office/drawing/2014/main" id="{70F6F2E9-ADFA-42EA-B9AC-F1D173CF0710}"/>
                </a:ext>
              </a:extLst>
            </p:cNvPr>
            <p:cNvSpPr/>
            <p:nvPr/>
          </p:nvSpPr>
          <p:spPr>
            <a:xfrm>
              <a:off x="4915163" y="1744478"/>
              <a:ext cx="1291258" cy="1429864"/>
            </a:xfrm>
            <a:custGeom>
              <a:avLst/>
              <a:gdLst/>
              <a:ahLst/>
              <a:cxnLst/>
              <a:rect l="l" t="t" r="r" b="b"/>
              <a:pathLst>
                <a:path w="1390015" h="1602104">
                  <a:moveTo>
                    <a:pt x="2209" y="0"/>
                  </a:moveTo>
                  <a:lnTo>
                    <a:pt x="0" y="1601978"/>
                  </a:lnTo>
                  <a:lnTo>
                    <a:pt x="1389938" y="799490"/>
                  </a:lnTo>
                  <a:lnTo>
                    <a:pt x="2209" y="0"/>
                  </a:lnTo>
                  <a:close/>
                </a:path>
              </a:pathLst>
            </a:custGeom>
            <a:solidFill>
              <a:srgbClr val="00B4AB"/>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2" name="bk object 32">
              <a:extLst>
                <a:ext uri="{FF2B5EF4-FFF2-40B4-BE49-F238E27FC236}">
                  <a16:creationId xmlns:a16="http://schemas.microsoft.com/office/drawing/2014/main" id="{377AD31E-744B-48AF-BFB1-CA03086CFF08}"/>
                </a:ext>
              </a:extLst>
            </p:cNvPr>
            <p:cNvSpPr/>
            <p:nvPr userDrawn="1"/>
          </p:nvSpPr>
          <p:spPr>
            <a:xfrm>
              <a:off x="6206351" y="309396"/>
              <a:ext cx="2582517" cy="1435531"/>
            </a:xfrm>
            <a:custGeom>
              <a:avLst/>
              <a:gdLst/>
              <a:ahLst/>
              <a:cxnLst/>
              <a:rect l="l" t="t" r="r" b="b"/>
              <a:pathLst>
                <a:path w="2780029" h="1608455">
                  <a:moveTo>
                    <a:pt x="1389938" y="0"/>
                  </a:moveTo>
                  <a:lnTo>
                    <a:pt x="0" y="802487"/>
                  </a:lnTo>
                  <a:lnTo>
                    <a:pt x="1392148" y="1607947"/>
                  </a:lnTo>
                  <a:lnTo>
                    <a:pt x="2779864" y="802487"/>
                  </a:lnTo>
                  <a:lnTo>
                    <a:pt x="1389938" y="0"/>
                  </a:lnTo>
                  <a:close/>
                </a:path>
              </a:pathLst>
            </a:custGeom>
            <a:solidFill>
              <a:srgbClr val="5C2D91"/>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3" name="bk object 36">
              <a:extLst>
                <a:ext uri="{FF2B5EF4-FFF2-40B4-BE49-F238E27FC236}">
                  <a16:creationId xmlns:a16="http://schemas.microsoft.com/office/drawing/2014/main" id="{B74200E0-F174-4ED0-B915-7ACF9D4B6695}"/>
                </a:ext>
              </a:extLst>
            </p:cNvPr>
            <p:cNvSpPr/>
            <p:nvPr/>
          </p:nvSpPr>
          <p:spPr>
            <a:xfrm>
              <a:off x="6206349" y="1025603"/>
              <a:ext cx="1293618" cy="1432697"/>
            </a:xfrm>
            <a:custGeom>
              <a:avLst/>
              <a:gdLst/>
              <a:ahLst/>
              <a:cxnLst/>
              <a:rect l="l" t="t" r="r" b="b"/>
              <a:pathLst>
                <a:path w="1392554" h="1605280">
                  <a:moveTo>
                    <a:pt x="0" y="0"/>
                  </a:moveTo>
                  <a:lnTo>
                    <a:pt x="0" y="1604962"/>
                  </a:lnTo>
                  <a:lnTo>
                    <a:pt x="1392148" y="805472"/>
                  </a:lnTo>
                  <a:lnTo>
                    <a:pt x="0" y="0"/>
                  </a:lnTo>
                  <a:close/>
                </a:path>
              </a:pathLst>
            </a:custGeom>
            <a:solidFill>
              <a:srgbClr val="896DB0"/>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4" name="bk object 34">
              <a:extLst>
                <a:ext uri="{FF2B5EF4-FFF2-40B4-BE49-F238E27FC236}">
                  <a16:creationId xmlns:a16="http://schemas.microsoft.com/office/drawing/2014/main" id="{0F552E93-5CB1-4566-AEB5-172DF3CA2400}"/>
                </a:ext>
              </a:extLst>
            </p:cNvPr>
            <p:cNvSpPr/>
            <p:nvPr/>
          </p:nvSpPr>
          <p:spPr>
            <a:xfrm>
              <a:off x="7468462" y="1025415"/>
              <a:ext cx="1289488" cy="1432697"/>
            </a:xfrm>
            <a:custGeom>
              <a:avLst/>
              <a:gdLst/>
              <a:ahLst/>
              <a:cxnLst/>
              <a:rect l="l" t="t" r="r" b="b"/>
              <a:pathLst>
                <a:path w="1388109" h="1605280">
                  <a:moveTo>
                    <a:pt x="1387728" y="0"/>
                  </a:moveTo>
                  <a:lnTo>
                    <a:pt x="0" y="805472"/>
                  </a:lnTo>
                  <a:lnTo>
                    <a:pt x="1387728" y="1604962"/>
                  </a:lnTo>
                  <a:lnTo>
                    <a:pt x="1387728" y="0"/>
                  </a:lnTo>
                  <a:close/>
                </a:path>
              </a:pathLst>
            </a:custGeom>
            <a:solidFill>
              <a:srgbClr val="673E98"/>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5" name="bk object 33">
              <a:extLst>
                <a:ext uri="{FF2B5EF4-FFF2-40B4-BE49-F238E27FC236}">
                  <a16:creationId xmlns:a16="http://schemas.microsoft.com/office/drawing/2014/main" id="{107920E6-DE97-46C3-9345-5D69BE8FAB13}"/>
                </a:ext>
              </a:extLst>
            </p:cNvPr>
            <p:cNvSpPr/>
            <p:nvPr/>
          </p:nvSpPr>
          <p:spPr>
            <a:xfrm>
              <a:off x="6201542" y="1744477"/>
              <a:ext cx="1293618" cy="1429864"/>
            </a:xfrm>
            <a:custGeom>
              <a:avLst/>
              <a:gdLst/>
              <a:ahLst/>
              <a:cxnLst/>
              <a:rect l="l" t="t" r="r" b="b"/>
              <a:pathLst>
                <a:path w="1392554" h="1602104">
                  <a:moveTo>
                    <a:pt x="1392148" y="0"/>
                  </a:moveTo>
                  <a:lnTo>
                    <a:pt x="0" y="799490"/>
                  </a:lnTo>
                  <a:lnTo>
                    <a:pt x="1389938" y="1601965"/>
                  </a:lnTo>
                  <a:lnTo>
                    <a:pt x="1392148" y="0"/>
                  </a:lnTo>
                  <a:close/>
                </a:path>
              </a:pathLst>
            </a:custGeom>
            <a:solidFill>
              <a:srgbClr val="7D5EA8"/>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6" name="bk object 35">
              <a:extLst>
                <a:ext uri="{FF2B5EF4-FFF2-40B4-BE49-F238E27FC236}">
                  <a16:creationId xmlns:a16="http://schemas.microsoft.com/office/drawing/2014/main" id="{1097FDDA-02F0-4888-B65E-6EDEA64F2A84}"/>
                </a:ext>
              </a:extLst>
            </p:cNvPr>
            <p:cNvSpPr/>
            <p:nvPr/>
          </p:nvSpPr>
          <p:spPr>
            <a:xfrm>
              <a:off x="7497536" y="1744477"/>
              <a:ext cx="1291258" cy="1429864"/>
            </a:xfrm>
            <a:custGeom>
              <a:avLst/>
              <a:gdLst/>
              <a:ahLst/>
              <a:cxnLst/>
              <a:rect l="l" t="t" r="r" b="b"/>
              <a:pathLst>
                <a:path w="1390015" h="1602104">
                  <a:moveTo>
                    <a:pt x="2209" y="0"/>
                  </a:moveTo>
                  <a:lnTo>
                    <a:pt x="0" y="1601978"/>
                  </a:lnTo>
                  <a:lnTo>
                    <a:pt x="1389938" y="799490"/>
                  </a:lnTo>
                  <a:lnTo>
                    <a:pt x="2209" y="0"/>
                  </a:lnTo>
                  <a:close/>
                </a:path>
              </a:pathLst>
            </a:custGeom>
            <a:solidFill>
              <a:srgbClr val="724EA0"/>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8" name="bk object 24">
              <a:extLst>
                <a:ext uri="{FF2B5EF4-FFF2-40B4-BE49-F238E27FC236}">
                  <a16:creationId xmlns:a16="http://schemas.microsoft.com/office/drawing/2014/main" id="{FB03238B-89A1-4F4C-B8FF-BF04EC48A46E}"/>
                </a:ext>
              </a:extLst>
            </p:cNvPr>
            <p:cNvSpPr/>
            <p:nvPr/>
          </p:nvSpPr>
          <p:spPr>
            <a:xfrm>
              <a:off x="6222963" y="3172930"/>
              <a:ext cx="1289488" cy="1432697"/>
            </a:xfrm>
            <a:custGeom>
              <a:avLst/>
              <a:gdLst/>
              <a:ahLst/>
              <a:cxnLst/>
              <a:rect l="l" t="t" r="r" b="b"/>
              <a:pathLst>
                <a:path w="1388109" h="1605279">
                  <a:moveTo>
                    <a:pt x="1387728" y="0"/>
                  </a:moveTo>
                  <a:lnTo>
                    <a:pt x="0" y="805472"/>
                  </a:lnTo>
                  <a:lnTo>
                    <a:pt x="1387728" y="1604949"/>
                  </a:lnTo>
                  <a:lnTo>
                    <a:pt x="1387728" y="0"/>
                  </a:lnTo>
                  <a:close/>
                </a:path>
              </a:pathLst>
            </a:custGeom>
            <a:solidFill>
              <a:srgbClr val="0090D3"/>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19" name="bk object 22">
              <a:extLst>
                <a:ext uri="{FF2B5EF4-FFF2-40B4-BE49-F238E27FC236}">
                  <a16:creationId xmlns:a16="http://schemas.microsoft.com/office/drawing/2014/main" id="{8B2F325A-ECD0-4675-891D-3700D44B3845}"/>
                </a:ext>
              </a:extLst>
            </p:cNvPr>
            <p:cNvSpPr/>
            <p:nvPr/>
          </p:nvSpPr>
          <p:spPr>
            <a:xfrm>
              <a:off x="4915135" y="2458094"/>
              <a:ext cx="2582516" cy="1435530"/>
            </a:xfrm>
            <a:custGeom>
              <a:avLst/>
              <a:gdLst/>
              <a:ahLst/>
              <a:cxnLst/>
              <a:rect l="l" t="t" r="r" b="b"/>
              <a:pathLst>
                <a:path w="2780029" h="1608454">
                  <a:moveTo>
                    <a:pt x="1389938" y="0"/>
                  </a:moveTo>
                  <a:lnTo>
                    <a:pt x="0" y="802474"/>
                  </a:lnTo>
                  <a:lnTo>
                    <a:pt x="1392148" y="1607947"/>
                  </a:lnTo>
                  <a:lnTo>
                    <a:pt x="2779864" y="802474"/>
                  </a:lnTo>
                  <a:lnTo>
                    <a:pt x="1389938" y="0"/>
                  </a:lnTo>
                  <a:close/>
                </a:path>
              </a:pathLst>
            </a:custGeom>
            <a:solidFill>
              <a:srgbClr val="0089CF"/>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0" name="bk object 26">
              <a:extLst>
                <a:ext uri="{FF2B5EF4-FFF2-40B4-BE49-F238E27FC236}">
                  <a16:creationId xmlns:a16="http://schemas.microsoft.com/office/drawing/2014/main" id="{FB094D6C-0927-4D2E-BAFE-74B86BF591A0}"/>
                </a:ext>
              </a:extLst>
            </p:cNvPr>
            <p:cNvSpPr/>
            <p:nvPr/>
          </p:nvSpPr>
          <p:spPr>
            <a:xfrm>
              <a:off x="4915133" y="3174299"/>
              <a:ext cx="1293618" cy="1432697"/>
            </a:xfrm>
            <a:custGeom>
              <a:avLst/>
              <a:gdLst/>
              <a:ahLst/>
              <a:cxnLst/>
              <a:rect l="l" t="t" r="r" b="b"/>
              <a:pathLst>
                <a:path w="1392554" h="1605279">
                  <a:moveTo>
                    <a:pt x="0" y="0"/>
                  </a:moveTo>
                  <a:lnTo>
                    <a:pt x="0" y="1604949"/>
                  </a:lnTo>
                  <a:lnTo>
                    <a:pt x="1392148" y="805472"/>
                  </a:lnTo>
                  <a:lnTo>
                    <a:pt x="0" y="0"/>
                  </a:lnTo>
                  <a:close/>
                </a:path>
              </a:pathLst>
            </a:custGeom>
            <a:solidFill>
              <a:srgbClr val="4FA8DE"/>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1" name="bk object 23">
              <a:hlinkClick r:id="" action="ppaction://noaction"/>
              <a:extLst>
                <a:ext uri="{FF2B5EF4-FFF2-40B4-BE49-F238E27FC236}">
                  <a16:creationId xmlns:a16="http://schemas.microsoft.com/office/drawing/2014/main" id="{8504CE44-68EE-4AA0-80C9-F05305817FB5}"/>
                </a:ext>
              </a:extLst>
            </p:cNvPr>
            <p:cNvSpPr/>
            <p:nvPr/>
          </p:nvSpPr>
          <p:spPr>
            <a:xfrm>
              <a:off x="4920511" y="3893178"/>
              <a:ext cx="1293618" cy="1429864"/>
            </a:xfrm>
            <a:custGeom>
              <a:avLst/>
              <a:gdLst/>
              <a:ahLst/>
              <a:cxnLst/>
              <a:rect l="l" t="t" r="r" b="b"/>
              <a:pathLst>
                <a:path w="1392554" h="1602104">
                  <a:moveTo>
                    <a:pt x="1392148" y="0"/>
                  </a:moveTo>
                  <a:lnTo>
                    <a:pt x="0" y="799477"/>
                  </a:lnTo>
                  <a:lnTo>
                    <a:pt x="1389938" y="1601965"/>
                  </a:lnTo>
                  <a:lnTo>
                    <a:pt x="1392148" y="0"/>
                  </a:lnTo>
                  <a:close/>
                </a:path>
              </a:pathLst>
            </a:custGeom>
            <a:solidFill>
              <a:srgbClr val="259FDA"/>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2" name="bk object 25">
              <a:extLst>
                <a:ext uri="{FF2B5EF4-FFF2-40B4-BE49-F238E27FC236}">
                  <a16:creationId xmlns:a16="http://schemas.microsoft.com/office/drawing/2014/main" id="{02C81F57-9CC1-4237-985C-9796F21413DE}"/>
                </a:ext>
              </a:extLst>
            </p:cNvPr>
            <p:cNvSpPr/>
            <p:nvPr/>
          </p:nvSpPr>
          <p:spPr>
            <a:xfrm>
              <a:off x="6214342" y="3893175"/>
              <a:ext cx="1291257" cy="1429865"/>
            </a:xfrm>
            <a:custGeom>
              <a:avLst/>
              <a:gdLst/>
              <a:ahLst/>
              <a:cxnLst/>
              <a:rect l="l" t="t" r="r" b="b"/>
              <a:pathLst>
                <a:path w="1390015" h="1602104">
                  <a:moveTo>
                    <a:pt x="2209" y="0"/>
                  </a:moveTo>
                  <a:lnTo>
                    <a:pt x="0" y="1601965"/>
                  </a:lnTo>
                  <a:lnTo>
                    <a:pt x="1389938" y="799477"/>
                  </a:lnTo>
                  <a:lnTo>
                    <a:pt x="2209" y="0"/>
                  </a:lnTo>
                  <a:close/>
                </a:path>
              </a:pathLst>
            </a:custGeom>
            <a:solidFill>
              <a:srgbClr val="0097D6"/>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3" name="bk object 17">
              <a:extLst>
                <a:ext uri="{FF2B5EF4-FFF2-40B4-BE49-F238E27FC236}">
                  <a16:creationId xmlns:a16="http://schemas.microsoft.com/office/drawing/2014/main" id="{6B6BBC68-F455-4487-B1A7-AD43800BB37C}"/>
                </a:ext>
              </a:extLst>
            </p:cNvPr>
            <p:cNvSpPr/>
            <p:nvPr/>
          </p:nvSpPr>
          <p:spPr>
            <a:xfrm>
              <a:off x="2332764" y="2458094"/>
              <a:ext cx="2582517" cy="1435530"/>
            </a:xfrm>
            <a:custGeom>
              <a:avLst/>
              <a:gdLst/>
              <a:ahLst/>
              <a:cxnLst/>
              <a:rect l="l" t="t" r="r" b="b"/>
              <a:pathLst>
                <a:path w="2780029" h="1608454">
                  <a:moveTo>
                    <a:pt x="1389938" y="0"/>
                  </a:moveTo>
                  <a:lnTo>
                    <a:pt x="0" y="802474"/>
                  </a:lnTo>
                  <a:lnTo>
                    <a:pt x="1392148" y="1607947"/>
                  </a:lnTo>
                  <a:lnTo>
                    <a:pt x="2779864" y="802474"/>
                  </a:lnTo>
                  <a:lnTo>
                    <a:pt x="1389938" y="0"/>
                  </a:lnTo>
                  <a:close/>
                </a:path>
              </a:pathLst>
            </a:custGeom>
            <a:solidFill>
              <a:srgbClr val="F26522"/>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4" name="bk object 21">
              <a:extLst>
                <a:ext uri="{FF2B5EF4-FFF2-40B4-BE49-F238E27FC236}">
                  <a16:creationId xmlns:a16="http://schemas.microsoft.com/office/drawing/2014/main" id="{980B2DB7-91FA-44C0-AFE6-602EE4F8A185}"/>
                </a:ext>
              </a:extLst>
            </p:cNvPr>
            <p:cNvSpPr/>
            <p:nvPr/>
          </p:nvSpPr>
          <p:spPr>
            <a:xfrm>
              <a:off x="2332761" y="3174299"/>
              <a:ext cx="1293618" cy="1432697"/>
            </a:xfrm>
            <a:custGeom>
              <a:avLst/>
              <a:gdLst/>
              <a:ahLst/>
              <a:cxnLst/>
              <a:rect l="l" t="t" r="r" b="b"/>
              <a:pathLst>
                <a:path w="1392554" h="1605279">
                  <a:moveTo>
                    <a:pt x="0" y="0"/>
                  </a:moveTo>
                  <a:lnTo>
                    <a:pt x="0" y="1604949"/>
                  </a:lnTo>
                  <a:lnTo>
                    <a:pt x="1392148" y="805472"/>
                  </a:lnTo>
                  <a:lnTo>
                    <a:pt x="0" y="0"/>
                  </a:lnTo>
                  <a:close/>
                </a:path>
              </a:pathLst>
            </a:custGeom>
            <a:solidFill>
              <a:srgbClr val="F79A66"/>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5" name="bk object 19">
              <a:extLst>
                <a:ext uri="{FF2B5EF4-FFF2-40B4-BE49-F238E27FC236}">
                  <a16:creationId xmlns:a16="http://schemas.microsoft.com/office/drawing/2014/main" id="{A7076DC1-87E1-42D9-A06D-6EB5A51B9400}"/>
                </a:ext>
              </a:extLst>
            </p:cNvPr>
            <p:cNvSpPr/>
            <p:nvPr/>
          </p:nvSpPr>
          <p:spPr>
            <a:xfrm>
              <a:off x="3625997" y="3174304"/>
              <a:ext cx="1289489" cy="1432697"/>
            </a:xfrm>
            <a:custGeom>
              <a:avLst/>
              <a:gdLst/>
              <a:ahLst/>
              <a:cxnLst/>
              <a:rect l="l" t="t" r="r" b="b"/>
              <a:pathLst>
                <a:path w="1388110" h="1605279">
                  <a:moveTo>
                    <a:pt x="1387728" y="0"/>
                  </a:moveTo>
                  <a:lnTo>
                    <a:pt x="0" y="805472"/>
                  </a:lnTo>
                  <a:lnTo>
                    <a:pt x="1387728" y="1604949"/>
                  </a:lnTo>
                  <a:lnTo>
                    <a:pt x="1387728" y="0"/>
                  </a:lnTo>
                  <a:close/>
                </a:path>
              </a:pathLst>
            </a:custGeom>
            <a:solidFill>
              <a:srgbClr val="F37330"/>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6" name="bk object 18">
              <a:extLst>
                <a:ext uri="{FF2B5EF4-FFF2-40B4-BE49-F238E27FC236}">
                  <a16:creationId xmlns:a16="http://schemas.microsoft.com/office/drawing/2014/main" id="{68C21682-4ECD-4893-8509-F7B6133CD4BE}"/>
                </a:ext>
              </a:extLst>
            </p:cNvPr>
            <p:cNvSpPr/>
            <p:nvPr/>
          </p:nvSpPr>
          <p:spPr>
            <a:xfrm>
              <a:off x="2332764" y="3893178"/>
              <a:ext cx="1293618" cy="1429864"/>
            </a:xfrm>
            <a:custGeom>
              <a:avLst/>
              <a:gdLst/>
              <a:ahLst/>
              <a:cxnLst/>
              <a:rect l="l" t="t" r="r" b="b"/>
              <a:pathLst>
                <a:path w="1392554" h="1602104">
                  <a:moveTo>
                    <a:pt x="1392148" y="0"/>
                  </a:moveTo>
                  <a:lnTo>
                    <a:pt x="0" y="799477"/>
                  </a:lnTo>
                  <a:lnTo>
                    <a:pt x="1389938" y="1601965"/>
                  </a:lnTo>
                  <a:lnTo>
                    <a:pt x="1392148" y="0"/>
                  </a:lnTo>
                  <a:close/>
                </a:path>
              </a:pathLst>
            </a:custGeom>
            <a:solidFill>
              <a:srgbClr val="F68D54"/>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7" name="bk object 20">
              <a:extLst>
                <a:ext uri="{FF2B5EF4-FFF2-40B4-BE49-F238E27FC236}">
                  <a16:creationId xmlns:a16="http://schemas.microsoft.com/office/drawing/2014/main" id="{A64C238C-5CC1-42BE-B652-14D56832640B}"/>
                </a:ext>
              </a:extLst>
            </p:cNvPr>
            <p:cNvSpPr/>
            <p:nvPr/>
          </p:nvSpPr>
          <p:spPr>
            <a:xfrm>
              <a:off x="3623681" y="3890695"/>
              <a:ext cx="1291258" cy="1429864"/>
            </a:xfrm>
            <a:custGeom>
              <a:avLst/>
              <a:gdLst/>
              <a:ahLst/>
              <a:cxnLst/>
              <a:rect l="l" t="t" r="r" b="b"/>
              <a:pathLst>
                <a:path w="1390014" h="1602104">
                  <a:moveTo>
                    <a:pt x="2209" y="0"/>
                  </a:moveTo>
                  <a:lnTo>
                    <a:pt x="0" y="1601965"/>
                  </a:lnTo>
                  <a:lnTo>
                    <a:pt x="1389938" y="799477"/>
                  </a:lnTo>
                  <a:lnTo>
                    <a:pt x="2209" y="0"/>
                  </a:lnTo>
                  <a:close/>
                </a:path>
              </a:pathLst>
            </a:custGeom>
            <a:solidFill>
              <a:srgbClr val="F58041"/>
            </a:solidFill>
            <a:ln w="6350">
              <a:solidFill>
                <a:schemeClr val="bg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4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8" name="Rectangle 27">
              <a:extLst>
                <a:ext uri="{FF2B5EF4-FFF2-40B4-BE49-F238E27FC236}">
                  <a16:creationId xmlns:a16="http://schemas.microsoft.com/office/drawing/2014/main" id="{0787852E-C007-4DB7-A18D-3EFE48066FE3}"/>
                </a:ext>
              </a:extLst>
            </p:cNvPr>
            <p:cNvSpPr/>
            <p:nvPr/>
          </p:nvSpPr>
          <p:spPr>
            <a:xfrm>
              <a:off x="4234489" y="1144439"/>
              <a:ext cx="1340376" cy="3693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adership</a:t>
              </a:r>
              <a:b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 &amp; Policy</a:t>
              </a:r>
            </a:p>
          </p:txBody>
        </p:sp>
        <p:sp>
          <p:nvSpPr>
            <p:cNvPr id="29" name="Rectangle 28">
              <a:extLst>
                <a:ext uri="{FF2B5EF4-FFF2-40B4-BE49-F238E27FC236}">
                  <a16:creationId xmlns:a16="http://schemas.microsoft.com/office/drawing/2014/main" id="{B5EFA749-7AE1-4C23-A72E-252AFBB6E5FB}"/>
                </a:ext>
              </a:extLst>
            </p:cNvPr>
            <p:cNvSpPr/>
            <p:nvPr/>
          </p:nvSpPr>
          <p:spPr>
            <a:xfrm>
              <a:off x="3687377" y="1585446"/>
              <a:ext cx="763844" cy="3416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ision for Change</a:t>
              </a:r>
            </a:p>
          </p:txBody>
        </p:sp>
        <p:sp>
          <p:nvSpPr>
            <p:cNvPr id="30" name="Rectangle 29">
              <a:extLst>
                <a:ext uri="{FF2B5EF4-FFF2-40B4-BE49-F238E27FC236}">
                  <a16:creationId xmlns:a16="http://schemas.microsoft.com/office/drawing/2014/main" id="{0FDE339E-5DC2-4951-BA88-DCCEC71FA24F}"/>
                </a:ext>
              </a:extLst>
            </p:cNvPr>
            <p:cNvSpPr/>
            <p:nvPr/>
          </p:nvSpPr>
          <p:spPr>
            <a:xfrm>
              <a:off x="4865314" y="3661427"/>
              <a:ext cx="987292" cy="466281"/>
            </a:xfrm>
            <a:prstGeom prst="rect">
              <a:avLst/>
            </a:prstGeom>
          </p:spPr>
          <p:txBody>
            <a:bodyPr wrap="square" anchor="t">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Segoe UI"/>
                </a:rPr>
                <a:t>Educator, Leader &amp; IT Development</a:t>
              </a:r>
            </a:p>
          </p:txBody>
        </p:sp>
        <p:sp>
          <p:nvSpPr>
            <p:cNvPr id="31" name="Rectangle 30">
              <a:extLst>
                <a:ext uri="{FF2B5EF4-FFF2-40B4-BE49-F238E27FC236}">
                  <a16:creationId xmlns:a16="http://schemas.microsoft.com/office/drawing/2014/main" id="{745F5A0F-C97A-44A2-B630-7FD5EFD6E3EB}"/>
                </a:ext>
              </a:extLst>
            </p:cNvPr>
            <p:cNvSpPr/>
            <p:nvPr/>
          </p:nvSpPr>
          <p:spPr>
            <a:xfrm>
              <a:off x="6446774" y="1190129"/>
              <a:ext cx="2115656" cy="230832"/>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Teaching &amp; Learning</a:t>
              </a:r>
            </a:p>
          </p:txBody>
        </p:sp>
        <p:sp>
          <p:nvSpPr>
            <p:cNvPr id="32" name="Rectangle 31">
              <a:extLst>
                <a:ext uri="{FF2B5EF4-FFF2-40B4-BE49-F238E27FC236}">
                  <a16:creationId xmlns:a16="http://schemas.microsoft.com/office/drawing/2014/main" id="{58CDB4A8-25D1-4F84-9D53-48EFF4366CA3}"/>
                </a:ext>
              </a:extLst>
            </p:cNvPr>
            <p:cNvSpPr/>
            <p:nvPr/>
          </p:nvSpPr>
          <p:spPr>
            <a:xfrm>
              <a:off x="5238852" y="4410104"/>
              <a:ext cx="975277" cy="341632"/>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Future-Ready </a:t>
              </a:r>
              <a:b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kills</a:t>
              </a:r>
            </a:p>
          </p:txBody>
        </p:sp>
        <p:sp>
          <p:nvSpPr>
            <p:cNvPr id="33" name="Rectangle 32">
              <a:extLst>
                <a:ext uri="{FF2B5EF4-FFF2-40B4-BE49-F238E27FC236}">
                  <a16:creationId xmlns:a16="http://schemas.microsoft.com/office/drawing/2014/main" id="{6E54D509-3D9A-4243-887A-E75AFABEBE50}"/>
                </a:ext>
              </a:extLst>
            </p:cNvPr>
            <p:cNvSpPr/>
            <p:nvPr/>
          </p:nvSpPr>
          <p:spPr>
            <a:xfrm>
              <a:off x="6494581" y="2247302"/>
              <a:ext cx="1077621" cy="3416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urriculum &amp; Assessment</a:t>
              </a:r>
            </a:p>
          </p:txBody>
        </p:sp>
        <p:sp>
          <p:nvSpPr>
            <p:cNvPr id="34" name="Rectangle 33">
              <a:extLst>
                <a:ext uri="{FF2B5EF4-FFF2-40B4-BE49-F238E27FC236}">
                  <a16:creationId xmlns:a16="http://schemas.microsoft.com/office/drawing/2014/main" id="{5CFB8451-D549-403A-89A2-3483349D802D}"/>
                </a:ext>
              </a:extLst>
            </p:cNvPr>
            <p:cNvSpPr/>
            <p:nvPr/>
          </p:nvSpPr>
          <p:spPr>
            <a:xfrm>
              <a:off x="6144611" y="4395868"/>
              <a:ext cx="1110729" cy="341632"/>
            </a:xfrm>
            <a:prstGeom prst="rect">
              <a:avLst/>
            </a:prstGeom>
          </p:spPr>
          <p:txBody>
            <a:bodyPr wrap="square" anchor="t">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Segoe UI"/>
                </a:rPr>
                <a:t>Social Emotional Learning</a:t>
              </a:r>
            </a:p>
          </p:txBody>
        </p:sp>
        <p:sp>
          <p:nvSpPr>
            <p:cNvPr id="35" name="Rectangle 34">
              <a:extLst>
                <a:ext uri="{FF2B5EF4-FFF2-40B4-BE49-F238E27FC236}">
                  <a16:creationId xmlns:a16="http://schemas.microsoft.com/office/drawing/2014/main" id="{5E4EF1DE-4BFE-45EC-8B78-66E3D15C401F}"/>
                </a:ext>
              </a:extLst>
            </p:cNvPr>
            <p:cNvSpPr/>
            <p:nvPr/>
          </p:nvSpPr>
          <p:spPr>
            <a:xfrm>
              <a:off x="2824136" y="3296752"/>
              <a:ext cx="1599772" cy="230832"/>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Intelligent Environments</a:t>
              </a:r>
            </a:p>
          </p:txBody>
        </p:sp>
        <p:sp>
          <p:nvSpPr>
            <p:cNvPr id="36" name="Rectangle 35">
              <a:extLst>
                <a:ext uri="{FF2B5EF4-FFF2-40B4-BE49-F238E27FC236}">
                  <a16:creationId xmlns:a16="http://schemas.microsoft.com/office/drawing/2014/main" id="{433F369A-5D21-4530-8CAF-C3EB74F7FB29}"/>
                </a:ext>
              </a:extLst>
            </p:cNvPr>
            <p:cNvSpPr/>
            <p:nvPr/>
          </p:nvSpPr>
          <p:spPr>
            <a:xfrm>
              <a:off x="2181744" y="3738716"/>
              <a:ext cx="1244867" cy="203133"/>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panose="020B0502040204020203" pitchFamily="34" charset="0"/>
                <a:ea typeface="Segoe UI" charset="0"/>
                <a:cs typeface="Segoe UI" panose="020B0502040204020203" pitchFamily="34" charset="0"/>
              </a:endParaRPr>
            </a:p>
          </p:txBody>
        </p:sp>
        <p:sp>
          <p:nvSpPr>
            <p:cNvPr id="37" name="Rectangle 36">
              <a:extLst>
                <a:ext uri="{FF2B5EF4-FFF2-40B4-BE49-F238E27FC236}">
                  <a16:creationId xmlns:a16="http://schemas.microsoft.com/office/drawing/2014/main" id="{15512E5D-08D6-4BAE-A673-D16726739B5B}"/>
                </a:ext>
              </a:extLst>
            </p:cNvPr>
            <p:cNvSpPr/>
            <p:nvPr/>
          </p:nvSpPr>
          <p:spPr>
            <a:xfrm>
              <a:off x="2726892" y="4426198"/>
              <a:ext cx="834879" cy="203133"/>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8" name="Rectangle 37">
              <a:extLst>
                <a:ext uri="{FF2B5EF4-FFF2-40B4-BE49-F238E27FC236}">
                  <a16:creationId xmlns:a16="http://schemas.microsoft.com/office/drawing/2014/main" id="{D3F4FEBC-18ED-494D-9E21-AF40235C196B}"/>
                </a:ext>
              </a:extLst>
            </p:cNvPr>
            <p:cNvSpPr/>
            <p:nvPr/>
          </p:nvSpPr>
          <p:spPr>
            <a:xfrm>
              <a:off x="3567228" y="4467513"/>
              <a:ext cx="1029035" cy="203133"/>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39" name="Rectangle 38">
              <a:extLst>
                <a:ext uri="{FF2B5EF4-FFF2-40B4-BE49-F238E27FC236}">
                  <a16:creationId xmlns:a16="http://schemas.microsoft.com/office/drawing/2014/main" id="{96757DC9-165C-4E0C-9C8C-72F22F26CFC9}"/>
                </a:ext>
              </a:extLst>
            </p:cNvPr>
            <p:cNvSpPr/>
            <p:nvPr/>
          </p:nvSpPr>
          <p:spPr>
            <a:xfrm>
              <a:off x="3869026" y="3747373"/>
              <a:ext cx="1029035" cy="203133"/>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0" name="Rectangle 39">
              <a:extLst>
                <a:ext uri="{FF2B5EF4-FFF2-40B4-BE49-F238E27FC236}">
                  <a16:creationId xmlns:a16="http://schemas.microsoft.com/office/drawing/2014/main" id="{A2AE6AD7-596F-498C-AC38-96DCD7F70715}"/>
                </a:ext>
              </a:extLst>
            </p:cNvPr>
            <p:cNvSpPr/>
            <p:nvPr/>
          </p:nvSpPr>
          <p:spPr>
            <a:xfrm>
              <a:off x="5574865" y="3296365"/>
              <a:ext cx="1263092" cy="369332"/>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tudent &amp; School Success</a:t>
              </a:r>
            </a:p>
          </p:txBody>
        </p:sp>
        <p:pic>
          <p:nvPicPr>
            <p:cNvPr id="41" name="Picture 40">
              <a:extLst>
                <a:ext uri="{FF2B5EF4-FFF2-40B4-BE49-F238E27FC236}">
                  <a16:creationId xmlns:a16="http://schemas.microsoft.com/office/drawing/2014/main" id="{F267D1A4-6DF3-49DC-90BF-681EE34B50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03234" y="512470"/>
              <a:ext cx="623870" cy="598821"/>
            </a:xfrm>
            <a:prstGeom prst="rect">
              <a:avLst/>
            </a:prstGeom>
          </p:spPr>
        </p:pic>
        <p:sp>
          <p:nvSpPr>
            <p:cNvPr id="42" name="Rectangle 41">
              <a:extLst>
                <a:ext uri="{FF2B5EF4-FFF2-40B4-BE49-F238E27FC236}">
                  <a16:creationId xmlns:a16="http://schemas.microsoft.com/office/drawing/2014/main" id="{1D656334-15DA-4CFC-A617-CD8A56913471}"/>
                </a:ext>
              </a:extLst>
            </p:cNvPr>
            <p:cNvSpPr/>
            <p:nvPr/>
          </p:nvSpPr>
          <p:spPr>
            <a:xfrm>
              <a:off x="6647607" y="3652604"/>
              <a:ext cx="844948" cy="466281"/>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Equity, Inclusion &amp; Accessibility</a:t>
              </a:r>
            </a:p>
          </p:txBody>
        </p:sp>
        <p:sp>
          <p:nvSpPr>
            <p:cNvPr id="43" name="Rectangle 42">
              <a:extLst>
                <a:ext uri="{FF2B5EF4-FFF2-40B4-BE49-F238E27FC236}">
                  <a16:creationId xmlns:a16="http://schemas.microsoft.com/office/drawing/2014/main" id="{3A60BFFB-56BC-482D-825E-325DA575BBA3}"/>
                </a:ext>
              </a:extLst>
            </p:cNvPr>
            <p:cNvSpPr/>
            <p:nvPr/>
          </p:nvSpPr>
          <p:spPr>
            <a:xfrm>
              <a:off x="3934599" y="3726095"/>
              <a:ext cx="913940" cy="341632"/>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dvanced Analytics &amp; AI</a:t>
              </a:r>
            </a:p>
          </p:txBody>
        </p:sp>
        <p:sp>
          <p:nvSpPr>
            <p:cNvPr id="44" name="Rectangle 43">
              <a:extLst>
                <a:ext uri="{FF2B5EF4-FFF2-40B4-BE49-F238E27FC236}">
                  <a16:creationId xmlns:a16="http://schemas.microsoft.com/office/drawing/2014/main" id="{7351C27C-CCD3-4146-A7CD-E1BB42FE52F2}"/>
                </a:ext>
              </a:extLst>
            </p:cNvPr>
            <p:cNvSpPr/>
            <p:nvPr/>
          </p:nvSpPr>
          <p:spPr>
            <a:xfrm>
              <a:off x="7726495" y="1650439"/>
              <a:ext cx="1113324" cy="216982"/>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Learning Spaces</a:t>
              </a:r>
            </a:p>
          </p:txBody>
        </p:sp>
        <p:sp>
          <p:nvSpPr>
            <p:cNvPr id="45" name="TextBox 44">
              <a:extLst>
                <a:ext uri="{FF2B5EF4-FFF2-40B4-BE49-F238E27FC236}">
                  <a16:creationId xmlns:a16="http://schemas.microsoft.com/office/drawing/2014/main" id="{0352357A-A952-4351-B01E-452D514182F4}"/>
                </a:ext>
              </a:extLst>
            </p:cNvPr>
            <p:cNvSpPr txBox="1"/>
            <p:nvPr/>
          </p:nvSpPr>
          <p:spPr>
            <a:xfrm>
              <a:off x="5194490" y="1534580"/>
              <a:ext cx="1028473" cy="466281"/>
            </a:xfrm>
            <a:prstGeom prst="rect">
              <a:avLst/>
            </a:prstGeom>
          </p:spPr>
          <p:txBody>
            <a:bodyPr wrap="square">
              <a:spAutoFit/>
            </a:bodyPr>
            <a:lstStyle>
              <a:defPPr>
                <a:defRPr lang="en-US"/>
              </a:defPPr>
              <a:lvl1pPr algn="ctr">
                <a:lnSpc>
                  <a:spcPct val="90000"/>
                </a:lnSpc>
                <a:defRPr sz="900" kern="0">
                  <a:solidFill>
                    <a:prstClr val="white"/>
                  </a:solidFill>
                  <a:latin typeface="Segoe UI Semibold" panose="020B0702040204020203" pitchFamily="34" charset="0"/>
                  <a:cs typeface="Segoe UI Semibold" panose="020B0702040204020203" pitchFamily="34" charset="0"/>
                </a:defRPr>
              </a:lvl1p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mmunity Engagement &amp; Partnerships</a:t>
              </a:r>
            </a:p>
          </p:txBody>
        </p:sp>
        <p:sp>
          <p:nvSpPr>
            <p:cNvPr id="46" name="Rectangle 45">
              <a:extLst>
                <a:ext uri="{FF2B5EF4-FFF2-40B4-BE49-F238E27FC236}">
                  <a16:creationId xmlns:a16="http://schemas.microsoft.com/office/drawing/2014/main" id="{10048362-23E8-45FF-83CF-C944DC92E474}"/>
                </a:ext>
              </a:extLst>
            </p:cNvPr>
            <p:cNvSpPr/>
            <p:nvPr/>
          </p:nvSpPr>
          <p:spPr>
            <a:xfrm>
              <a:off x="4913757" y="2205377"/>
              <a:ext cx="954037" cy="491689"/>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ntinuous Improvement &amp; Culture</a:t>
              </a:r>
            </a:p>
          </p:txBody>
        </p:sp>
        <p:sp>
          <p:nvSpPr>
            <p:cNvPr id="47" name="TextBox 46">
              <a:extLst>
                <a:ext uri="{FF2B5EF4-FFF2-40B4-BE49-F238E27FC236}">
                  <a16:creationId xmlns:a16="http://schemas.microsoft.com/office/drawing/2014/main" id="{98FF828D-BDB7-401A-8196-95D7169609D3}"/>
                </a:ext>
              </a:extLst>
            </p:cNvPr>
            <p:cNvSpPr txBox="1"/>
            <p:nvPr/>
          </p:nvSpPr>
          <p:spPr>
            <a:xfrm>
              <a:off x="7437807" y="2212871"/>
              <a:ext cx="1005878" cy="341632"/>
            </a:xfrm>
            <a:prstGeom prst="rect">
              <a:avLst/>
            </a:prstGeom>
          </p:spPr>
          <p:txBody>
            <a:bodyPr wrap="square">
              <a:spAutoFit/>
            </a:bodyPr>
            <a:lstStyle>
              <a:defPPr>
                <a:defRPr lang="en-US"/>
              </a:defPPr>
              <a:lvl1pPr algn="ctr">
                <a:lnSpc>
                  <a:spcPct val="90000"/>
                </a:lnSpc>
                <a:defRPr sz="900" kern="0">
                  <a:solidFill>
                    <a:prstClr val="white"/>
                  </a:solidFill>
                  <a:latin typeface="Segoe UI Semibold" panose="020B0702040204020203" pitchFamily="34" charset="0"/>
                  <a:cs typeface="Segoe UI Semibold" panose="020B0702040204020203" pitchFamily="34" charset="0"/>
                </a:defRPr>
              </a:lvl1p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Devices for Learning</a:t>
              </a:r>
            </a:p>
          </p:txBody>
        </p:sp>
        <p:sp>
          <p:nvSpPr>
            <p:cNvPr id="48" name="Rectangle 47">
              <a:extLst>
                <a:ext uri="{FF2B5EF4-FFF2-40B4-BE49-F238E27FC236}">
                  <a16:creationId xmlns:a16="http://schemas.microsoft.com/office/drawing/2014/main" id="{D7561471-6F69-40AA-B898-FE9A9BA67F90}"/>
                </a:ext>
              </a:extLst>
            </p:cNvPr>
            <p:cNvSpPr/>
            <p:nvPr/>
          </p:nvSpPr>
          <p:spPr>
            <a:xfrm>
              <a:off x="3957291" y="2235861"/>
              <a:ext cx="978336" cy="466281"/>
            </a:xfrm>
            <a:prstGeom prst="rect">
              <a:avLst/>
            </a:prstGeom>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trategic Planning &amp; Change Mgmt.</a:t>
              </a:r>
              <a:endParaRPr kumimoji="0" lang="en-US" sz="900" b="0" i="0" u="sng"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9" name="TextBox 48">
              <a:extLst>
                <a:ext uri="{FF2B5EF4-FFF2-40B4-BE49-F238E27FC236}">
                  <a16:creationId xmlns:a16="http://schemas.microsoft.com/office/drawing/2014/main" id="{34C97A14-7161-445B-A1CA-EDF682C9F950}"/>
                </a:ext>
              </a:extLst>
            </p:cNvPr>
            <p:cNvSpPr txBox="1"/>
            <p:nvPr/>
          </p:nvSpPr>
          <p:spPr>
            <a:xfrm>
              <a:off x="3645409" y="4426886"/>
              <a:ext cx="936204" cy="466281"/>
            </a:xfrm>
            <a:prstGeom prst="rect">
              <a:avLst/>
            </a:prstGeom>
          </p:spPr>
          <p:txBody>
            <a:bodyPr wrap="square">
              <a:spAutoFit/>
            </a:bodyPr>
            <a:lstStyle>
              <a:defPPr>
                <a:defRPr lang="en-US"/>
              </a:defPPr>
              <a:lvl1pPr algn="ctr">
                <a:lnSpc>
                  <a:spcPct val="90000"/>
                </a:lnSpc>
                <a:defRPr sz="800" kern="0">
                  <a:solidFill>
                    <a:prstClr val="white"/>
                  </a:solidFill>
                  <a:latin typeface="Segoe UI" charset="0"/>
                  <a:cs typeface="Segoe UI" charset="0"/>
                </a:defRPr>
              </a:lvl1p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ptimized &amp; Sustainable Operations</a:t>
              </a:r>
            </a:p>
          </p:txBody>
        </p:sp>
        <p:sp>
          <p:nvSpPr>
            <p:cNvPr id="50" name="TextBox 49">
              <a:extLst>
                <a:ext uri="{FF2B5EF4-FFF2-40B4-BE49-F238E27FC236}">
                  <a16:creationId xmlns:a16="http://schemas.microsoft.com/office/drawing/2014/main" id="{EE9D8700-522D-4EC4-8B56-CAC5013BA315}"/>
                </a:ext>
              </a:extLst>
            </p:cNvPr>
            <p:cNvSpPr txBox="1"/>
            <p:nvPr/>
          </p:nvSpPr>
          <p:spPr>
            <a:xfrm>
              <a:off x="2644167" y="4442053"/>
              <a:ext cx="966223" cy="341632"/>
            </a:xfrm>
            <a:prstGeom prst="rect">
              <a:avLst/>
            </a:prstGeom>
          </p:spPr>
          <p:txBody>
            <a:bodyPr wrap="square">
              <a:spAutoFit/>
            </a:bodyPr>
            <a:lstStyle>
              <a:defPPr>
                <a:defRPr lang="en-US"/>
              </a:defPPr>
              <a:lvl1pPr algn="ctr">
                <a:lnSpc>
                  <a:spcPct val="90000"/>
                </a:lnSpc>
                <a:defRPr sz="900" kern="0">
                  <a:solidFill>
                    <a:prstClr val="white"/>
                  </a:solidFill>
                  <a:latin typeface="Segoe UI Semibold" panose="020B0702040204020203" pitchFamily="34" charset="0"/>
                  <a:cs typeface="Segoe UI Semibold" panose="020B0702040204020203" pitchFamily="34" charset="0"/>
                </a:defRPr>
              </a:lvl1p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afety, Security &amp; Privacy</a:t>
              </a:r>
            </a:p>
          </p:txBody>
        </p:sp>
        <p:sp>
          <p:nvSpPr>
            <p:cNvPr id="51" name="Rectangle 50">
              <a:extLst>
                <a:ext uri="{FF2B5EF4-FFF2-40B4-BE49-F238E27FC236}">
                  <a16:creationId xmlns:a16="http://schemas.microsoft.com/office/drawing/2014/main" id="{A7A880A5-34F5-4742-A607-D6B6B954BC8F}"/>
                </a:ext>
              </a:extLst>
            </p:cNvPr>
            <p:cNvSpPr/>
            <p:nvPr/>
          </p:nvSpPr>
          <p:spPr>
            <a:xfrm>
              <a:off x="6200748" y="1613752"/>
              <a:ext cx="1137242" cy="341632"/>
            </a:xfrm>
            <a:prstGeom prst="rect">
              <a:avLst/>
            </a:prstGeom>
          </p:spPr>
          <p:txBody>
            <a:bodyPr wrap="square" anchor="t">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Segoe UI"/>
                </a:rPr>
                <a:t>Student-centered Learning</a:t>
              </a:r>
            </a:p>
          </p:txBody>
        </p:sp>
        <p:pic>
          <p:nvPicPr>
            <p:cNvPr id="52" name="Picture 2" descr="See the source image">
              <a:extLst>
                <a:ext uri="{FF2B5EF4-FFF2-40B4-BE49-F238E27FC236}">
                  <a16:creationId xmlns:a16="http://schemas.microsoft.com/office/drawing/2014/main" id="{9189B45A-ACC3-4F61-A16C-3AA47D5AB461}"/>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374514" y="2744714"/>
              <a:ext cx="507529" cy="507529"/>
            </a:xfrm>
            <a:prstGeom prst="rect">
              <a:avLst/>
            </a:prstGeom>
            <a:noFill/>
            <a:extLst>
              <a:ext uri="{909E8E84-426E-40DD-AFC4-6F175D3DCCD1}">
                <a14:hiddenFill xmlns:a14="http://schemas.microsoft.com/office/drawing/2010/main">
                  <a:solidFill>
                    <a:srgbClr val="FFFFFF"/>
                  </a:solidFill>
                </a14:hiddenFill>
              </a:ext>
            </a:extLst>
          </p:spPr>
        </p:pic>
        <p:pic>
          <p:nvPicPr>
            <p:cNvPr id="53" name="Graphic 52" descr="Aspiration">
              <a:extLst>
                <a:ext uri="{FF2B5EF4-FFF2-40B4-BE49-F238E27FC236}">
                  <a16:creationId xmlns:a16="http://schemas.microsoft.com/office/drawing/2014/main" id="{7494CFB3-27A7-4C34-9EDD-18F399A5A14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5956" y="2549634"/>
              <a:ext cx="779596" cy="779596"/>
            </a:xfrm>
            <a:prstGeom prst="rect">
              <a:avLst/>
            </a:prstGeom>
          </p:spPr>
        </p:pic>
        <p:pic>
          <p:nvPicPr>
            <p:cNvPr id="54" name="Graphic 53" descr="Head with gears">
              <a:extLst>
                <a:ext uri="{FF2B5EF4-FFF2-40B4-BE49-F238E27FC236}">
                  <a16:creationId xmlns:a16="http://schemas.microsoft.com/office/drawing/2014/main" id="{5A54E56F-5702-4609-A017-9AFB9BEAEAE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151396" y="480048"/>
              <a:ext cx="682319" cy="682319"/>
            </a:xfrm>
            <a:prstGeom prst="rect">
              <a:avLst/>
            </a:prstGeom>
          </p:spPr>
        </p:pic>
        <p:sp>
          <p:nvSpPr>
            <p:cNvPr id="55" name="TextBox 54">
              <a:extLst>
                <a:ext uri="{FF2B5EF4-FFF2-40B4-BE49-F238E27FC236}">
                  <a16:creationId xmlns:a16="http://schemas.microsoft.com/office/drawing/2014/main" id="{E18D3683-A470-4965-9F53-362AF4AF6B0C}"/>
                </a:ext>
              </a:extLst>
            </p:cNvPr>
            <p:cNvSpPr txBox="1"/>
            <p:nvPr/>
          </p:nvSpPr>
          <p:spPr>
            <a:xfrm>
              <a:off x="2372035" y="3822717"/>
              <a:ext cx="1064089" cy="230832"/>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Hybrid Learning</a:t>
              </a:r>
            </a:p>
          </p:txBody>
        </p:sp>
      </p:grpSp>
    </p:spTree>
    <p:extLst>
      <p:ext uri="{BB962C8B-B14F-4D97-AF65-F5344CB8AC3E}">
        <p14:creationId xmlns:p14="http://schemas.microsoft.com/office/powerpoint/2010/main" val="38554272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85BFF282-BE74-1AEC-4D93-2133A74DE403}"/>
              </a:ext>
            </a:extLst>
          </p:cNvPr>
          <p:cNvSpPr>
            <a:spLocks noGrp="1"/>
          </p:cNvSpPr>
          <p:nvPr>
            <p:ph type="title"/>
          </p:nvPr>
        </p:nvSpPr>
        <p:spPr/>
        <p:txBody>
          <a:bodyPr>
            <a:normAutofit/>
          </a:bodyPr>
          <a:lstStyle/>
          <a:p>
            <a:r>
              <a:rPr lang="en-GB" sz="4000"/>
              <a:t>Microsoft Education Transformation Framework</a:t>
            </a:r>
          </a:p>
        </p:txBody>
      </p:sp>
      <p:sp>
        <p:nvSpPr>
          <p:cNvPr id="19" name="Text Placeholder 18">
            <a:extLst>
              <a:ext uri="{FF2B5EF4-FFF2-40B4-BE49-F238E27FC236}">
                <a16:creationId xmlns:a16="http://schemas.microsoft.com/office/drawing/2014/main" id="{05C02994-CCFB-ABC1-ED51-2E4C7A08276F}"/>
              </a:ext>
            </a:extLst>
          </p:cNvPr>
          <p:cNvSpPr>
            <a:spLocks noGrp="1"/>
          </p:cNvSpPr>
          <p:nvPr>
            <p:ph type="body" sz="quarter" idx="18"/>
          </p:nvPr>
        </p:nvSpPr>
        <p:spPr>
          <a:xfrm>
            <a:off x="6390300" y="4800600"/>
            <a:ext cx="2313432" cy="1590179"/>
          </a:xfrm>
        </p:spPr>
        <p:txBody>
          <a:bodyPr/>
          <a:lstStyle/>
          <a:p>
            <a:r>
              <a:rPr lang="en-GB" sz="1600"/>
              <a:t>Intelligent Environments</a:t>
            </a:r>
          </a:p>
          <a:p>
            <a:r>
              <a:rPr lang="en-GB" sz="1200"/>
              <a:t>Developing safe and secure onsite and online environments and leveraging data analytics to optimize student outcomes and to create efficient, responsive, and sustainable processes and allocation of resources.</a:t>
            </a:r>
          </a:p>
        </p:txBody>
      </p:sp>
      <p:sp>
        <p:nvSpPr>
          <p:cNvPr id="17" name="Text Placeholder 16">
            <a:extLst>
              <a:ext uri="{FF2B5EF4-FFF2-40B4-BE49-F238E27FC236}">
                <a16:creationId xmlns:a16="http://schemas.microsoft.com/office/drawing/2014/main" id="{A35960A6-1445-40AC-B57E-7F465A1AD011}"/>
              </a:ext>
            </a:extLst>
          </p:cNvPr>
          <p:cNvSpPr>
            <a:spLocks noGrp="1"/>
          </p:cNvSpPr>
          <p:nvPr>
            <p:ph type="body" sz="quarter" idx="16"/>
          </p:nvPr>
        </p:nvSpPr>
        <p:spPr>
          <a:xfrm>
            <a:off x="584200" y="4800600"/>
            <a:ext cx="2313432" cy="1620957"/>
          </a:xfrm>
        </p:spPr>
        <p:txBody>
          <a:bodyPr/>
          <a:lstStyle/>
          <a:p>
            <a:r>
              <a:rPr lang="en-GB" sz="1600"/>
              <a:t>Leadership &amp; Policy</a:t>
            </a:r>
          </a:p>
          <a:p>
            <a:r>
              <a:rPr lang="en-GB" sz="1200"/>
              <a:t>Collaboratively envisioning and creating an intentional culture of innovation and learning, with shared goals that engage the community and motivate leaders, educators, and all stakeholders to plan and lead change.</a:t>
            </a:r>
          </a:p>
        </p:txBody>
      </p:sp>
      <p:sp>
        <p:nvSpPr>
          <p:cNvPr id="18" name="Text Placeholder 17">
            <a:extLst>
              <a:ext uri="{FF2B5EF4-FFF2-40B4-BE49-F238E27FC236}">
                <a16:creationId xmlns:a16="http://schemas.microsoft.com/office/drawing/2014/main" id="{8B395143-34D0-4E2F-C599-FA632DBC13FF}"/>
              </a:ext>
            </a:extLst>
          </p:cNvPr>
          <p:cNvSpPr>
            <a:spLocks noGrp="1"/>
          </p:cNvSpPr>
          <p:nvPr>
            <p:ph type="body" sz="quarter" idx="17"/>
          </p:nvPr>
        </p:nvSpPr>
        <p:spPr>
          <a:xfrm>
            <a:off x="3487250" y="4800600"/>
            <a:ext cx="2313432" cy="1774845"/>
          </a:xfrm>
        </p:spPr>
        <p:txBody>
          <a:bodyPr/>
          <a:lstStyle/>
          <a:p>
            <a:r>
              <a:rPr lang="en-GB" sz="1600"/>
              <a:t>Teaching &amp; Learning</a:t>
            </a:r>
          </a:p>
          <a:p>
            <a:r>
              <a:rPr lang="en-GB" sz="1200"/>
              <a:t>Helping all students achieve their potential by taking a student-</a:t>
            </a:r>
            <a:r>
              <a:rPr lang="en-GB" sz="1200" err="1"/>
              <a:t>centered</a:t>
            </a:r>
            <a:r>
              <a:rPr lang="en-GB" sz="1200"/>
              <a:t> approach to explore all aspects of teaching and learning: curriculum, assessment, devices, and spaces with a focus on understanding and meeting the needs of all students.</a:t>
            </a:r>
            <a:endParaRPr lang="en-GB"/>
          </a:p>
        </p:txBody>
      </p:sp>
      <p:sp>
        <p:nvSpPr>
          <p:cNvPr id="23" name="Text Placeholder 22">
            <a:extLst>
              <a:ext uri="{FF2B5EF4-FFF2-40B4-BE49-F238E27FC236}">
                <a16:creationId xmlns:a16="http://schemas.microsoft.com/office/drawing/2014/main" id="{2C9F43E9-B41C-3BD5-DFC6-1AC809845EC9}"/>
              </a:ext>
            </a:extLst>
          </p:cNvPr>
          <p:cNvSpPr>
            <a:spLocks noGrp="1"/>
          </p:cNvSpPr>
          <p:nvPr>
            <p:ph type="body" sz="quarter" idx="22"/>
          </p:nvPr>
        </p:nvSpPr>
        <p:spPr>
          <a:xfrm>
            <a:off x="9293351" y="4800600"/>
            <a:ext cx="2313432" cy="1759456"/>
          </a:xfrm>
        </p:spPr>
        <p:txBody>
          <a:bodyPr/>
          <a:lstStyle/>
          <a:p>
            <a:r>
              <a:rPr lang="en-GB" sz="1500"/>
              <a:t>Student &amp; School Success</a:t>
            </a:r>
          </a:p>
          <a:p>
            <a:r>
              <a:rPr lang="en-GB" sz="1200"/>
              <a:t>Anchored in equity and inclusion, building capacity through professional learning and development for all to ensure students develop their social and emotional skills and are successfully prepared for the future.</a:t>
            </a:r>
          </a:p>
        </p:txBody>
      </p:sp>
      <p:pic>
        <p:nvPicPr>
          <p:cNvPr id="33" name="Picture 32">
            <a:extLst>
              <a:ext uri="{FF2B5EF4-FFF2-40B4-BE49-F238E27FC236}">
                <a16:creationId xmlns:a16="http://schemas.microsoft.com/office/drawing/2014/main" id="{3880704A-C8D4-580B-7416-270529B70A93}"/>
              </a:ext>
            </a:extLst>
          </p:cNvPr>
          <p:cNvPicPr>
            <a:picLocks noChangeAspect="1"/>
          </p:cNvPicPr>
          <p:nvPr/>
        </p:nvPicPr>
        <p:blipFill>
          <a:blip r:embed="rId3"/>
          <a:stretch>
            <a:fillRect/>
          </a:stretch>
        </p:blipFill>
        <p:spPr>
          <a:xfrm>
            <a:off x="327808" y="1370398"/>
            <a:ext cx="11424918" cy="3264262"/>
          </a:xfrm>
          <a:prstGeom prst="rect">
            <a:avLst/>
          </a:prstGeom>
        </p:spPr>
      </p:pic>
    </p:spTree>
    <p:extLst>
      <p:ext uri="{BB962C8B-B14F-4D97-AF65-F5344CB8AC3E}">
        <p14:creationId xmlns:p14="http://schemas.microsoft.com/office/powerpoint/2010/main" val="7584722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 name="Picture 1023" descr="A picture containing balloon, aircraft, transport&#10;&#10;Description automatically generated">
            <a:extLst>
              <a:ext uri="{FF2B5EF4-FFF2-40B4-BE49-F238E27FC236}">
                <a16:creationId xmlns:a16="http://schemas.microsoft.com/office/drawing/2014/main" id="{40D0FD06-BB94-4C09-83FA-17850A4D0D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7907" y="3028950"/>
            <a:ext cx="7656186" cy="3829050"/>
          </a:xfrm>
          <a:prstGeom prst="rect">
            <a:avLst/>
          </a:prstGeom>
        </p:spPr>
      </p:pic>
      <p:grpSp>
        <p:nvGrpSpPr>
          <p:cNvPr id="205" name="Group 204">
            <a:extLst>
              <a:ext uri="{FF2B5EF4-FFF2-40B4-BE49-F238E27FC236}">
                <a16:creationId xmlns:a16="http://schemas.microsoft.com/office/drawing/2014/main" id="{517026C9-4374-4EF0-87C4-2DC236E309C3}"/>
              </a:ext>
            </a:extLst>
          </p:cNvPr>
          <p:cNvGrpSpPr/>
          <p:nvPr/>
        </p:nvGrpSpPr>
        <p:grpSpPr>
          <a:xfrm>
            <a:off x="2757408" y="5925061"/>
            <a:ext cx="637152" cy="637152"/>
            <a:chOff x="-1750340" y="-1410668"/>
            <a:chExt cx="4527550" cy="4527550"/>
          </a:xfrm>
        </p:grpSpPr>
        <p:sp>
          <p:nvSpPr>
            <p:cNvPr id="206" name="Freeform 85">
              <a:extLst>
                <a:ext uri="{FF2B5EF4-FFF2-40B4-BE49-F238E27FC236}">
                  <a16:creationId xmlns:a16="http://schemas.microsoft.com/office/drawing/2014/main" id="{F42A1CCC-6397-4337-9250-1CDD817B7FB0}"/>
                </a:ext>
              </a:extLst>
            </p:cNvPr>
            <p:cNvSpPr>
              <a:spLocks noEditPoints="1"/>
            </p:cNvSpPr>
            <p:nvPr/>
          </p:nvSpPr>
          <p:spPr bwMode="auto">
            <a:xfrm>
              <a:off x="-502565" y="543545"/>
              <a:ext cx="619125" cy="592138"/>
            </a:xfrm>
            <a:custGeom>
              <a:avLst/>
              <a:gdLst>
                <a:gd name="T0" fmla="*/ 29 w 164"/>
                <a:gd name="T1" fmla="*/ 29 h 157"/>
                <a:gd name="T2" fmla="*/ 29 w 164"/>
                <a:gd name="T3" fmla="*/ 135 h 157"/>
                <a:gd name="T4" fmla="*/ 82 w 164"/>
                <a:gd name="T5" fmla="*/ 157 h 157"/>
                <a:gd name="T6" fmla="*/ 135 w 164"/>
                <a:gd name="T7" fmla="*/ 135 h 157"/>
                <a:gd name="T8" fmla="*/ 135 w 164"/>
                <a:gd name="T9" fmla="*/ 29 h 157"/>
                <a:gd name="T10" fmla="*/ 29 w 164"/>
                <a:gd name="T11" fmla="*/ 29 h 157"/>
                <a:gd name="T12" fmla="*/ 108 w 164"/>
                <a:gd name="T13" fmla="*/ 109 h 157"/>
                <a:gd name="T14" fmla="*/ 55 w 164"/>
                <a:gd name="T15" fmla="*/ 109 h 157"/>
                <a:gd name="T16" fmla="*/ 55 w 164"/>
                <a:gd name="T17" fmla="*/ 55 h 157"/>
                <a:gd name="T18" fmla="*/ 82 w 164"/>
                <a:gd name="T19" fmla="*/ 45 h 157"/>
                <a:gd name="T20" fmla="*/ 108 w 164"/>
                <a:gd name="T21" fmla="*/ 55 h 157"/>
                <a:gd name="T22" fmla="*/ 108 w 164"/>
                <a:gd name="T23" fmla="*/ 10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57">
                  <a:moveTo>
                    <a:pt x="29" y="29"/>
                  </a:moveTo>
                  <a:cubicBezTo>
                    <a:pt x="0" y="58"/>
                    <a:pt x="0" y="106"/>
                    <a:pt x="29" y="135"/>
                  </a:cubicBezTo>
                  <a:cubicBezTo>
                    <a:pt x="44" y="150"/>
                    <a:pt x="63" y="157"/>
                    <a:pt x="82" y="157"/>
                  </a:cubicBezTo>
                  <a:cubicBezTo>
                    <a:pt x="101" y="157"/>
                    <a:pt x="120" y="150"/>
                    <a:pt x="135" y="135"/>
                  </a:cubicBezTo>
                  <a:cubicBezTo>
                    <a:pt x="164" y="106"/>
                    <a:pt x="164" y="58"/>
                    <a:pt x="135" y="29"/>
                  </a:cubicBezTo>
                  <a:cubicBezTo>
                    <a:pt x="106" y="0"/>
                    <a:pt x="58" y="0"/>
                    <a:pt x="29" y="29"/>
                  </a:cubicBezTo>
                  <a:close/>
                  <a:moveTo>
                    <a:pt x="108" y="109"/>
                  </a:moveTo>
                  <a:cubicBezTo>
                    <a:pt x="94" y="123"/>
                    <a:pt x="70" y="123"/>
                    <a:pt x="55" y="109"/>
                  </a:cubicBezTo>
                  <a:cubicBezTo>
                    <a:pt x="41" y="94"/>
                    <a:pt x="41" y="70"/>
                    <a:pt x="55" y="55"/>
                  </a:cubicBezTo>
                  <a:cubicBezTo>
                    <a:pt x="63" y="48"/>
                    <a:pt x="72" y="45"/>
                    <a:pt x="82" y="45"/>
                  </a:cubicBezTo>
                  <a:cubicBezTo>
                    <a:pt x="92" y="45"/>
                    <a:pt x="101" y="48"/>
                    <a:pt x="108" y="55"/>
                  </a:cubicBezTo>
                  <a:cubicBezTo>
                    <a:pt x="123" y="70"/>
                    <a:pt x="123" y="94"/>
                    <a:pt x="108"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Freeform 86">
              <a:extLst>
                <a:ext uri="{FF2B5EF4-FFF2-40B4-BE49-F238E27FC236}">
                  <a16:creationId xmlns:a16="http://schemas.microsoft.com/office/drawing/2014/main" id="{2FB685B7-5C96-4EE8-A016-35B119CC7F0C}"/>
                </a:ext>
              </a:extLst>
            </p:cNvPr>
            <p:cNvSpPr>
              <a:spLocks noEditPoints="1"/>
            </p:cNvSpPr>
            <p:nvPr/>
          </p:nvSpPr>
          <p:spPr bwMode="auto">
            <a:xfrm>
              <a:off x="203873" y="-166068"/>
              <a:ext cx="622300" cy="592138"/>
            </a:xfrm>
            <a:custGeom>
              <a:avLst/>
              <a:gdLst>
                <a:gd name="T0" fmla="*/ 29 w 165"/>
                <a:gd name="T1" fmla="*/ 29 h 157"/>
                <a:gd name="T2" fmla="*/ 29 w 165"/>
                <a:gd name="T3" fmla="*/ 136 h 157"/>
                <a:gd name="T4" fmla="*/ 82 w 165"/>
                <a:gd name="T5" fmla="*/ 157 h 157"/>
                <a:gd name="T6" fmla="*/ 135 w 165"/>
                <a:gd name="T7" fmla="*/ 136 h 157"/>
                <a:gd name="T8" fmla="*/ 135 w 165"/>
                <a:gd name="T9" fmla="*/ 29 h 157"/>
                <a:gd name="T10" fmla="*/ 29 w 165"/>
                <a:gd name="T11" fmla="*/ 29 h 157"/>
                <a:gd name="T12" fmla="*/ 109 w 165"/>
                <a:gd name="T13" fmla="*/ 109 h 157"/>
                <a:gd name="T14" fmla="*/ 56 w 165"/>
                <a:gd name="T15" fmla="*/ 109 h 157"/>
                <a:gd name="T16" fmla="*/ 56 w 165"/>
                <a:gd name="T17" fmla="*/ 56 h 157"/>
                <a:gd name="T18" fmla="*/ 82 w 165"/>
                <a:gd name="T19" fmla="*/ 45 h 157"/>
                <a:gd name="T20" fmla="*/ 109 w 165"/>
                <a:gd name="T21" fmla="*/ 56 h 157"/>
                <a:gd name="T22" fmla="*/ 109 w 165"/>
                <a:gd name="T23" fmla="*/ 10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57">
                  <a:moveTo>
                    <a:pt x="29" y="29"/>
                  </a:moveTo>
                  <a:cubicBezTo>
                    <a:pt x="0" y="59"/>
                    <a:pt x="0" y="106"/>
                    <a:pt x="29" y="136"/>
                  </a:cubicBezTo>
                  <a:cubicBezTo>
                    <a:pt x="44" y="150"/>
                    <a:pt x="63" y="157"/>
                    <a:pt x="82" y="157"/>
                  </a:cubicBezTo>
                  <a:cubicBezTo>
                    <a:pt x="102" y="157"/>
                    <a:pt x="121" y="150"/>
                    <a:pt x="135" y="136"/>
                  </a:cubicBezTo>
                  <a:cubicBezTo>
                    <a:pt x="165" y="106"/>
                    <a:pt x="165" y="59"/>
                    <a:pt x="135" y="29"/>
                  </a:cubicBezTo>
                  <a:cubicBezTo>
                    <a:pt x="106" y="0"/>
                    <a:pt x="59" y="0"/>
                    <a:pt x="29" y="29"/>
                  </a:cubicBezTo>
                  <a:close/>
                  <a:moveTo>
                    <a:pt x="109" y="109"/>
                  </a:moveTo>
                  <a:cubicBezTo>
                    <a:pt x="94" y="124"/>
                    <a:pt x="71" y="124"/>
                    <a:pt x="56" y="109"/>
                  </a:cubicBezTo>
                  <a:cubicBezTo>
                    <a:pt x="41" y="94"/>
                    <a:pt x="41" y="71"/>
                    <a:pt x="56" y="56"/>
                  </a:cubicBezTo>
                  <a:cubicBezTo>
                    <a:pt x="63" y="49"/>
                    <a:pt x="73" y="45"/>
                    <a:pt x="82" y="45"/>
                  </a:cubicBezTo>
                  <a:cubicBezTo>
                    <a:pt x="92" y="45"/>
                    <a:pt x="102" y="49"/>
                    <a:pt x="109" y="56"/>
                  </a:cubicBezTo>
                  <a:cubicBezTo>
                    <a:pt x="124" y="71"/>
                    <a:pt x="124" y="94"/>
                    <a:pt x="109"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Freeform 87">
              <a:extLst>
                <a:ext uri="{FF2B5EF4-FFF2-40B4-BE49-F238E27FC236}">
                  <a16:creationId xmlns:a16="http://schemas.microsoft.com/office/drawing/2014/main" id="{289AE01E-A789-4E0A-93C0-E537ED5BF46E}"/>
                </a:ext>
              </a:extLst>
            </p:cNvPr>
            <p:cNvSpPr>
              <a:spLocks noEditPoints="1"/>
            </p:cNvSpPr>
            <p:nvPr/>
          </p:nvSpPr>
          <p:spPr bwMode="auto">
            <a:xfrm>
              <a:off x="913485" y="543545"/>
              <a:ext cx="617538" cy="592138"/>
            </a:xfrm>
            <a:custGeom>
              <a:avLst/>
              <a:gdLst>
                <a:gd name="T0" fmla="*/ 29 w 164"/>
                <a:gd name="T1" fmla="*/ 29 h 157"/>
                <a:gd name="T2" fmla="*/ 29 w 164"/>
                <a:gd name="T3" fmla="*/ 135 h 157"/>
                <a:gd name="T4" fmla="*/ 82 w 164"/>
                <a:gd name="T5" fmla="*/ 157 h 157"/>
                <a:gd name="T6" fmla="*/ 135 w 164"/>
                <a:gd name="T7" fmla="*/ 135 h 157"/>
                <a:gd name="T8" fmla="*/ 135 w 164"/>
                <a:gd name="T9" fmla="*/ 29 h 157"/>
                <a:gd name="T10" fmla="*/ 29 w 164"/>
                <a:gd name="T11" fmla="*/ 29 h 157"/>
                <a:gd name="T12" fmla="*/ 108 w 164"/>
                <a:gd name="T13" fmla="*/ 109 h 157"/>
                <a:gd name="T14" fmla="*/ 55 w 164"/>
                <a:gd name="T15" fmla="*/ 109 h 157"/>
                <a:gd name="T16" fmla="*/ 55 w 164"/>
                <a:gd name="T17" fmla="*/ 55 h 157"/>
                <a:gd name="T18" fmla="*/ 82 w 164"/>
                <a:gd name="T19" fmla="*/ 45 h 157"/>
                <a:gd name="T20" fmla="*/ 108 w 164"/>
                <a:gd name="T21" fmla="*/ 55 h 157"/>
                <a:gd name="T22" fmla="*/ 108 w 164"/>
                <a:gd name="T23" fmla="*/ 10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57">
                  <a:moveTo>
                    <a:pt x="29" y="29"/>
                  </a:moveTo>
                  <a:cubicBezTo>
                    <a:pt x="0" y="58"/>
                    <a:pt x="0" y="106"/>
                    <a:pt x="29" y="135"/>
                  </a:cubicBezTo>
                  <a:cubicBezTo>
                    <a:pt x="44" y="150"/>
                    <a:pt x="63" y="157"/>
                    <a:pt x="82" y="157"/>
                  </a:cubicBezTo>
                  <a:cubicBezTo>
                    <a:pt x="101" y="157"/>
                    <a:pt x="120" y="150"/>
                    <a:pt x="135" y="135"/>
                  </a:cubicBezTo>
                  <a:cubicBezTo>
                    <a:pt x="164" y="106"/>
                    <a:pt x="164" y="58"/>
                    <a:pt x="135" y="29"/>
                  </a:cubicBezTo>
                  <a:cubicBezTo>
                    <a:pt x="106" y="0"/>
                    <a:pt x="58" y="0"/>
                    <a:pt x="29" y="29"/>
                  </a:cubicBezTo>
                  <a:close/>
                  <a:moveTo>
                    <a:pt x="108" y="109"/>
                  </a:moveTo>
                  <a:cubicBezTo>
                    <a:pt x="94" y="123"/>
                    <a:pt x="70" y="123"/>
                    <a:pt x="55" y="109"/>
                  </a:cubicBezTo>
                  <a:cubicBezTo>
                    <a:pt x="41" y="94"/>
                    <a:pt x="41" y="70"/>
                    <a:pt x="55" y="55"/>
                  </a:cubicBezTo>
                  <a:cubicBezTo>
                    <a:pt x="63" y="48"/>
                    <a:pt x="72" y="45"/>
                    <a:pt x="82" y="45"/>
                  </a:cubicBezTo>
                  <a:cubicBezTo>
                    <a:pt x="92" y="45"/>
                    <a:pt x="101" y="48"/>
                    <a:pt x="108" y="55"/>
                  </a:cubicBezTo>
                  <a:cubicBezTo>
                    <a:pt x="123" y="70"/>
                    <a:pt x="123" y="94"/>
                    <a:pt x="108"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9" name="Freeform 88">
              <a:extLst>
                <a:ext uri="{FF2B5EF4-FFF2-40B4-BE49-F238E27FC236}">
                  <a16:creationId xmlns:a16="http://schemas.microsoft.com/office/drawing/2014/main" id="{41D7EB82-48A1-494E-8536-D8BF8D77F213}"/>
                </a:ext>
              </a:extLst>
            </p:cNvPr>
            <p:cNvSpPr>
              <a:spLocks noEditPoints="1"/>
            </p:cNvSpPr>
            <p:nvPr/>
          </p:nvSpPr>
          <p:spPr bwMode="auto">
            <a:xfrm>
              <a:off x="203873" y="1248395"/>
              <a:ext cx="622300" cy="592138"/>
            </a:xfrm>
            <a:custGeom>
              <a:avLst/>
              <a:gdLst>
                <a:gd name="T0" fmla="*/ 29 w 165"/>
                <a:gd name="T1" fmla="*/ 29 h 157"/>
                <a:gd name="T2" fmla="*/ 29 w 165"/>
                <a:gd name="T3" fmla="*/ 136 h 157"/>
                <a:gd name="T4" fmla="*/ 82 w 165"/>
                <a:gd name="T5" fmla="*/ 157 h 157"/>
                <a:gd name="T6" fmla="*/ 135 w 165"/>
                <a:gd name="T7" fmla="*/ 136 h 157"/>
                <a:gd name="T8" fmla="*/ 135 w 165"/>
                <a:gd name="T9" fmla="*/ 29 h 157"/>
                <a:gd name="T10" fmla="*/ 29 w 165"/>
                <a:gd name="T11" fmla="*/ 29 h 157"/>
                <a:gd name="T12" fmla="*/ 109 w 165"/>
                <a:gd name="T13" fmla="*/ 109 h 157"/>
                <a:gd name="T14" fmla="*/ 56 w 165"/>
                <a:gd name="T15" fmla="*/ 109 h 157"/>
                <a:gd name="T16" fmla="*/ 56 w 165"/>
                <a:gd name="T17" fmla="*/ 56 h 157"/>
                <a:gd name="T18" fmla="*/ 82 w 165"/>
                <a:gd name="T19" fmla="*/ 45 h 157"/>
                <a:gd name="T20" fmla="*/ 109 w 165"/>
                <a:gd name="T21" fmla="*/ 56 h 157"/>
                <a:gd name="T22" fmla="*/ 109 w 165"/>
                <a:gd name="T23" fmla="*/ 10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57">
                  <a:moveTo>
                    <a:pt x="29" y="29"/>
                  </a:moveTo>
                  <a:cubicBezTo>
                    <a:pt x="0" y="59"/>
                    <a:pt x="0" y="106"/>
                    <a:pt x="29" y="136"/>
                  </a:cubicBezTo>
                  <a:cubicBezTo>
                    <a:pt x="44" y="150"/>
                    <a:pt x="63" y="157"/>
                    <a:pt x="82" y="157"/>
                  </a:cubicBezTo>
                  <a:cubicBezTo>
                    <a:pt x="102" y="157"/>
                    <a:pt x="121" y="150"/>
                    <a:pt x="135" y="136"/>
                  </a:cubicBezTo>
                  <a:cubicBezTo>
                    <a:pt x="165" y="106"/>
                    <a:pt x="165" y="59"/>
                    <a:pt x="135" y="29"/>
                  </a:cubicBezTo>
                  <a:cubicBezTo>
                    <a:pt x="106" y="0"/>
                    <a:pt x="59" y="0"/>
                    <a:pt x="29" y="29"/>
                  </a:cubicBezTo>
                  <a:close/>
                  <a:moveTo>
                    <a:pt x="109" y="109"/>
                  </a:moveTo>
                  <a:cubicBezTo>
                    <a:pt x="94" y="124"/>
                    <a:pt x="71" y="124"/>
                    <a:pt x="56" y="109"/>
                  </a:cubicBezTo>
                  <a:cubicBezTo>
                    <a:pt x="41" y="94"/>
                    <a:pt x="41" y="71"/>
                    <a:pt x="56" y="56"/>
                  </a:cubicBezTo>
                  <a:cubicBezTo>
                    <a:pt x="63" y="49"/>
                    <a:pt x="73" y="45"/>
                    <a:pt x="82" y="45"/>
                  </a:cubicBezTo>
                  <a:cubicBezTo>
                    <a:pt x="92" y="45"/>
                    <a:pt x="102" y="49"/>
                    <a:pt x="109" y="56"/>
                  </a:cubicBezTo>
                  <a:cubicBezTo>
                    <a:pt x="124" y="71"/>
                    <a:pt x="124" y="94"/>
                    <a:pt x="109"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0" name="Freeform 89">
              <a:extLst>
                <a:ext uri="{FF2B5EF4-FFF2-40B4-BE49-F238E27FC236}">
                  <a16:creationId xmlns:a16="http://schemas.microsoft.com/office/drawing/2014/main" id="{4AFEAB7F-5BD1-4353-8387-0642628D4A72}"/>
                </a:ext>
              </a:extLst>
            </p:cNvPr>
            <p:cNvSpPr>
              <a:spLocks noEditPoints="1"/>
            </p:cNvSpPr>
            <p:nvPr/>
          </p:nvSpPr>
          <p:spPr bwMode="auto">
            <a:xfrm>
              <a:off x="-1750340" y="-1410668"/>
              <a:ext cx="4527550" cy="4527550"/>
            </a:xfrm>
            <a:custGeom>
              <a:avLst/>
              <a:gdLst>
                <a:gd name="T0" fmla="*/ 1163 w 1200"/>
                <a:gd name="T1" fmla="*/ 581 h 1200"/>
                <a:gd name="T2" fmla="*/ 1026 w 1200"/>
                <a:gd name="T3" fmla="*/ 486 h 1200"/>
                <a:gd name="T4" fmla="*/ 952 w 1200"/>
                <a:gd name="T5" fmla="*/ 313 h 1200"/>
                <a:gd name="T6" fmla="*/ 1051 w 1200"/>
                <a:gd name="T7" fmla="*/ 255 h 1200"/>
                <a:gd name="T8" fmla="*/ 1078 w 1200"/>
                <a:gd name="T9" fmla="*/ 229 h 1200"/>
                <a:gd name="T10" fmla="*/ 1025 w 1200"/>
                <a:gd name="T11" fmla="*/ 176 h 1200"/>
                <a:gd name="T12" fmla="*/ 945 w 1200"/>
                <a:gd name="T13" fmla="*/ 149 h 1200"/>
                <a:gd name="T14" fmla="*/ 888 w 1200"/>
                <a:gd name="T15" fmla="*/ 249 h 1200"/>
                <a:gd name="T16" fmla="*/ 715 w 1200"/>
                <a:gd name="T17" fmla="*/ 174 h 1200"/>
                <a:gd name="T18" fmla="*/ 619 w 1200"/>
                <a:gd name="T19" fmla="*/ 37 h 1200"/>
                <a:gd name="T20" fmla="*/ 675 w 1200"/>
                <a:gd name="T21" fmla="*/ 0 h 1200"/>
                <a:gd name="T22" fmla="*/ 525 w 1200"/>
                <a:gd name="T23" fmla="*/ 37 h 1200"/>
                <a:gd name="T24" fmla="*/ 526 w 1200"/>
                <a:gd name="T25" fmla="*/ 152 h 1200"/>
                <a:gd name="T26" fmla="*/ 361 w 1200"/>
                <a:gd name="T27" fmla="*/ 186 h 1200"/>
                <a:gd name="T28" fmla="*/ 216 w 1200"/>
                <a:gd name="T29" fmla="*/ 189 h 1200"/>
                <a:gd name="T30" fmla="*/ 229 w 1200"/>
                <a:gd name="T31" fmla="*/ 123 h 1200"/>
                <a:gd name="T32" fmla="*/ 176 w 1200"/>
                <a:gd name="T33" fmla="*/ 176 h 1200"/>
                <a:gd name="T34" fmla="*/ 136 w 1200"/>
                <a:gd name="T35" fmla="*/ 261 h 1200"/>
                <a:gd name="T36" fmla="*/ 274 w 1200"/>
                <a:gd name="T37" fmla="*/ 300 h 1200"/>
                <a:gd name="T38" fmla="*/ 176 w 1200"/>
                <a:gd name="T39" fmla="*/ 438 h 1200"/>
                <a:gd name="T40" fmla="*/ 125 w 1200"/>
                <a:gd name="T41" fmla="*/ 581 h 1200"/>
                <a:gd name="T42" fmla="*/ 19 w 1200"/>
                <a:gd name="T43" fmla="*/ 506 h 1200"/>
                <a:gd name="T44" fmla="*/ 19 w 1200"/>
                <a:gd name="T45" fmla="*/ 694 h 1200"/>
                <a:gd name="T46" fmla="*/ 125 w 1200"/>
                <a:gd name="T47" fmla="*/ 619 h 1200"/>
                <a:gd name="T48" fmla="*/ 176 w 1200"/>
                <a:gd name="T49" fmla="*/ 762 h 1200"/>
                <a:gd name="T50" fmla="*/ 274 w 1200"/>
                <a:gd name="T51" fmla="*/ 900 h 1200"/>
                <a:gd name="T52" fmla="*/ 123 w 1200"/>
                <a:gd name="T53" fmla="*/ 945 h 1200"/>
                <a:gd name="T54" fmla="*/ 176 w 1200"/>
                <a:gd name="T55" fmla="*/ 1024 h 1200"/>
                <a:gd name="T56" fmla="*/ 242 w 1200"/>
                <a:gd name="T57" fmla="*/ 1083 h 1200"/>
                <a:gd name="T58" fmla="*/ 216 w 1200"/>
                <a:gd name="T59" fmla="*/ 1011 h 1200"/>
                <a:gd name="T60" fmla="*/ 361 w 1200"/>
                <a:gd name="T61" fmla="*/ 1014 h 1200"/>
                <a:gd name="T62" fmla="*/ 526 w 1200"/>
                <a:gd name="T63" fmla="*/ 1048 h 1200"/>
                <a:gd name="T64" fmla="*/ 525 w 1200"/>
                <a:gd name="T65" fmla="*/ 1162 h 1200"/>
                <a:gd name="T66" fmla="*/ 675 w 1200"/>
                <a:gd name="T67" fmla="*/ 1200 h 1200"/>
                <a:gd name="T68" fmla="*/ 619 w 1200"/>
                <a:gd name="T69" fmla="*/ 1162 h 1200"/>
                <a:gd name="T70" fmla="*/ 715 w 1200"/>
                <a:gd name="T71" fmla="*/ 1026 h 1200"/>
                <a:gd name="T72" fmla="*/ 888 w 1200"/>
                <a:gd name="T73" fmla="*/ 951 h 1200"/>
                <a:gd name="T74" fmla="*/ 945 w 1200"/>
                <a:gd name="T75" fmla="*/ 1051 h 1200"/>
                <a:gd name="T76" fmla="*/ 972 w 1200"/>
                <a:gd name="T77" fmla="*/ 1077 h 1200"/>
                <a:gd name="T78" fmla="*/ 1025 w 1200"/>
                <a:gd name="T79" fmla="*/ 1024 h 1200"/>
                <a:gd name="T80" fmla="*/ 1051 w 1200"/>
                <a:gd name="T81" fmla="*/ 945 h 1200"/>
                <a:gd name="T82" fmla="*/ 952 w 1200"/>
                <a:gd name="T83" fmla="*/ 887 h 1200"/>
                <a:gd name="T84" fmla="*/ 1026 w 1200"/>
                <a:gd name="T85" fmla="*/ 714 h 1200"/>
                <a:gd name="T86" fmla="*/ 1163 w 1200"/>
                <a:gd name="T87" fmla="*/ 619 h 1200"/>
                <a:gd name="T88" fmla="*/ 1200 w 1200"/>
                <a:gd name="T89" fmla="*/ 675 h 1200"/>
                <a:gd name="T90" fmla="*/ 1017 w 1200"/>
                <a:gd name="T91" fmla="*/ 653 h 1200"/>
                <a:gd name="T92" fmla="*/ 982 w 1200"/>
                <a:gd name="T93" fmla="*/ 820 h 1200"/>
                <a:gd name="T94" fmla="*/ 854 w 1200"/>
                <a:gd name="T95" fmla="*/ 935 h 1200"/>
                <a:gd name="T96" fmla="*/ 705 w 1200"/>
                <a:gd name="T97" fmla="*/ 989 h 1200"/>
                <a:gd name="T98" fmla="*/ 547 w 1200"/>
                <a:gd name="T99" fmla="*/ 1016 h 1200"/>
                <a:gd name="T100" fmla="*/ 436 w 1200"/>
                <a:gd name="T101" fmla="*/ 987 h 1200"/>
                <a:gd name="T102" fmla="*/ 315 w 1200"/>
                <a:gd name="T103" fmla="*/ 885 h 1200"/>
                <a:gd name="T104" fmla="*/ 214 w 1200"/>
                <a:gd name="T105" fmla="*/ 764 h 1200"/>
                <a:gd name="T106" fmla="*/ 160 w 1200"/>
                <a:gd name="T107" fmla="*/ 600 h 1200"/>
                <a:gd name="T108" fmla="*/ 214 w 1200"/>
                <a:gd name="T109" fmla="*/ 436 h 1200"/>
                <a:gd name="T110" fmla="*/ 315 w 1200"/>
                <a:gd name="T111" fmla="*/ 315 h 1200"/>
                <a:gd name="T112" fmla="*/ 436 w 1200"/>
                <a:gd name="T113" fmla="*/ 213 h 1200"/>
                <a:gd name="T114" fmla="*/ 600 w 1200"/>
                <a:gd name="T115" fmla="*/ 159 h 1200"/>
                <a:gd name="T116" fmla="*/ 764 w 1200"/>
                <a:gd name="T117" fmla="*/ 213 h 1200"/>
                <a:gd name="T118" fmla="*/ 885 w 1200"/>
                <a:gd name="T119" fmla="*/ 315 h 1200"/>
                <a:gd name="T120" fmla="*/ 987 w 1200"/>
                <a:gd name="T121" fmla="*/ 436 h 1200"/>
                <a:gd name="T122" fmla="*/ 1041 w 1200"/>
                <a:gd name="T123" fmla="*/ 6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0" h="1200">
                  <a:moveTo>
                    <a:pt x="1182" y="506"/>
                  </a:moveTo>
                  <a:cubicBezTo>
                    <a:pt x="1171" y="506"/>
                    <a:pt x="1163" y="515"/>
                    <a:pt x="1163" y="525"/>
                  </a:cubicBezTo>
                  <a:cubicBezTo>
                    <a:pt x="1163" y="581"/>
                    <a:pt x="1163" y="581"/>
                    <a:pt x="1163" y="581"/>
                  </a:cubicBezTo>
                  <a:cubicBezTo>
                    <a:pt x="1076" y="581"/>
                    <a:pt x="1076" y="581"/>
                    <a:pt x="1076" y="581"/>
                  </a:cubicBezTo>
                  <a:cubicBezTo>
                    <a:pt x="1071" y="561"/>
                    <a:pt x="1059" y="543"/>
                    <a:pt x="1048" y="526"/>
                  </a:cubicBezTo>
                  <a:cubicBezTo>
                    <a:pt x="1038" y="512"/>
                    <a:pt x="1030" y="498"/>
                    <a:pt x="1026" y="486"/>
                  </a:cubicBezTo>
                  <a:cubicBezTo>
                    <a:pt x="1023" y="473"/>
                    <a:pt x="1024" y="456"/>
                    <a:pt x="1025" y="438"/>
                  </a:cubicBezTo>
                  <a:cubicBezTo>
                    <a:pt x="1026" y="412"/>
                    <a:pt x="1028" y="384"/>
                    <a:pt x="1015" y="361"/>
                  </a:cubicBezTo>
                  <a:cubicBezTo>
                    <a:pt x="1001" y="337"/>
                    <a:pt x="976" y="325"/>
                    <a:pt x="952" y="313"/>
                  </a:cubicBezTo>
                  <a:cubicBezTo>
                    <a:pt x="943" y="309"/>
                    <a:pt x="935" y="304"/>
                    <a:pt x="927" y="300"/>
                  </a:cubicBezTo>
                  <a:cubicBezTo>
                    <a:pt x="1011" y="215"/>
                    <a:pt x="1011" y="215"/>
                    <a:pt x="1011" y="215"/>
                  </a:cubicBezTo>
                  <a:cubicBezTo>
                    <a:pt x="1051" y="255"/>
                    <a:pt x="1051" y="255"/>
                    <a:pt x="1051" y="255"/>
                  </a:cubicBezTo>
                  <a:cubicBezTo>
                    <a:pt x="1055" y="259"/>
                    <a:pt x="1060" y="261"/>
                    <a:pt x="1064" y="261"/>
                  </a:cubicBezTo>
                  <a:cubicBezTo>
                    <a:pt x="1069" y="261"/>
                    <a:pt x="1074" y="259"/>
                    <a:pt x="1078" y="255"/>
                  </a:cubicBezTo>
                  <a:cubicBezTo>
                    <a:pt x="1085" y="248"/>
                    <a:pt x="1085" y="236"/>
                    <a:pt x="1078" y="229"/>
                  </a:cubicBezTo>
                  <a:cubicBezTo>
                    <a:pt x="1025" y="176"/>
                    <a:pt x="1025" y="176"/>
                    <a:pt x="1025" y="176"/>
                  </a:cubicBezTo>
                  <a:cubicBezTo>
                    <a:pt x="1025" y="176"/>
                    <a:pt x="1025" y="176"/>
                    <a:pt x="1025" y="176"/>
                  </a:cubicBezTo>
                  <a:cubicBezTo>
                    <a:pt x="1025" y="176"/>
                    <a:pt x="1025" y="176"/>
                    <a:pt x="1025" y="176"/>
                  </a:cubicBezTo>
                  <a:cubicBezTo>
                    <a:pt x="972" y="123"/>
                    <a:pt x="972" y="123"/>
                    <a:pt x="972" y="123"/>
                  </a:cubicBezTo>
                  <a:cubicBezTo>
                    <a:pt x="964" y="115"/>
                    <a:pt x="952" y="115"/>
                    <a:pt x="945" y="123"/>
                  </a:cubicBezTo>
                  <a:cubicBezTo>
                    <a:pt x="938" y="130"/>
                    <a:pt x="938" y="142"/>
                    <a:pt x="945" y="149"/>
                  </a:cubicBezTo>
                  <a:cubicBezTo>
                    <a:pt x="985" y="189"/>
                    <a:pt x="985" y="189"/>
                    <a:pt x="985" y="189"/>
                  </a:cubicBezTo>
                  <a:cubicBezTo>
                    <a:pt x="901" y="273"/>
                    <a:pt x="901" y="273"/>
                    <a:pt x="901" y="273"/>
                  </a:cubicBezTo>
                  <a:cubicBezTo>
                    <a:pt x="896" y="266"/>
                    <a:pt x="892" y="257"/>
                    <a:pt x="888" y="249"/>
                  </a:cubicBezTo>
                  <a:cubicBezTo>
                    <a:pt x="876" y="225"/>
                    <a:pt x="863" y="200"/>
                    <a:pt x="840" y="186"/>
                  </a:cubicBezTo>
                  <a:cubicBezTo>
                    <a:pt x="816" y="172"/>
                    <a:pt x="789" y="174"/>
                    <a:pt x="762" y="176"/>
                  </a:cubicBezTo>
                  <a:cubicBezTo>
                    <a:pt x="744" y="177"/>
                    <a:pt x="728" y="178"/>
                    <a:pt x="715" y="174"/>
                  </a:cubicBezTo>
                  <a:cubicBezTo>
                    <a:pt x="702" y="171"/>
                    <a:pt x="689" y="162"/>
                    <a:pt x="674" y="152"/>
                  </a:cubicBezTo>
                  <a:cubicBezTo>
                    <a:pt x="658" y="141"/>
                    <a:pt x="640" y="129"/>
                    <a:pt x="619" y="124"/>
                  </a:cubicBezTo>
                  <a:cubicBezTo>
                    <a:pt x="619" y="37"/>
                    <a:pt x="619" y="37"/>
                    <a:pt x="619" y="37"/>
                  </a:cubicBezTo>
                  <a:cubicBezTo>
                    <a:pt x="675" y="37"/>
                    <a:pt x="675" y="37"/>
                    <a:pt x="675" y="37"/>
                  </a:cubicBezTo>
                  <a:cubicBezTo>
                    <a:pt x="686" y="37"/>
                    <a:pt x="694" y="29"/>
                    <a:pt x="694" y="19"/>
                  </a:cubicBezTo>
                  <a:cubicBezTo>
                    <a:pt x="694" y="8"/>
                    <a:pt x="686" y="0"/>
                    <a:pt x="675" y="0"/>
                  </a:cubicBezTo>
                  <a:cubicBezTo>
                    <a:pt x="525" y="0"/>
                    <a:pt x="525" y="0"/>
                    <a:pt x="525" y="0"/>
                  </a:cubicBezTo>
                  <a:cubicBezTo>
                    <a:pt x="515" y="0"/>
                    <a:pt x="507" y="8"/>
                    <a:pt x="507" y="19"/>
                  </a:cubicBezTo>
                  <a:cubicBezTo>
                    <a:pt x="507" y="29"/>
                    <a:pt x="515" y="37"/>
                    <a:pt x="525" y="37"/>
                  </a:cubicBezTo>
                  <a:cubicBezTo>
                    <a:pt x="582" y="37"/>
                    <a:pt x="582" y="37"/>
                    <a:pt x="582" y="37"/>
                  </a:cubicBezTo>
                  <a:cubicBezTo>
                    <a:pt x="582" y="124"/>
                    <a:pt x="582" y="124"/>
                    <a:pt x="582" y="124"/>
                  </a:cubicBezTo>
                  <a:cubicBezTo>
                    <a:pt x="561" y="129"/>
                    <a:pt x="543" y="141"/>
                    <a:pt x="526" y="152"/>
                  </a:cubicBezTo>
                  <a:cubicBezTo>
                    <a:pt x="512" y="162"/>
                    <a:pt x="499" y="171"/>
                    <a:pt x="486" y="174"/>
                  </a:cubicBezTo>
                  <a:cubicBezTo>
                    <a:pt x="473" y="178"/>
                    <a:pt x="456" y="177"/>
                    <a:pt x="439" y="176"/>
                  </a:cubicBezTo>
                  <a:cubicBezTo>
                    <a:pt x="412" y="174"/>
                    <a:pt x="385" y="172"/>
                    <a:pt x="361" y="186"/>
                  </a:cubicBezTo>
                  <a:cubicBezTo>
                    <a:pt x="337" y="200"/>
                    <a:pt x="325" y="225"/>
                    <a:pt x="313" y="249"/>
                  </a:cubicBezTo>
                  <a:cubicBezTo>
                    <a:pt x="309" y="257"/>
                    <a:pt x="305" y="266"/>
                    <a:pt x="300" y="273"/>
                  </a:cubicBezTo>
                  <a:cubicBezTo>
                    <a:pt x="216" y="189"/>
                    <a:pt x="216" y="189"/>
                    <a:pt x="216" y="189"/>
                  </a:cubicBezTo>
                  <a:cubicBezTo>
                    <a:pt x="256" y="149"/>
                    <a:pt x="256" y="149"/>
                    <a:pt x="256" y="149"/>
                  </a:cubicBezTo>
                  <a:cubicBezTo>
                    <a:pt x="263" y="142"/>
                    <a:pt x="263" y="130"/>
                    <a:pt x="256" y="123"/>
                  </a:cubicBezTo>
                  <a:cubicBezTo>
                    <a:pt x="248" y="115"/>
                    <a:pt x="237" y="115"/>
                    <a:pt x="229" y="123"/>
                  </a:cubicBezTo>
                  <a:cubicBezTo>
                    <a:pt x="176" y="176"/>
                    <a:pt x="176" y="176"/>
                    <a:pt x="176" y="176"/>
                  </a:cubicBezTo>
                  <a:cubicBezTo>
                    <a:pt x="176" y="176"/>
                    <a:pt x="176" y="176"/>
                    <a:pt x="176" y="176"/>
                  </a:cubicBezTo>
                  <a:cubicBezTo>
                    <a:pt x="176" y="176"/>
                    <a:pt x="176" y="176"/>
                    <a:pt x="176" y="176"/>
                  </a:cubicBezTo>
                  <a:cubicBezTo>
                    <a:pt x="123" y="229"/>
                    <a:pt x="123" y="229"/>
                    <a:pt x="123" y="229"/>
                  </a:cubicBezTo>
                  <a:cubicBezTo>
                    <a:pt x="116" y="236"/>
                    <a:pt x="116" y="248"/>
                    <a:pt x="123" y="255"/>
                  </a:cubicBezTo>
                  <a:cubicBezTo>
                    <a:pt x="127" y="259"/>
                    <a:pt x="132" y="261"/>
                    <a:pt x="136" y="261"/>
                  </a:cubicBezTo>
                  <a:cubicBezTo>
                    <a:pt x="141" y="261"/>
                    <a:pt x="146" y="259"/>
                    <a:pt x="150" y="255"/>
                  </a:cubicBezTo>
                  <a:cubicBezTo>
                    <a:pt x="189" y="215"/>
                    <a:pt x="189" y="215"/>
                    <a:pt x="189" y="215"/>
                  </a:cubicBezTo>
                  <a:cubicBezTo>
                    <a:pt x="274" y="300"/>
                    <a:pt x="274" y="300"/>
                    <a:pt x="274" y="300"/>
                  </a:cubicBezTo>
                  <a:cubicBezTo>
                    <a:pt x="266" y="304"/>
                    <a:pt x="258" y="309"/>
                    <a:pt x="249" y="313"/>
                  </a:cubicBezTo>
                  <a:cubicBezTo>
                    <a:pt x="225" y="325"/>
                    <a:pt x="200" y="337"/>
                    <a:pt x="186" y="361"/>
                  </a:cubicBezTo>
                  <a:cubicBezTo>
                    <a:pt x="173" y="384"/>
                    <a:pt x="174" y="412"/>
                    <a:pt x="176" y="438"/>
                  </a:cubicBezTo>
                  <a:cubicBezTo>
                    <a:pt x="177" y="456"/>
                    <a:pt x="178" y="473"/>
                    <a:pt x="175" y="486"/>
                  </a:cubicBezTo>
                  <a:cubicBezTo>
                    <a:pt x="171" y="498"/>
                    <a:pt x="162" y="512"/>
                    <a:pt x="153" y="526"/>
                  </a:cubicBezTo>
                  <a:cubicBezTo>
                    <a:pt x="142" y="543"/>
                    <a:pt x="130" y="561"/>
                    <a:pt x="125" y="581"/>
                  </a:cubicBezTo>
                  <a:cubicBezTo>
                    <a:pt x="38" y="581"/>
                    <a:pt x="38" y="581"/>
                    <a:pt x="38" y="581"/>
                  </a:cubicBezTo>
                  <a:cubicBezTo>
                    <a:pt x="38" y="525"/>
                    <a:pt x="38" y="525"/>
                    <a:pt x="38" y="525"/>
                  </a:cubicBezTo>
                  <a:cubicBezTo>
                    <a:pt x="38" y="515"/>
                    <a:pt x="30" y="506"/>
                    <a:pt x="19" y="506"/>
                  </a:cubicBezTo>
                  <a:cubicBezTo>
                    <a:pt x="9" y="506"/>
                    <a:pt x="0" y="515"/>
                    <a:pt x="0" y="525"/>
                  </a:cubicBezTo>
                  <a:cubicBezTo>
                    <a:pt x="0" y="675"/>
                    <a:pt x="0" y="675"/>
                    <a:pt x="0" y="675"/>
                  </a:cubicBezTo>
                  <a:cubicBezTo>
                    <a:pt x="0" y="685"/>
                    <a:pt x="9" y="694"/>
                    <a:pt x="19" y="694"/>
                  </a:cubicBezTo>
                  <a:cubicBezTo>
                    <a:pt x="30" y="694"/>
                    <a:pt x="38" y="685"/>
                    <a:pt x="38" y="675"/>
                  </a:cubicBezTo>
                  <a:cubicBezTo>
                    <a:pt x="38" y="619"/>
                    <a:pt x="38" y="619"/>
                    <a:pt x="38" y="619"/>
                  </a:cubicBezTo>
                  <a:cubicBezTo>
                    <a:pt x="125" y="619"/>
                    <a:pt x="125" y="619"/>
                    <a:pt x="125" y="619"/>
                  </a:cubicBezTo>
                  <a:cubicBezTo>
                    <a:pt x="130" y="639"/>
                    <a:pt x="142" y="657"/>
                    <a:pt x="153" y="674"/>
                  </a:cubicBezTo>
                  <a:cubicBezTo>
                    <a:pt x="162" y="688"/>
                    <a:pt x="171" y="702"/>
                    <a:pt x="175" y="714"/>
                  </a:cubicBezTo>
                  <a:cubicBezTo>
                    <a:pt x="178" y="727"/>
                    <a:pt x="177" y="744"/>
                    <a:pt x="176" y="762"/>
                  </a:cubicBezTo>
                  <a:cubicBezTo>
                    <a:pt x="174" y="788"/>
                    <a:pt x="173" y="816"/>
                    <a:pt x="186" y="839"/>
                  </a:cubicBezTo>
                  <a:cubicBezTo>
                    <a:pt x="200" y="863"/>
                    <a:pt x="225" y="875"/>
                    <a:pt x="249" y="887"/>
                  </a:cubicBezTo>
                  <a:cubicBezTo>
                    <a:pt x="258" y="891"/>
                    <a:pt x="266" y="896"/>
                    <a:pt x="274" y="900"/>
                  </a:cubicBezTo>
                  <a:cubicBezTo>
                    <a:pt x="189" y="984"/>
                    <a:pt x="189" y="984"/>
                    <a:pt x="189" y="984"/>
                  </a:cubicBezTo>
                  <a:cubicBezTo>
                    <a:pt x="150" y="945"/>
                    <a:pt x="150" y="945"/>
                    <a:pt x="150" y="945"/>
                  </a:cubicBezTo>
                  <a:cubicBezTo>
                    <a:pt x="142" y="937"/>
                    <a:pt x="130" y="937"/>
                    <a:pt x="123" y="945"/>
                  </a:cubicBezTo>
                  <a:cubicBezTo>
                    <a:pt x="116" y="952"/>
                    <a:pt x="116" y="964"/>
                    <a:pt x="123" y="971"/>
                  </a:cubicBezTo>
                  <a:cubicBezTo>
                    <a:pt x="176" y="1024"/>
                    <a:pt x="176" y="1024"/>
                    <a:pt x="176" y="1024"/>
                  </a:cubicBezTo>
                  <a:cubicBezTo>
                    <a:pt x="176" y="1024"/>
                    <a:pt x="176" y="1024"/>
                    <a:pt x="176" y="1024"/>
                  </a:cubicBezTo>
                  <a:cubicBezTo>
                    <a:pt x="176" y="1024"/>
                    <a:pt x="176" y="1024"/>
                    <a:pt x="176" y="1024"/>
                  </a:cubicBezTo>
                  <a:cubicBezTo>
                    <a:pt x="229" y="1077"/>
                    <a:pt x="229" y="1077"/>
                    <a:pt x="229" y="1077"/>
                  </a:cubicBezTo>
                  <a:cubicBezTo>
                    <a:pt x="233" y="1081"/>
                    <a:pt x="238" y="1083"/>
                    <a:pt x="242" y="1083"/>
                  </a:cubicBezTo>
                  <a:cubicBezTo>
                    <a:pt x="247" y="1083"/>
                    <a:pt x="252" y="1081"/>
                    <a:pt x="256" y="1077"/>
                  </a:cubicBezTo>
                  <a:cubicBezTo>
                    <a:pt x="263" y="1070"/>
                    <a:pt x="263" y="1058"/>
                    <a:pt x="256" y="1051"/>
                  </a:cubicBezTo>
                  <a:cubicBezTo>
                    <a:pt x="216" y="1011"/>
                    <a:pt x="216" y="1011"/>
                    <a:pt x="216" y="1011"/>
                  </a:cubicBezTo>
                  <a:cubicBezTo>
                    <a:pt x="300" y="927"/>
                    <a:pt x="300" y="927"/>
                    <a:pt x="300" y="927"/>
                  </a:cubicBezTo>
                  <a:cubicBezTo>
                    <a:pt x="305" y="934"/>
                    <a:pt x="309" y="943"/>
                    <a:pt x="313" y="951"/>
                  </a:cubicBezTo>
                  <a:cubicBezTo>
                    <a:pt x="325" y="975"/>
                    <a:pt x="337" y="1000"/>
                    <a:pt x="361" y="1014"/>
                  </a:cubicBezTo>
                  <a:cubicBezTo>
                    <a:pt x="385" y="1028"/>
                    <a:pt x="412" y="1026"/>
                    <a:pt x="439" y="1024"/>
                  </a:cubicBezTo>
                  <a:cubicBezTo>
                    <a:pt x="456" y="1023"/>
                    <a:pt x="473" y="1022"/>
                    <a:pt x="486" y="1026"/>
                  </a:cubicBezTo>
                  <a:cubicBezTo>
                    <a:pt x="499" y="1029"/>
                    <a:pt x="512" y="1038"/>
                    <a:pt x="526" y="1048"/>
                  </a:cubicBezTo>
                  <a:cubicBezTo>
                    <a:pt x="543" y="1059"/>
                    <a:pt x="561" y="1071"/>
                    <a:pt x="582" y="1076"/>
                  </a:cubicBezTo>
                  <a:cubicBezTo>
                    <a:pt x="582" y="1162"/>
                    <a:pt x="582" y="1162"/>
                    <a:pt x="582" y="1162"/>
                  </a:cubicBezTo>
                  <a:cubicBezTo>
                    <a:pt x="525" y="1162"/>
                    <a:pt x="525" y="1162"/>
                    <a:pt x="525" y="1162"/>
                  </a:cubicBezTo>
                  <a:cubicBezTo>
                    <a:pt x="515" y="1162"/>
                    <a:pt x="507" y="1171"/>
                    <a:pt x="507" y="1181"/>
                  </a:cubicBezTo>
                  <a:cubicBezTo>
                    <a:pt x="507" y="1192"/>
                    <a:pt x="515" y="1200"/>
                    <a:pt x="525" y="1200"/>
                  </a:cubicBezTo>
                  <a:cubicBezTo>
                    <a:pt x="675" y="1200"/>
                    <a:pt x="675" y="1200"/>
                    <a:pt x="675" y="1200"/>
                  </a:cubicBezTo>
                  <a:cubicBezTo>
                    <a:pt x="686" y="1200"/>
                    <a:pt x="694" y="1192"/>
                    <a:pt x="694" y="1181"/>
                  </a:cubicBezTo>
                  <a:cubicBezTo>
                    <a:pt x="694" y="1171"/>
                    <a:pt x="686" y="1162"/>
                    <a:pt x="675" y="1162"/>
                  </a:cubicBezTo>
                  <a:cubicBezTo>
                    <a:pt x="619" y="1162"/>
                    <a:pt x="619" y="1162"/>
                    <a:pt x="619" y="1162"/>
                  </a:cubicBezTo>
                  <a:cubicBezTo>
                    <a:pt x="619" y="1076"/>
                    <a:pt x="619" y="1076"/>
                    <a:pt x="619" y="1076"/>
                  </a:cubicBezTo>
                  <a:cubicBezTo>
                    <a:pt x="640" y="1071"/>
                    <a:pt x="658" y="1059"/>
                    <a:pt x="674" y="1048"/>
                  </a:cubicBezTo>
                  <a:cubicBezTo>
                    <a:pt x="689" y="1038"/>
                    <a:pt x="702" y="1029"/>
                    <a:pt x="715" y="1026"/>
                  </a:cubicBezTo>
                  <a:cubicBezTo>
                    <a:pt x="728" y="1022"/>
                    <a:pt x="744" y="1023"/>
                    <a:pt x="762" y="1024"/>
                  </a:cubicBezTo>
                  <a:cubicBezTo>
                    <a:pt x="789" y="1026"/>
                    <a:pt x="816" y="1028"/>
                    <a:pt x="840" y="1014"/>
                  </a:cubicBezTo>
                  <a:cubicBezTo>
                    <a:pt x="863" y="1000"/>
                    <a:pt x="876" y="975"/>
                    <a:pt x="888" y="951"/>
                  </a:cubicBezTo>
                  <a:cubicBezTo>
                    <a:pt x="892" y="943"/>
                    <a:pt x="896" y="934"/>
                    <a:pt x="901" y="927"/>
                  </a:cubicBezTo>
                  <a:cubicBezTo>
                    <a:pt x="985" y="1011"/>
                    <a:pt x="985" y="1011"/>
                    <a:pt x="985" y="1011"/>
                  </a:cubicBezTo>
                  <a:cubicBezTo>
                    <a:pt x="945" y="1051"/>
                    <a:pt x="945" y="1051"/>
                    <a:pt x="945" y="1051"/>
                  </a:cubicBezTo>
                  <a:cubicBezTo>
                    <a:pt x="938" y="1058"/>
                    <a:pt x="938" y="1070"/>
                    <a:pt x="945" y="1077"/>
                  </a:cubicBezTo>
                  <a:cubicBezTo>
                    <a:pt x="949" y="1081"/>
                    <a:pt x="954" y="1083"/>
                    <a:pt x="958" y="1083"/>
                  </a:cubicBezTo>
                  <a:cubicBezTo>
                    <a:pt x="963" y="1083"/>
                    <a:pt x="968" y="1081"/>
                    <a:pt x="972" y="1077"/>
                  </a:cubicBezTo>
                  <a:cubicBezTo>
                    <a:pt x="1025" y="1024"/>
                    <a:pt x="1025" y="1024"/>
                    <a:pt x="1025" y="1024"/>
                  </a:cubicBezTo>
                  <a:cubicBezTo>
                    <a:pt x="1025" y="1024"/>
                    <a:pt x="1025" y="1024"/>
                    <a:pt x="1025" y="1024"/>
                  </a:cubicBezTo>
                  <a:cubicBezTo>
                    <a:pt x="1025" y="1024"/>
                    <a:pt x="1025" y="1024"/>
                    <a:pt x="1025" y="1024"/>
                  </a:cubicBezTo>
                  <a:cubicBezTo>
                    <a:pt x="1078" y="971"/>
                    <a:pt x="1078" y="971"/>
                    <a:pt x="1078" y="971"/>
                  </a:cubicBezTo>
                  <a:cubicBezTo>
                    <a:pt x="1085" y="964"/>
                    <a:pt x="1085" y="952"/>
                    <a:pt x="1078" y="945"/>
                  </a:cubicBezTo>
                  <a:cubicBezTo>
                    <a:pt x="1070" y="937"/>
                    <a:pt x="1059" y="937"/>
                    <a:pt x="1051" y="945"/>
                  </a:cubicBezTo>
                  <a:cubicBezTo>
                    <a:pt x="1011" y="984"/>
                    <a:pt x="1011" y="984"/>
                    <a:pt x="1011" y="984"/>
                  </a:cubicBezTo>
                  <a:cubicBezTo>
                    <a:pt x="927" y="900"/>
                    <a:pt x="927" y="900"/>
                    <a:pt x="927" y="900"/>
                  </a:cubicBezTo>
                  <a:cubicBezTo>
                    <a:pt x="935" y="896"/>
                    <a:pt x="943" y="891"/>
                    <a:pt x="952" y="887"/>
                  </a:cubicBezTo>
                  <a:cubicBezTo>
                    <a:pt x="976" y="875"/>
                    <a:pt x="1001" y="863"/>
                    <a:pt x="1015" y="839"/>
                  </a:cubicBezTo>
                  <a:cubicBezTo>
                    <a:pt x="1028" y="816"/>
                    <a:pt x="1026" y="788"/>
                    <a:pt x="1025" y="762"/>
                  </a:cubicBezTo>
                  <a:cubicBezTo>
                    <a:pt x="1024" y="744"/>
                    <a:pt x="1023" y="727"/>
                    <a:pt x="1026" y="714"/>
                  </a:cubicBezTo>
                  <a:cubicBezTo>
                    <a:pt x="1030" y="702"/>
                    <a:pt x="1038" y="688"/>
                    <a:pt x="1048" y="674"/>
                  </a:cubicBezTo>
                  <a:cubicBezTo>
                    <a:pt x="1059" y="657"/>
                    <a:pt x="1071" y="639"/>
                    <a:pt x="1076" y="619"/>
                  </a:cubicBezTo>
                  <a:cubicBezTo>
                    <a:pt x="1163" y="619"/>
                    <a:pt x="1163" y="619"/>
                    <a:pt x="1163" y="619"/>
                  </a:cubicBezTo>
                  <a:cubicBezTo>
                    <a:pt x="1163" y="675"/>
                    <a:pt x="1163" y="675"/>
                    <a:pt x="1163" y="675"/>
                  </a:cubicBezTo>
                  <a:cubicBezTo>
                    <a:pt x="1163" y="685"/>
                    <a:pt x="1171" y="694"/>
                    <a:pt x="1182" y="694"/>
                  </a:cubicBezTo>
                  <a:cubicBezTo>
                    <a:pt x="1192" y="694"/>
                    <a:pt x="1200" y="685"/>
                    <a:pt x="1200" y="675"/>
                  </a:cubicBezTo>
                  <a:cubicBezTo>
                    <a:pt x="1200" y="525"/>
                    <a:pt x="1200" y="525"/>
                    <a:pt x="1200" y="525"/>
                  </a:cubicBezTo>
                  <a:cubicBezTo>
                    <a:pt x="1200" y="515"/>
                    <a:pt x="1192" y="506"/>
                    <a:pt x="1182" y="506"/>
                  </a:cubicBezTo>
                  <a:close/>
                  <a:moveTo>
                    <a:pt x="1017" y="653"/>
                  </a:moveTo>
                  <a:cubicBezTo>
                    <a:pt x="1006" y="669"/>
                    <a:pt x="995" y="686"/>
                    <a:pt x="990" y="704"/>
                  </a:cubicBezTo>
                  <a:cubicBezTo>
                    <a:pt x="985" y="724"/>
                    <a:pt x="986" y="744"/>
                    <a:pt x="987" y="764"/>
                  </a:cubicBezTo>
                  <a:cubicBezTo>
                    <a:pt x="989" y="786"/>
                    <a:pt x="990" y="807"/>
                    <a:pt x="982" y="820"/>
                  </a:cubicBezTo>
                  <a:cubicBezTo>
                    <a:pt x="974" y="834"/>
                    <a:pt x="955" y="844"/>
                    <a:pt x="935" y="853"/>
                  </a:cubicBezTo>
                  <a:cubicBezTo>
                    <a:pt x="918" y="862"/>
                    <a:pt x="899" y="871"/>
                    <a:pt x="885" y="885"/>
                  </a:cubicBezTo>
                  <a:cubicBezTo>
                    <a:pt x="872" y="899"/>
                    <a:pt x="863" y="917"/>
                    <a:pt x="854" y="935"/>
                  </a:cubicBezTo>
                  <a:cubicBezTo>
                    <a:pt x="844" y="955"/>
                    <a:pt x="835" y="973"/>
                    <a:pt x="821" y="982"/>
                  </a:cubicBezTo>
                  <a:cubicBezTo>
                    <a:pt x="807" y="990"/>
                    <a:pt x="786" y="988"/>
                    <a:pt x="764" y="987"/>
                  </a:cubicBezTo>
                  <a:cubicBezTo>
                    <a:pt x="745" y="986"/>
                    <a:pt x="724" y="984"/>
                    <a:pt x="705" y="989"/>
                  </a:cubicBezTo>
                  <a:cubicBezTo>
                    <a:pt x="686" y="994"/>
                    <a:pt x="670" y="1006"/>
                    <a:pt x="654" y="1016"/>
                  </a:cubicBezTo>
                  <a:cubicBezTo>
                    <a:pt x="635" y="1029"/>
                    <a:pt x="617" y="1041"/>
                    <a:pt x="600" y="1041"/>
                  </a:cubicBezTo>
                  <a:cubicBezTo>
                    <a:pt x="584" y="1041"/>
                    <a:pt x="566" y="1029"/>
                    <a:pt x="547" y="1016"/>
                  </a:cubicBezTo>
                  <a:cubicBezTo>
                    <a:pt x="531" y="1006"/>
                    <a:pt x="515" y="994"/>
                    <a:pt x="496" y="989"/>
                  </a:cubicBezTo>
                  <a:cubicBezTo>
                    <a:pt x="485" y="987"/>
                    <a:pt x="474" y="986"/>
                    <a:pt x="463" y="986"/>
                  </a:cubicBezTo>
                  <a:cubicBezTo>
                    <a:pt x="454" y="986"/>
                    <a:pt x="445" y="986"/>
                    <a:pt x="436" y="987"/>
                  </a:cubicBezTo>
                  <a:cubicBezTo>
                    <a:pt x="415" y="988"/>
                    <a:pt x="394" y="990"/>
                    <a:pt x="380" y="982"/>
                  </a:cubicBezTo>
                  <a:cubicBezTo>
                    <a:pt x="366" y="973"/>
                    <a:pt x="357" y="955"/>
                    <a:pt x="347" y="935"/>
                  </a:cubicBezTo>
                  <a:cubicBezTo>
                    <a:pt x="338" y="917"/>
                    <a:pt x="329" y="899"/>
                    <a:pt x="315" y="885"/>
                  </a:cubicBezTo>
                  <a:cubicBezTo>
                    <a:pt x="301" y="871"/>
                    <a:pt x="283" y="862"/>
                    <a:pt x="266" y="853"/>
                  </a:cubicBezTo>
                  <a:cubicBezTo>
                    <a:pt x="246" y="844"/>
                    <a:pt x="227" y="834"/>
                    <a:pt x="219" y="820"/>
                  </a:cubicBezTo>
                  <a:cubicBezTo>
                    <a:pt x="211" y="807"/>
                    <a:pt x="212" y="786"/>
                    <a:pt x="214" y="764"/>
                  </a:cubicBezTo>
                  <a:cubicBezTo>
                    <a:pt x="215" y="744"/>
                    <a:pt x="216" y="724"/>
                    <a:pt x="211" y="704"/>
                  </a:cubicBezTo>
                  <a:cubicBezTo>
                    <a:pt x="206" y="686"/>
                    <a:pt x="195" y="669"/>
                    <a:pt x="184" y="653"/>
                  </a:cubicBezTo>
                  <a:cubicBezTo>
                    <a:pt x="172" y="634"/>
                    <a:pt x="160" y="617"/>
                    <a:pt x="160" y="600"/>
                  </a:cubicBezTo>
                  <a:cubicBezTo>
                    <a:pt x="160" y="583"/>
                    <a:pt x="172" y="565"/>
                    <a:pt x="184" y="547"/>
                  </a:cubicBezTo>
                  <a:cubicBezTo>
                    <a:pt x="195" y="531"/>
                    <a:pt x="206" y="514"/>
                    <a:pt x="211" y="496"/>
                  </a:cubicBezTo>
                  <a:cubicBezTo>
                    <a:pt x="216" y="476"/>
                    <a:pt x="215" y="456"/>
                    <a:pt x="214" y="436"/>
                  </a:cubicBezTo>
                  <a:cubicBezTo>
                    <a:pt x="212" y="414"/>
                    <a:pt x="211" y="393"/>
                    <a:pt x="219" y="380"/>
                  </a:cubicBezTo>
                  <a:cubicBezTo>
                    <a:pt x="227" y="366"/>
                    <a:pt x="246" y="356"/>
                    <a:pt x="266" y="347"/>
                  </a:cubicBezTo>
                  <a:cubicBezTo>
                    <a:pt x="283" y="338"/>
                    <a:pt x="301" y="329"/>
                    <a:pt x="315" y="315"/>
                  </a:cubicBezTo>
                  <a:cubicBezTo>
                    <a:pt x="329" y="301"/>
                    <a:pt x="338" y="283"/>
                    <a:pt x="347" y="265"/>
                  </a:cubicBezTo>
                  <a:cubicBezTo>
                    <a:pt x="357" y="245"/>
                    <a:pt x="366" y="226"/>
                    <a:pt x="380" y="218"/>
                  </a:cubicBezTo>
                  <a:cubicBezTo>
                    <a:pt x="394" y="210"/>
                    <a:pt x="415" y="212"/>
                    <a:pt x="436" y="213"/>
                  </a:cubicBezTo>
                  <a:cubicBezTo>
                    <a:pt x="456" y="214"/>
                    <a:pt x="477" y="216"/>
                    <a:pt x="496" y="210"/>
                  </a:cubicBezTo>
                  <a:cubicBezTo>
                    <a:pt x="515" y="206"/>
                    <a:pt x="531" y="194"/>
                    <a:pt x="547" y="184"/>
                  </a:cubicBezTo>
                  <a:cubicBezTo>
                    <a:pt x="566" y="171"/>
                    <a:pt x="584" y="159"/>
                    <a:pt x="600" y="159"/>
                  </a:cubicBezTo>
                  <a:cubicBezTo>
                    <a:pt x="617" y="159"/>
                    <a:pt x="635" y="171"/>
                    <a:pt x="654" y="184"/>
                  </a:cubicBezTo>
                  <a:cubicBezTo>
                    <a:pt x="670" y="194"/>
                    <a:pt x="686" y="206"/>
                    <a:pt x="705" y="210"/>
                  </a:cubicBezTo>
                  <a:cubicBezTo>
                    <a:pt x="724" y="216"/>
                    <a:pt x="745" y="214"/>
                    <a:pt x="764" y="213"/>
                  </a:cubicBezTo>
                  <a:cubicBezTo>
                    <a:pt x="786" y="212"/>
                    <a:pt x="807" y="210"/>
                    <a:pt x="821" y="218"/>
                  </a:cubicBezTo>
                  <a:cubicBezTo>
                    <a:pt x="835" y="226"/>
                    <a:pt x="844" y="245"/>
                    <a:pt x="854" y="265"/>
                  </a:cubicBezTo>
                  <a:cubicBezTo>
                    <a:pt x="863" y="283"/>
                    <a:pt x="872" y="301"/>
                    <a:pt x="885" y="315"/>
                  </a:cubicBezTo>
                  <a:cubicBezTo>
                    <a:pt x="899" y="329"/>
                    <a:pt x="918" y="338"/>
                    <a:pt x="935" y="347"/>
                  </a:cubicBezTo>
                  <a:cubicBezTo>
                    <a:pt x="955" y="356"/>
                    <a:pt x="974" y="366"/>
                    <a:pt x="982" y="380"/>
                  </a:cubicBezTo>
                  <a:cubicBezTo>
                    <a:pt x="990" y="393"/>
                    <a:pt x="989" y="414"/>
                    <a:pt x="987" y="436"/>
                  </a:cubicBezTo>
                  <a:cubicBezTo>
                    <a:pt x="986" y="456"/>
                    <a:pt x="985" y="476"/>
                    <a:pt x="990" y="496"/>
                  </a:cubicBezTo>
                  <a:cubicBezTo>
                    <a:pt x="995" y="514"/>
                    <a:pt x="1006" y="531"/>
                    <a:pt x="1017" y="547"/>
                  </a:cubicBezTo>
                  <a:cubicBezTo>
                    <a:pt x="1029" y="565"/>
                    <a:pt x="1041" y="583"/>
                    <a:pt x="1041" y="600"/>
                  </a:cubicBezTo>
                  <a:cubicBezTo>
                    <a:pt x="1041" y="617"/>
                    <a:pt x="1029" y="634"/>
                    <a:pt x="1017" y="6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1" name="Freeform 90">
              <a:extLst>
                <a:ext uri="{FF2B5EF4-FFF2-40B4-BE49-F238E27FC236}">
                  <a16:creationId xmlns:a16="http://schemas.microsoft.com/office/drawing/2014/main" id="{1BF9B03D-3538-455C-813C-7DDE44A2348A}"/>
                </a:ext>
              </a:extLst>
            </p:cNvPr>
            <p:cNvSpPr>
              <a:spLocks noEditPoints="1"/>
            </p:cNvSpPr>
            <p:nvPr/>
          </p:nvSpPr>
          <p:spPr bwMode="auto">
            <a:xfrm>
              <a:off x="-502565" y="543545"/>
              <a:ext cx="619125" cy="592138"/>
            </a:xfrm>
            <a:custGeom>
              <a:avLst/>
              <a:gdLst>
                <a:gd name="T0" fmla="*/ 29 w 164"/>
                <a:gd name="T1" fmla="*/ 29 h 157"/>
                <a:gd name="T2" fmla="*/ 29 w 164"/>
                <a:gd name="T3" fmla="*/ 135 h 157"/>
                <a:gd name="T4" fmla="*/ 82 w 164"/>
                <a:gd name="T5" fmla="*/ 157 h 157"/>
                <a:gd name="T6" fmla="*/ 135 w 164"/>
                <a:gd name="T7" fmla="*/ 135 h 157"/>
                <a:gd name="T8" fmla="*/ 135 w 164"/>
                <a:gd name="T9" fmla="*/ 29 h 157"/>
                <a:gd name="T10" fmla="*/ 29 w 164"/>
                <a:gd name="T11" fmla="*/ 29 h 157"/>
                <a:gd name="T12" fmla="*/ 108 w 164"/>
                <a:gd name="T13" fmla="*/ 109 h 157"/>
                <a:gd name="T14" fmla="*/ 55 w 164"/>
                <a:gd name="T15" fmla="*/ 109 h 157"/>
                <a:gd name="T16" fmla="*/ 55 w 164"/>
                <a:gd name="T17" fmla="*/ 55 h 157"/>
                <a:gd name="T18" fmla="*/ 82 w 164"/>
                <a:gd name="T19" fmla="*/ 45 h 157"/>
                <a:gd name="T20" fmla="*/ 108 w 164"/>
                <a:gd name="T21" fmla="*/ 55 h 157"/>
                <a:gd name="T22" fmla="*/ 108 w 164"/>
                <a:gd name="T23" fmla="*/ 10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57">
                  <a:moveTo>
                    <a:pt x="29" y="29"/>
                  </a:moveTo>
                  <a:cubicBezTo>
                    <a:pt x="0" y="58"/>
                    <a:pt x="0" y="106"/>
                    <a:pt x="29" y="135"/>
                  </a:cubicBezTo>
                  <a:cubicBezTo>
                    <a:pt x="44" y="150"/>
                    <a:pt x="63" y="157"/>
                    <a:pt x="82" y="157"/>
                  </a:cubicBezTo>
                  <a:cubicBezTo>
                    <a:pt x="101" y="157"/>
                    <a:pt x="120" y="150"/>
                    <a:pt x="135" y="135"/>
                  </a:cubicBezTo>
                  <a:cubicBezTo>
                    <a:pt x="164" y="106"/>
                    <a:pt x="164" y="58"/>
                    <a:pt x="135" y="29"/>
                  </a:cubicBezTo>
                  <a:cubicBezTo>
                    <a:pt x="106" y="0"/>
                    <a:pt x="58" y="0"/>
                    <a:pt x="29" y="29"/>
                  </a:cubicBezTo>
                  <a:close/>
                  <a:moveTo>
                    <a:pt x="108" y="109"/>
                  </a:moveTo>
                  <a:cubicBezTo>
                    <a:pt x="94" y="123"/>
                    <a:pt x="70" y="123"/>
                    <a:pt x="55" y="109"/>
                  </a:cubicBezTo>
                  <a:cubicBezTo>
                    <a:pt x="41" y="94"/>
                    <a:pt x="41" y="70"/>
                    <a:pt x="55" y="55"/>
                  </a:cubicBezTo>
                  <a:cubicBezTo>
                    <a:pt x="63" y="48"/>
                    <a:pt x="72" y="45"/>
                    <a:pt x="82" y="45"/>
                  </a:cubicBezTo>
                  <a:cubicBezTo>
                    <a:pt x="92" y="45"/>
                    <a:pt x="101" y="48"/>
                    <a:pt x="108" y="55"/>
                  </a:cubicBezTo>
                  <a:cubicBezTo>
                    <a:pt x="123" y="70"/>
                    <a:pt x="123" y="94"/>
                    <a:pt x="108"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2" name="Freeform 91">
              <a:extLst>
                <a:ext uri="{FF2B5EF4-FFF2-40B4-BE49-F238E27FC236}">
                  <a16:creationId xmlns:a16="http://schemas.microsoft.com/office/drawing/2014/main" id="{5DF4F0E5-1985-4924-8377-472D4C5D489F}"/>
                </a:ext>
              </a:extLst>
            </p:cNvPr>
            <p:cNvSpPr>
              <a:spLocks noEditPoints="1"/>
            </p:cNvSpPr>
            <p:nvPr/>
          </p:nvSpPr>
          <p:spPr bwMode="auto">
            <a:xfrm>
              <a:off x="203873" y="-166068"/>
              <a:ext cx="622300" cy="592138"/>
            </a:xfrm>
            <a:custGeom>
              <a:avLst/>
              <a:gdLst>
                <a:gd name="T0" fmla="*/ 29 w 165"/>
                <a:gd name="T1" fmla="*/ 29 h 157"/>
                <a:gd name="T2" fmla="*/ 29 w 165"/>
                <a:gd name="T3" fmla="*/ 136 h 157"/>
                <a:gd name="T4" fmla="*/ 82 w 165"/>
                <a:gd name="T5" fmla="*/ 157 h 157"/>
                <a:gd name="T6" fmla="*/ 135 w 165"/>
                <a:gd name="T7" fmla="*/ 136 h 157"/>
                <a:gd name="T8" fmla="*/ 135 w 165"/>
                <a:gd name="T9" fmla="*/ 29 h 157"/>
                <a:gd name="T10" fmla="*/ 29 w 165"/>
                <a:gd name="T11" fmla="*/ 29 h 157"/>
                <a:gd name="T12" fmla="*/ 109 w 165"/>
                <a:gd name="T13" fmla="*/ 109 h 157"/>
                <a:gd name="T14" fmla="*/ 56 w 165"/>
                <a:gd name="T15" fmla="*/ 109 h 157"/>
                <a:gd name="T16" fmla="*/ 56 w 165"/>
                <a:gd name="T17" fmla="*/ 56 h 157"/>
                <a:gd name="T18" fmla="*/ 82 w 165"/>
                <a:gd name="T19" fmla="*/ 45 h 157"/>
                <a:gd name="T20" fmla="*/ 109 w 165"/>
                <a:gd name="T21" fmla="*/ 56 h 157"/>
                <a:gd name="T22" fmla="*/ 109 w 165"/>
                <a:gd name="T23" fmla="*/ 10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57">
                  <a:moveTo>
                    <a:pt x="29" y="29"/>
                  </a:moveTo>
                  <a:cubicBezTo>
                    <a:pt x="0" y="59"/>
                    <a:pt x="0" y="106"/>
                    <a:pt x="29" y="136"/>
                  </a:cubicBezTo>
                  <a:cubicBezTo>
                    <a:pt x="44" y="150"/>
                    <a:pt x="63" y="157"/>
                    <a:pt x="82" y="157"/>
                  </a:cubicBezTo>
                  <a:cubicBezTo>
                    <a:pt x="102" y="157"/>
                    <a:pt x="121" y="150"/>
                    <a:pt x="135" y="136"/>
                  </a:cubicBezTo>
                  <a:cubicBezTo>
                    <a:pt x="165" y="106"/>
                    <a:pt x="165" y="59"/>
                    <a:pt x="135" y="29"/>
                  </a:cubicBezTo>
                  <a:cubicBezTo>
                    <a:pt x="106" y="0"/>
                    <a:pt x="59" y="0"/>
                    <a:pt x="29" y="29"/>
                  </a:cubicBezTo>
                  <a:close/>
                  <a:moveTo>
                    <a:pt x="109" y="109"/>
                  </a:moveTo>
                  <a:cubicBezTo>
                    <a:pt x="94" y="124"/>
                    <a:pt x="71" y="124"/>
                    <a:pt x="56" y="109"/>
                  </a:cubicBezTo>
                  <a:cubicBezTo>
                    <a:pt x="41" y="94"/>
                    <a:pt x="41" y="71"/>
                    <a:pt x="56" y="56"/>
                  </a:cubicBezTo>
                  <a:cubicBezTo>
                    <a:pt x="63" y="49"/>
                    <a:pt x="73" y="45"/>
                    <a:pt x="82" y="45"/>
                  </a:cubicBezTo>
                  <a:cubicBezTo>
                    <a:pt x="92" y="45"/>
                    <a:pt x="102" y="49"/>
                    <a:pt x="109" y="56"/>
                  </a:cubicBezTo>
                  <a:cubicBezTo>
                    <a:pt x="124" y="71"/>
                    <a:pt x="124" y="94"/>
                    <a:pt x="109"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3" name="Freeform 92">
              <a:extLst>
                <a:ext uri="{FF2B5EF4-FFF2-40B4-BE49-F238E27FC236}">
                  <a16:creationId xmlns:a16="http://schemas.microsoft.com/office/drawing/2014/main" id="{BC682919-23FC-4A4E-8E92-2654CA2D59E5}"/>
                </a:ext>
              </a:extLst>
            </p:cNvPr>
            <p:cNvSpPr>
              <a:spLocks noEditPoints="1"/>
            </p:cNvSpPr>
            <p:nvPr/>
          </p:nvSpPr>
          <p:spPr bwMode="auto">
            <a:xfrm>
              <a:off x="913485" y="543545"/>
              <a:ext cx="617538" cy="592138"/>
            </a:xfrm>
            <a:custGeom>
              <a:avLst/>
              <a:gdLst>
                <a:gd name="T0" fmla="*/ 29 w 164"/>
                <a:gd name="T1" fmla="*/ 29 h 157"/>
                <a:gd name="T2" fmla="*/ 29 w 164"/>
                <a:gd name="T3" fmla="*/ 135 h 157"/>
                <a:gd name="T4" fmla="*/ 82 w 164"/>
                <a:gd name="T5" fmla="*/ 157 h 157"/>
                <a:gd name="T6" fmla="*/ 135 w 164"/>
                <a:gd name="T7" fmla="*/ 135 h 157"/>
                <a:gd name="T8" fmla="*/ 135 w 164"/>
                <a:gd name="T9" fmla="*/ 29 h 157"/>
                <a:gd name="T10" fmla="*/ 29 w 164"/>
                <a:gd name="T11" fmla="*/ 29 h 157"/>
                <a:gd name="T12" fmla="*/ 108 w 164"/>
                <a:gd name="T13" fmla="*/ 109 h 157"/>
                <a:gd name="T14" fmla="*/ 55 w 164"/>
                <a:gd name="T15" fmla="*/ 109 h 157"/>
                <a:gd name="T16" fmla="*/ 55 w 164"/>
                <a:gd name="T17" fmla="*/ 55 h 157"/>
                <a:gd name="T18" fmla="*/ 82 w 164"/>
                <a:gd name="T19" fmla="*/ 45 h 157"/>
                <a:gd name="T20" fmla="*/ 108 w 164"/>
                <a:gd name="T21" fmla="*/ 55 h 157"/>
                <a:gd name="T22" fmla="*/ 108 w 164"/>
                <a:gd name="T23" fmla="*/ 10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157">
                  <a:moveTo>
                    <a:pt x="29" y="29"/>
                  </a:moveTo>
                  <a:cubicBezTo>
                    <a:pt x="0" y="58"/>
                    <a:pt x="0" y="106"/>
                    <a:pt x="29" y="135"/>
                  </a:cubicBezTo>
                  <a:cubicBezTo>
                    <a:pt x="44" y="150"/>
                    <a:pt x="63" y="157"/>
                    <a:pt x="82" y="157"/>
                  </a:cubicBezTo>
                  <a:cubicBezTo>
                    <a:pt x="101" y="157"/>
                    <a:pt x="120" y="150"/>
                    <a:pt x="135" y="135"/>
                  </a:cubicBezTo>
                  <a:cubicBezTo>
                    <a:pt x="164" y="106"/>
                    <a:pt x="164" y="58"/>
                    <a:pt x="135" y="29"/>
                  </a:cubicBezTo>
                  <a:cubicBezTo>
                    <a:pt x="106" y="0"/>
                    <a:pt x="58" y="0"/>
                    <a:pt x="29" y="29"/>
                  </a:cubicBezTo>
                  <a:close/>
                  <a:moveTo>
                    <a:pt x="108" y="109"/>
                  </a:moveTo>
                  <a:cubicBezTo>
                    <a:pt x="94" y="123"/>
                    <a:pt x="70" y="123"/>
                    <a:pt x="55" y="109"/>
                  </a:cubicBezTo>
                  <a:cubicBezTo>
                    <a:pt x="41" y="94"/>
                    <a:pt x="41" y="70"/>
                    <a:pt x="55" y="55"/>
                  </a:cubicBezTo>
                  <a:cubicBezTo>
                    <a:pt x="63" y="48"/>
                    <a:pt x="72" y="45"/>
                    <a:pt x="82" y="45"/>
                  </a:cubicBezTo>
                  <a:cubicBezTo>
                    <a:pt x="92" y="45"/>
                    <a:pt x="101" y="48"/>
                    <a:pt x="108" y="55"/>
                  </a:cubicBezTo>
                  <a:cubicBezTo>
                    <a:pt x="123" y="70"/>
                    <a:pt x="123" y="94"/>
                    <a:pt x="108"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4" name="Freeform 93">
              <a:extLst>
                <a:ext uri="{FF2B5EF4-FFF2-40B4-BE49-F238E27FC236}">
                  <a16:creationId xmlns:a16="http://schemas.microsoft.com/office/drawing/2014/main" id="{3C3499E8-ACD4-462E-8DD3-5687F3595782}"/>
                </a:ext>
              </a:extLst>
            </p:cNvPr>
            <p:cNvSpPr>
              <a:spLocks noEditPoints="1"/>
            </p:cNvSpPr>
            <p:nvPr/>
          </p:nvSpPr>
          <p:spPr bwMode="auto">
            <a:xfrm>
              <a:off x="203873" y="1248395"/>
              <a:ext cx="622300" cy="592138"/>
            </a:xfrm>
            <a:custGeom>
              <a:avLst/>
              <a:gdLst>
                <a:gd name="T0" fmla="*/ 29 w 165"/>
                <a:gd name="T1" fmla="*/ 29 h 157"/>
                <a:gd name="T2" fmla="*/ 29 w 165"/>
                <a:gd name="T3" fmla="*/ 136 h 157"/>
                <a:gd name="T4" fmla="*/ 82 w 165"/>
                <a:gd name="T5" fmla="*/ 157 h 157"/>
                <a:gd name="T6" fmla="*/ 135 w 165"/>
                <a:gd name="T7" fmla="*/ 136 h 157"/>
                <a:gd name="T8" fmla="*/ 135 w 165"/>
                <a:gd name="T9" fmla="*/ 29 h 157"/>
                <a:gd name="T10" fmla="*/ 29 w 165"/>
                <a:gd name="T11" fmla="*/ 29 h 157"/>
                <a:gd name="T12" fmla="*/ 109 w 165"/>
                <a:gd name="T13" fmla="*/ 109 h 157"/>
                <a:gd name="T14" fmla="*/ 56 w 165"/>
                <a:gd name="T15" fmla="*/ 109 h 157"/>
                <a:gd name="T16" fmla="*/ 56 w 165"/>
                <a:gd name="T17" fmla="*/ 56 h 157"/>
                <a:gd name="T18" fmla="*/ 82 w 165"/>
                <a:gd name="T19" fmla="*/ 45 h 157"/>
                <a:gd name="T20" fmla="*/ 109 w 165"/>
                <a:gd name="T21" fmla="*/ 56 h 157"/>
                <a:gd name="T22" fmla="*/ 109 w 165"/>
                <a:gd name="T23" fmla="*/ 10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57">
                  <a:moveTo>
                    <a:pt x="29" y="29"/>
                  </a:moveTo>
                  <a:cubicBezTo>
                    <a:pt x="0" y="59"/>
                    <a:pt x="0" y="106"/>
                    <a:pt x="29" y="136"/>
                  </a:cubicBezTo>
                  <a:cubicBezTo>
                    <a:pt x="44" y="150"/>
                    <a:pt x="63" y="157"/>
                    <a:pt x="82" y="157"/>
                  </a:cubicBezTo>
                  <a:cubicBezTo>
                    <a:pt x="102" y="157"/>
                    <a:pt x="121" y="150"/>
                    <a:pt x="135" y="136"/>
                  </a:cubicBezTo>
                  <a:cubicBezTo>
                    <a:pt x="165" y="106"/>
                    <a:pt x="165" y="59"/>
                    <a:pt x="135" y="29"/>
                  </a:cubicBezTo>
                  <a:cubicBezTo>
                    <a:pt x="106" y="0"/>
                    <a:pt x="59" y="0"/>
                    <a:pt x="29" y="29"/>
                  </a:cubicBezTo>
                  <a:close/>
                  <a:moveTo>
                    <a:pt x="109" y="109"/>
                  </a:moveTo>
                  <a:cubicBezTo>
                    <a:pt x="94" y="124"/>
                    <a:pt x="71" y="124"/>
                    <a:pt x="56" y="109"/>
                  </a:cubicBezTo>
                  <a:cubicBezTo>
                    <a:pt x="41" y="94"/>
                    <a:pt x="41" y="71"/>
                    <a:pt x="56" y="56"/>
                  </a:cubicBezTo>
                  <a:cubicBezTo>
                    <a:pt x="63" y="49"/>
                    <a:pt x="73" y="45"/>
                    <a:pt x="82" y="45"/>
                  </a:cubicBezTo>
                  <a:cubicBezTo>
                    <a:pt x="92" y="45"/>
                    <a:pt x="102" y="49"/>
                    <a:pt x="109" y="56"/>
                  </a:cubicBezTo>
                  <a:cubicBezTo>
                    <a:pt x="124" y="71"/>
                    <a:pt x="124" y="94"/>
                    <a:pt x="109"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5" name="Freeform 94">
              <a:extLst>
                <a:ext uri="{FF2B5EF4-FFF2-40B4-BE49-F238E27FC236}">
                  <a16:creationId xmlns:a16="http://schemas.microsoft.com/office/drawing/2014/main" id="{2215563F-2A9A-43A8-9B52-F5558D643128}"/>
                </a:ext>
              </a:extLst>
            </p:cNvPr>
            <p:cNvSpPr>
              <a:spLocks noEditPoints="1"/>
            </p:cNvSpPr>
            <p:nvPr/>
          </p:nvSpPr>
          <p:spPr bwMode="auto">
            <a:xfrm>
              <a:off x="-1750340" y="-1410668"/>
              <a:ext cx="4527550" cy="4527550"/>
            </a:xfrm>
            <a:custGeom>
              <a:avLst/>
              <a:gdLst>
                <a:gd name="T0" fmla="*/ 1163 w 1200"/>
                <a:gd name="T1" fmla="*/ 581 h 1200"/>
                <a:gd name="T2" fmla="*/ 1026 w 1200"/>
                <a:gd name="T3" fmla="*/ 486 h 1200"/>
                <a:gd name="T4" fmla="*/ 952 w 1200"/>
                <a:gd name="T5" fmla="*/ 313 h 1200"/>
                <a:gd name="T6" fmla="*/ 1051 w 1200"/>
                <a:gd name="T7" fmla="*/ 255 h 1200"/>
                <a:gd name="T8" fmla="*/ 1078 w 1200"/>
                <a:gd name="T9" fmla="*/ 229 h 1200"/>
                <a:gd name="T10" fmla="*/ 1025 w 1200"/>
                <a:gd name="T11" fmla="*/ 176 h 1200"/>
                <a:gd name="T12" fmla="*/ 945 w 1200"/>
                <a:gd name="T13" fmla="*/ 149 h 1200"/>
                <a:gd name="T14" fmla="*/ 888 w 1200"/>
                <a:gd name="T15" fmla="*/ 249 h 1200"/>
                <a:gd name="T16" fmla="*/ 715 w 1200"/>
                <a:gd name="T17" fmla="*/ 174 h 1200"/>
                <a:gd name="T18" fmla="*/ 619 w 1200"/>
                <a:gd name="T19" fmla="*/ 37 h 1200"/>
                <a:gd name="T20" fmla="*/ 675 w 1200"/>
                <a:gd name="T21" fmla="*/ 0 h 1200"/>
                <a:gd name="T22" fmla="*/ 525 w 1200"/>
                <a:gd name="T23" fmla="*/ 37 h 1200"/>
                <a:gd name="T24" fmla="*/ 526 w 1200"/>
                <a:gd name="T25" fmla="*/ 152 h 1200"/>
                <a:gd name="T26" fmla="*/ 361 w 1200"/>
                <a:gd name="T27" fmla="*/ 186 h 1200"/>
                <a:gd name="T28" fmla="*/ 216 w 1200"/>
                <a:gd name="T29" fmla="*/ 189 h 1200"/>
                <a:gd name="T30" fmla="*/ 229 w 1200"/>
                <a:gd name="T31" fmla="*/ 123 h 1200"/>
                <a:gd name="T32" fmla="*/ 176 w 1200"/>
                <a:gd name="T33" fmla="*/ 176 h 1200"/>
                <a:gd name="T34" fmla="*/ 136 w 1200"/>
                <a:gd name="T35" fmla="*/ 261 h 1200"/>
                <a:gd name="T36" fmla="*/ 274 w 1200"/>
                <a:gd name="T37" fmla="*/ 300 h 1200"/>
                <a:gd name="T38" fmla="*/ 176 w 1200"/>
                <a:gd name="T39" fmla="*/ 438 h 1200"/>
                <a:gd name="T40" fmla="*/ 125 w 1200"/>
                <a:gd name="T41" fmla="*/ 581 h 1200"/>
                <a:gd name="T42" fmla="*/ 19 w 1200"/>
                <a:gd name="T43" fmla="*/ 506 h 1200"/>
                <a:gd name="T44" fmla="*/ 19 w 1200"/>
                <a:gd name="T45" fmla="*/ 694 h 1200"/>
                <a:gd name="T46" fmla="*/ 125 w 1200"/>
                <a:gd name="T47" fmla="*/ 619 h 1200"/>
                <a:gd name="T48" fmla="*/ 176 w 1200"/>
                <a:gd name="T49" fmla="*/ 762 h 1200"/>
                <a:gd name="T50" fmla="*/ 274 w 1200"/>
                <a:gd name="T51" fmla="*/ 900 h 1200"/>
                <a:gd name="T52" fmla="*/ 123 w 1200"/>
                <a:gd name="T53" fmla="*/ 945 h 1200"/>
                <a:gd name="T54" fmla="*/ 176 w 1200"/>
                <a:gd name="T55" fmla="*/ 1024 h 1200"/>
                <a:gd name="T56" fmla="*/ 242 w 1200"/>
                <a:gd name="T57" fmla="*/ 1083 h 1200"/>
                <a:gd name="T58" fmla="*/ 216 w 1200"/>
                <a:gd name="T59" fmla="*/ 1011 h 1200"/>
                <a:gd name="T60" fmla="*/ 361 w 1200"/>
                <a:gd name="T61" fmla="*/ 1014 h 1200"/>
                <a:gd name="T62" fmla="*/ 526 w 1200"/>
                <a:gd name="T63" fmla="*/ 1048 h 1200"/>
                <a:gd name="T64" fmla="*/ 525 w 1200"/>
                <a:gd name="T65" fmla="*/ 1162 h 1200"/>
                <a:gd name="T66" fmla="*/ 675 w 1200"/>
                <a:gd name="T67" fmla="*/ 1200 h 1200"/>
                <a:gd name="T68" fmla="*/ 619 w 1200"/>
                <a:gd name="T69" fmla="*/ 1162 h 1200"/>
                <a:gd name="T70" fmla="*/ 715 w 1200"/>
                <a:gd name="T71" fmla="*/ 1026 h 1200"/>
                <a:gd name="T72" fmla="*/ 888 w 1200"/>
                <a:gd name="T73" fmla="*/ 951 h 1200"/>
                <a:gd name="T74" fmla="*/ 945 w 1200"/>
                <a:gd name="T75" fmla="*/ 1051 h 1200"/>
                <a:gd name="T76" fmla="*/ 972 w 1200"/>
                <a:gd name="T77" fmla="*/ 1077 h 1200"/>
                <a:gd name="T78" fmla="*/ 1025 w 1200"/>
                <a:gd name="T79" fmla="*/ 1024 h 1200"/>
                <a:gd name="T80" fmla="*/ 1051 w 1200"/>
                <a:gd name="T81" fmla="*/ 945 h 1200"/>
                <a:gd name="T82" fmla="*/ 952 w 1200"/>
                <a:gd name="T83" fmla="*/ 887 h 1200"/>
                <a:gd name="T84" fmla="*/ 1026 w 1200"/>
                <a:gd name="T85" fmla="*/ 714 h 1200"/>
                <a:gd name="T86" fmla="*/ 1163 w 1200"/>
                <a:gd name="T87" fmla="*/ 619 h 1200"/>
                <a:gd name="T88" fmla="*/ 1200 w 1200"/>
                <a:gd name="T89" fmla="*/ 675 h 1200"/>
                <a:gd name="T90" fmla="*/ 1017 w 1200"/>
                <a:gd name="T91" fmla="*/ 653 h 1200"/>
                <a:gd name="T92" fmla="*/ 982 w 1200"/>
                <a:gd name="T93" fmla="*/ 820 h 1200"/>
                <a:gd name="T94" fmla="*/ 854 w 1200"/>
                <a:gd name="T95" fmla="*/ 935 h 1200"/>
                <a:gd name="T96" fmla="*/ 705 w 1200"/>
                <a:gd name="T97" fmla="*/ 989 h 1200"/>
                <a:gd name="T98" fmla="*/ 547 w 1200"/>
                <a:gd name="T99" fmla="*/ 1016 h 1200"/>
                <a:gd name="T100" fmla="*/ 436 w 1200"/>
                <a:gd name="T101" fmla="*/ 987 h 1200"/>
                <a:gd name="T102" fmla="*/ 315 w 1200"/>
                <a:gd name="T103" fmla="*/ 885 h 1200"/>
                <a:gd name="T104" fmla="*/ 214 w 1200"/>
                <a:gd name="T105" fmla="*/ 764 h 1200"/>
                <a:gd name="T106" fmla="*/ 160 w 1200"/>
                <a:gd name="T107" fmla="*/ 600 h 1200"/>
                <a:gd name="T108" fmla="*/ 214 w 1200"/>
                <a:gd name="T109" fmla="*/ 436 h 1200"/>
                <a:gd name="T110" fmla="*/ 315 w 1200"/>
                <a:gd name="T111" fmla="*/ 315 h 1200"/>
                <a:gd name="T112" fmla="*/ 436 w 1200"/>
                <a:gd name="T113" fmla="*/ 213 h 1200"/>
                <a:gd name="T114" fmla="*/ 600 w 1200"/>
                <a:gd name="T115" fmla="*/ 159 h 1200"/>
                <a:gd name="T116" fmla="*/ 764 w 1200"/>
                <a:gd name="T117" fmla="*/ 213 h 1200"/>
                <a:gd name="T118" fmla="*/ 885 w 1200"/>
                <a:gd name="T119" fmla="*/ 315 h 1200"/>
                <a:gd name="T120" fmla="*/ 987 w 1200"/>
                <a:gd name="T121" fmla="*/ 436 h 1200"/>
                <a:gd name="T122" fmla="*/ 1041 w 1200"/>
                <a:gd name="T123" fmla="*/ 600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0" h="1200">
                  <a:moveTo>
                    <a:pt x="1182" y="506"/>
                  </a:moveTo>
                  <a:cubicBezTo>
                    <a:pt x="1171" y="506"/>
                    <a:pt x="1163" y="515"/>
                    <a:pt x="1163" y="525"/>
                  </a:cubicBezTo>
                  <a:cubicBezTo>
                    <a:pt x="1163" y="581"/>
                    <a:pt x="1163" y="581"/>
                    <a:pt x="1163" y="581"/>
                  </a:cubicBezTo>
                  <a:cubicBezTo>
                    <a:pt x="1076" y="581"/>
                    <a:pt x="1076" y="581"/>
                    <a:pt x="1076" y="581"/>
                  </a:cubicBezTo>
                  <a:cubicBezTo>
                    <a:pt x="1071" y="561"/>
                    <a:pt x="1059" y="543"/>
                    <a:pt x="1048" y="526"/>
                  </a:cubicBezTo>
                  <a:cubicBezTo>
                    <a:pt x="1038" y="512"/>
                    <a:pt x="1030" y="498"/>
                    <a:pt x="1026" y="486"/>
                  </a:cubicBezTo>
                  <a:cubicBezTo>
                    <a:pt x="1023" y="473"/>
                    <a:pt x="1024" y="456"/>
                    <a:pt x="1025" y="438"/>
                  </a:cubicBezTo>
                  <a:cubicBezTo>
                    <a:pt x="1026" y="412"/>
                    <a:pt x="1028" y="384"/>
                    <a:pt x="1015" y="361"/>
                  </a:cubicBezTo>
                  <a:cubicBezTo>
                    <a:pt x="1001" y="337"/>
                    <a:pt x="976" y="325"/>
                    <a:pt x="952" y="313"/>
                  </a:cubicBezTo>
                  <a:cubicBezTo>
                    <a:pt x="943" y="309"/>
                    <a:pt x="935" y="304"/>
                    <a:pt x="927" y="300"/>
                  </a:cubicBezTo>
                  <a:cubicBezTo>
                    <a:pt x="1011" y="215"/>
                    <a:pt x="1011" y="215"/>
                    <a:pt x="1011" y="215"/>
                  </a:cubicBezTo>
                  <a:cubicBezTo>
                    <a:pt x="1051" y="255"/>
                    <a:pt x="1051" y="255"/>
                    <a:pt x="1051" y="255"/>
                  </a:cubicBezTo>
                  <a:cubicBezTo>
                    <a:pt x="1055" y="259"/>
                    <a:pt x="1060" y="261"/>
                    <a:pt x="1064" y="261"/>
                  </a:cubicBezTo>
                  <a:cubicBezTo>
                    <a:pt x="1069" y="261"/>
                    <a:pt x="1074" y="259"/>
                    <a:pt x="1078" y="255"/>
                  </a:cubicBezTo>
                  <a:cubicBezTo>
                    <a:pt x="1085" y="248"/>
                    <a:pt x="1085" y="236"/>
                    <a:pt x="1078" y="229"/>
                  </a:cubicBezTo>
                  <a:cubicBezTo>
                    <a:pt x="1025" y="176"/>
                    <a:pt x="1025" y="176"/>
                    <a:pt x="1025" y="176"/>
                  </a:cubicBezTo>
                  <a:cubicBezTo>
                    <a:pt x="1025" y="176"/>
                    <a:pt x="1025" y="176"/>
                    <a:pt x="1025" y="176"/>
                  </a:cubicBezTo>
                  <a:cubicBezTo>
                    <a:pt x="1025" y="176"/>
                    <a:pt x="1025" y="176"/>
                    <a:pt x="1025" y="176"/>
                  </a:cubicBezTo>
                  <a:cubicBezTo>
                    <a:pt x="972" y="123"/>
                    <a:pt x="972" y="123"/>
                    <a:pt x="972" y="123"/>
                  </a:cubicBezTo>
                  <a:cubicBezTo>
                    <a:pt x="964" y="115"/>
                    <a:pt x="952" y="115"/>
                    <a:pt x="945" y="123"/>
                  </a:cubicBezTo>
                  <a:cubicBezTo>
                    <a:pt x="938" y="130"/>
                    <a:pt x="938" y="142"/>
                    <a:pt x="945" y="149"/>
                  </a:cubicBezTo>
                  <a:cubicBezTo>
                    <a:pt x="985" y="189"/>
                    <a:pt x="985" y="189"/>
                    <a:pt x="985" y="189"/>
                  </a:cubicBezTo>
                  <a:cubicBezTo>
                    <a:pt x="901" y="273"/>
                    <a:pt x="901" y="273"/>
                    <a:pt x="901" y="273"/>
                  </a:cubicBezTo>
                  <a:cubicBezTo>
                    <a:pt x="896" y="266"/>
                    <a:pt x="892" y="257"/>
                    <a:pt x="888" y="249"/>
                  </a:cubicBezTo>
                  <a:cubicBezTo>
                    <a:pt x="876" y="225"/>
                    <a:pt x="863" y="200"/>
                    <a:pt x="840" y="186"/>
                  </a:cubicBezTo>
                  <a:cubicBezTo>
                    <a:pt x="816" y="172"/>
                    <a:pt x="789" y="174"/>
                    <a:pt x="762" y="176"/>
                  </a:cubicBezTo>
                  <a:cubicBezTo>
                    <a:pt x="744" y="177"/>
                    <a:pt x="728" y="178"/>
                    <a:pt x="715" y="174"/>
                  </a:cubicBezTo>
                  <a:cubicBezTo>
                    <a:pt x="702" y="171"/>
                    <a:pt x="689" y="162"/>
                    <a:pt x="674" y="152"/>
                  </a:cubicBezTo>
                  <a:cubicBezTo>
                    <a:pt x="658" y="141"/>
                    <a:pt x="640" y="129"/>
                    <a:pt x="619" y="124"/>
                  </a:cubicBezTo>
                  <a:cubicBezTo>
                    <a:pt x="619" y="37"/>
                    <a:pt x="619" y="37"/>
                    <a:pt x="619" y="37"/>
                  </a:cubicBezTo>
                  <a:cubicBezTo>
                    <a:pt x="675" y="37"/>
                    <a:pt x="675" y="37"/>
                    <a:pt x="675" y="37"/>
                  </a:cubicBezTo>
                  <a:cubicBezTo>
                    <a:pt x="686" y="37"/>
                    <a:pt x="694" y="29"/>
                    <a:pt x="694" y="19"/>
                  </a:cubicBezTo>
                  <a:cubicBezTo>
                    <a:pt x="694" y="8"/>
                    <a:pt x="686" y="0"/>
                    <a:pt x="675" y="0"/>
                  </a:cubicBezTo>
                  <a:cubicBezTo>
                    <a:pt x="525" y="0"/>
                    <a:pt x="525" y="0"/>
                    <a:pt x="525" y="0"/>
                  </a:cubicBezTo>
                  <a:cubicBezTo>
                    <a:pt x="515" y="0"/>
                    <a:pt x="507" y="8"/>
                    <a:pt x="507" y="19"/>
                  </a:cubicBezTo>
                  <a:cubicBezTo>
                    <a:pt x="507" y="29"/>
                    <a:pt x="515" y="37"/>
                    <a:pt x="525" y="37"/>
                  </a:cubicBezTo>
                  <a:cubicBezTo>
                    <a:pt x="582" y="37"/>
                    <a:pt x="582" y="37"/>
                    <a:pt x="582" y="37"/>
                  </a:cubicBezTo>
                  <a:cubicBezTo>
                    <a:pt x="582" y="124"/>
                    <a:pt x="582" y="124"/>
                    <a:pt x="582" y="124"/>
                  </a:cubicBezTo>
                  <a:cubicBezTo>
                    <a:pt x="561" y="129"/>
                    <a:pt x="543" y="141"/>
                    <a:pt x="526" y="152"/>
                  </a:cubicBezTo>
                  <a:cubicBezTo>
                    <a:pt x="512" y="162"/>
                    <a:pt x="499" y="171"/>
                    <a:pt x="486" y="174"/>
                  </a:cubicBezTo>
                  <a:cubicBezTo>
                    <a:pt x="473" y="178"/>
                    <a:pt x="456" y="177"/>
                    <a:pt x="439" y="176"/>
                  </a:cubicBezTo>
                  <a:cubicBezTo>
                    <a:pt x="412" y="174"/>
                    <a:pt x="385" y="172"/>
                    <a:pt x="361" y="186"/>
                  </a:cubicBezTo>
                  <a:cubicBezTo>
                    <a:pt x="337" y="200"/>
                    <a:pt x="325" y="225"/>
                    <a:pt x="313" y="249"/>
                  </a:cubicBezTo>
                  <a:cubicBezTo>
                    <a:pt x="309" y="257"/>
                    <a:pt x="305" y="266"/>
                    <a:pt x="300" y="273"/>
                  </a:cubicBezTo>
                  <a:cubicBezTo>
                    <a:pt x="216" y="189"/>
                    <a:pt x="216" y="189"/>
                    <a:pt x="216" y="189"/>
                  </a:cubicBezTo>
                  <a:cubicBezTo>
                    <a:pt x="256" y="149"/>
                    <a:pt x="256" y="149"/>
                    <a:pt x="256" y="149"/>
                  </a:cubicBezTo>
                  <a:cubicBezTo>
                    <a:pt x="263" y="142"/>
                    <a:pt x="263" y="130"/>
                    <a:pt x="256" y="123"/>
                  </a:cubicBezTo>
                  <a:cubicBezTo>
                    <a:pt x="248" y="115"/>
                    <a:pt x="237" y="115"/>
                    <a:pt x="229" y="123"/>
                  </a:cubicBezTo>
                  <a:cubicBezTo>
                    <a:pt x="176" y="176"/>
                    <a:pt x="176" y="176"/>
                    <a:pt x="176" y="176"/>
                  </a:cubicBezTo>
                  <a:cubicBezTo>
                    <a:pt x="176" y="176"/>
                    <a:pt x="176" y="176"/>
                    <a:pt x="176" y="176"/>
                  </a:cubicBezTo>
                  <a:cubicBezTo>
                    <a:pt x="176" y="176"/>
                    <a:pt x="176" y="176"/>
                    <a:pt x="176" y="176"/>
                  </a:cubicBezTo>
                  <a:cubicBezTo>
                    <a:pt x="123" y="229"/>
                    <a:pt x="123" y="229"/>
                    <a:pt x="123" y="229"/>
                  </a:cubicBezTo>
                  <a:cubicBezTo>
                    <a:pt x="116" y="236"/>
                    <a:pt x="116" y="248"/>
                    <a:pt x="123" y="255"/>
                  </a:cubicBezTo>
                  <a:cubicBezTo>
                    <a:pt x="127" y="259"/>
                    <a:pt x="132" y="261"/>
                    <a:pt x="136" y="261"/>
                  </a:cubicBezTo>
                  <a:cubicBezTo>
                    <a:pt x="141" y="261"/>
                    <a:pt x="146" y="259"/>
                    <a:pt x="150" y="255"/>
                  </a:cubicBezTo>
                  <a:cubicBezTo>
                    <a:pt x="189" y="215"/>
                    <a:pt x="189" y="215"/>
                    <a:pt x="189" y="215"/>
                  </a:cubicBezTo>
                  <a:cubicBezTo>
                    <a:pt x="274" y="300"/>
                    <a:pt x="274" y="300"/>
                    <a:pt x="274" y="300"/>
                  </a:cubicBezTo>
                  <a:cubicBezTo>
                    <a:pt x="266" y="304"/>
                    <a:pt x="258" y="309"/>
                    <a:pt x="249" y="313"/>
                  </a:cubicBezTo>
                  <a:cubicBezTo>
                    <a:pt x="225" y="325"/>
                    <a:pt x="200" y="337"/>
                    <a:pt x="186" y="361"/>
                  </a:cubicBezTo>
                  <a:cubicBezTo>
                    <a:pt x="173" y="384"/>
                    <a:pt x="174" y="412"/>
                    <a:pt x="176" y="438"/>
                  </a:cubicBezTo>
                  <a:cubicBezTo>
                    <a:pt x="177" y="456"/>
                    <a:pt x="178" y="473"/>
                    <a:pt x="175" y="486"/>
                  </a:cubicBezTo>
                  <a:cubicBezTo>
                    <a:pt x="171" y="498"/>
                    <a:pt x="162" y="512"/>
                    <a:pt x="153" y="526"/>
                  </a:cubicBezTo>
                  <a:cubicBezTo>
                    <a:pt x="142" y="543"/>
                    <a:pt x="130" y="561"/>
                    <a:pt x="125" y="581"/>
                  </a:cubicBezTo>
                  <a:cubicBezTo>
                    <a:pt x="38" y="581"/>
                    <a:pt x="38" y="581"/>
                    <a:pt x="38" y="581"/>
                  </a:cubicBezTo>
                  <a:cubicBezTo>
                    <a:pt x="38" y="525"/>
                    <a:pt x="38" y="525"/>
                    <a:pt x="38" y="525"/>
                  </a:cubicBezTo>
                  <a:cubicBezTo>
                    <a:pt x="38" y="515"/>
                    <a:pt x="30" y="506"/>
                    <a:pt x="19" y="506"/>
                  </a:cubicBezTo>
                  <a:cubicBezTo>
                    <a:pt x="9" y="506"/>
                    <a:pt x="0" y="515"/>
                    <a:pt x="0" y="525"/>
                  </a:cubicBezTo>
                  <a:cubicBezTo>
                    <a:pt x="0" y="675"/>
                    <a:pt x="0" y="675"/>
                    <a:pt x="0" y="675"/>
                  </a:cubicBezTo>
                  <a:cubicBezTo>
                    <a:pt x="0" y="685"/>
                    <a:pt x="9" y="694"/>
                    <a:pt x="19" y="694"/>
                  </a:cubicBezTo>
                  <a:cubicBezTo>
                    <a:pt x="30" y="694"/>
                    <a:pt x="38" y="685"/>
                    <a:pt x="38" y="675"/>
                  </a:cubicBezTo>
                  <a:cubicBezTo>
                    <a:pt x="38" y="619"/>
                    <a:pt x="38" y="619"/>
                    <a:pt x="38" y="619"/>
                  </a:cubicBezTo>
                  <a:cubicBezTo>
                    <a:pt x="125" y="619"/>
                    <a:pt x="125" y="619"/>
                    <a:pt x="125" y="619"/>
                  </a:cubicBezTo>
                  <a:cubicBezTo>
                    <a:pt x="130" y="639"/>
                    <a:pt x="142" y="657"/>
                    <a:pt x="153" y="674"/>
                  </a:cubicBezTo>
                  <a:cubicBezTo>
                    <a:pt x="162" y="688"/>
                    <a:pt x="171" y="702"/>
                    <a:pt x="175" y="714"/>
                  </a:cubicBezTo>
                  <a:cubicBezTo>
                    <a:pt x="178" y="727"/>
                    <a:pt x="177" y="744"/>
                    <a:pt x="176" y="762"/>
                  </a:cubicBezTo>
                  <a:cubicBezTo>
                    <a:pt x="174" y="788"/>
                    <a:pt x="173" y="816"/>
                    <a:pt x="186" y="839"/>
                  </a:cubicBezTo>
                  <a:cubicBezTo>
                    <a:pt x="200" y="863"/>
                    <a:pt x="225" y="875"/>
                    <a:pt x="249" y="887"/>
                  </a:cubicBezTo>
                  <a:cubicBezTo>
                    <a:pt x="258" y="891"/>
                    <a:pt x="266" y="896"/>
                    <a:pt x="274" y="900"/>
                  </a:cubicBezTo>
                  <a:cubicBezTo>
                    <a:pt x="189" y="984"/>
                    <a:pt x="189" y="984"/>
                    <a:pt x="189" y="984"/>
                  </a:cubicBezTo>
                  <a:cubicBezTo>
                    <a:pt x="150" y="945"/>
                    <a:pt x="150" y="945"/>
                    <a:pt x="150" y="945"/>
                  </a:cubicBezTo>
                  <a:cubicBezTo>
                    <a:pt x="142" y="937"/>
                    <a:pt x="130" y="937"/>
                    <a:pt x="123" y="945"/>
                  </a:cubicBezTo>
                  <a:cubicBezTo>
                    <a:pt x="116" y="952"/>
                    <a:pt x="116" y="964"/>
                    <a:pt x="123" y="971"/>
                  </a:cubicBezTo>
                  <a:cubicBezTo>
                    <a:pt x="176" y="1024"/>
                    <a:pt x="176" y="1024"/>
                    <a:pt x="176" y="1024"/>
                  </a:cubicBezTo>
                  <a:cubicBezTo>
                    <a:pt x="176" y="1024"/>
                    <a:pt x="176" y="1024"/>
                    <a:pt x="176" y="1024"/>
                  </a:cubicBezTo>
                  <a:cubicBezTo>
                    <a:pt x="176" y="1024"/>
                    <a:pt x="176" y="1024"/>
                    <a:pt x="176" y="1024"/>
                  </a:cubicBezTo>
                  <a:cubicBezTo>
                    <a:pt x="229" y="1077"/>
                    <a:pt x="229" y="1077"/>
                    <a:pt x="229" y="1077"/>
                  </a:cubicBezTo>
                  <a:cubicBezTo>
                    <a:pt x="233" y="1081"/>
                    <a:pt x="238" y="1083"/>
                    <a:pt x="242" y="1083"/>
                  </a:cubicBezTo>
                  <a:cubicBezTo>
                    <a:pt x="247" y="1083"/>
                    <a:pt x="252" y="1081"/>
                    <a:pt x="256" y="1077"/>
                  </a:cubicBezTo>
                  <a:cubicBezTo>
                    <a:pt x="263" y="1070"/>
                    <a:pt x="263" y="1058"/>
                    <a:pt x="256" y="1051"/>
                  </a:cubicBezTo>
                  <a:cubicBezTo>
                    <a:pt x="216" y="1011"/>
                    <a:pt x="216" y="1011"/>
                    <a:pt x="216" y="1011"/>
                  </a:cubicBezTo>
                  <a:cubicBezTo>
                    <a:pt x="300" y="927"/>
                    <a:pt x="300" y="927"/>
                    <a:pt x="300" y="927"/>
                  </a:cubicBezTo>
                  <a:cubicBezTo>
                    <a:pt x="305" y="934"/>
                    <a:pt x="309" y="943"/>
                    <a:pt x="313" y="951"/>
                  </a:cubicBezTo>
                  <a:cubicBezTo>
                    <a:pt x="325" y="975"/>
                    <a:pt x="337" y="1000"/>
                    <a:pt x="361" y="1014"/>
                  </a:cubicBezTo>
                  <a:cubicBezTo>
                    <a:pt x="385" y="1028"/>
                    <a:pt x="412" y="1026"/>
                    <a:pt x="439" y="1024"/>
                  </a:cubicBezTo>
                  <a:cubicBezTo>
                    <a:pt x="456" y="1023"/>
                    <a:pt x="473" y="1022"/>
                    <a:pt x="486" y="1026"/>
                  </a:cubicBezTo>
                  <a:cubicBezTo>
                    <a:pt x="499" y="1029"/>
                    <a:pt x="512" y="1038"/>
                    <a:pt x="526" y="1048"/>
                  </a:cubicBezTo>
                  <a:cubicBezTo>
                    <a:pt x="543" y="1059"/>
                    <a:pt x="561" y="1071"/>
                    <a:pt x="582" y="1076"/>
                  </a:cubicBezTo>
                  <a:cubicBezTo>
                    <a:pt x="582" y="1162"/>
                    <a:pt x="582" y="1162"/>
                    <a:pt x="582" y="1162"/>
                  </a:cubicBezTo>
                  <a:cubicBezTo>
                    <a:pt x="525" y="1162"/>
                    <a:pt x="525" y="1162"/>
                    <a:pt x="525" y="1162"/>
                  </a:cubicBezTo>
                  <a:cubicBezTo>
                    <a:pt x="515" y="1162"/>
                    <a:pt x="507" y="1171"/>
                    <a:pt x="507" y="1181"/>
                  </a:cubicBezTo>
                  <a:cubicBezTo>
                    <a:pt x="507" y="1192"/>
                    <a:pt x="515" y="1200"/>
                    <a:pt x="525" y="1200"/>
                  </a:cubicBezTo>
                  <a:cubicBezTo>
                    <a:pt x="675" y="1200"/>
                    <a:pt x="675" y="1200"/>
                    <a:pt x="675" y="1200"/>
                  </a:cubicBezTo>
                  <a:cubicBezTo>
                    <a:pt x="686" y="1200"/>
                    <a:pt x="694" y="1192"/>
                    <a:pt x="694" y="1181"/>
                  </a:cubicBezTo>
                  <a:cubicBezTo>
                    <a:pt x="694" y="1171"/>
                    <a:pt x="686" y="1162"/>
                    <a:pt x="675" y="1162"/>
                  </a:cubicBezTo>
                  <a:cubicBezTo>
                    <a:pt x="619" y="1162"/>
                    <a:pt x="619" y="1162"/>
                    <a:pt x="619" y="1162"/>
                  </a:cubicBezTo>
                  <a:cubicBezTo>
                    <a:pt x="619" y="1076"/>
                    <a:pt x="619" y="1076"/>
                    <a:pt x="619" y="1076"/>
                  </a:cubicBezTo>
                  <a:cubicBezTo>
                    <a:pt x="640" y="1071"/>
                    <a:pt x="658" y="1059"/>
                    <a:pt x="674" y="1048"/>
                  </a:cubicBezTo>
                  <a:cubicBezTo>
                    <a:pt x="689" y="1038"/>
                    <a:pt x="702" y="1029"/>
                    <a:pt x="715" y="1026"/>
                  </a:cubicBezTo>
                  <a:cubicBezTo>
                    <a:pt x="728" y="1022"/>
                    <a:pt x="744" y="1023"/>
                    <a:pt x="762" y="1024"/>
                  </a:cubicBezTo>
                  <a:cubicBezTo>
                    <a:pt x="789" y="1026"/>
                    <a:pt x="816" y="1028"/>
                    <a:pt x="840" y="1014"/>
                  </a:cubicBezTo>
                  <a:cubicBezTo>
                    <a:pt x="863" y="1000"/>
                    <a:pt x="876" y="975"/>
                    <a:pt x="888" y="951"/>
                  </a:cubicBezTo>
                  <a:cubicBezTo>
                    <a:pt x="892" y="943"/>
                    <a:pt x="896" y="934"/>
                    <a:pt x="901" y="927"/>
                  </a:cubicBezTo>
                  <a:cubicBezTo>
                    <a:pt x="985" y="1011"/>
                    <a:pt x="985" y="1011"/>
                    <a:pt x="985" y="1011"/>
                  </a:cubicBezTo>
                  <a:cubicBezTo>
                    <a:pt x="945" y="1051"/>
                    <a:pt x="945" y="1051"/>
                    <a:pt x="945" y="1051"/>
                  </a:cubicBezTo>
                  <a:cubicBezTo>
                    <a:pt x="938" y="1058"/>
                    <a:pt x="938" y="1070"/>
                    <a:pt x="945" y="1077"/>
                  </a:cubicBezTo>
                  <a:cubicBezTo>
                    <a:pt x="949" y="1081"/>
                    <a:pt x="954" y="1083"/>
                    <a:pt x="958" y="1083"/>
                  </a:cubicBezTo>
                  <a:cubicBezTo>
                    <a:pt x="963" y="1083"/>
                    <a:pt x="968" y="1081"/>
                    <a:pt x="972" y="1077"/>
                  </a:cubicBezTo>
                  <a:cubicBezTo>
                    <a:pt x="1025" y="1024"/>
                    <a:pt x="1025" y="1024"/>
                    <a:pt x="1025" y="1024"/>
                  </a:cubicBezTo>
                  <a:cubicBezTo>
                    <a:pt x="1025" y="1024"/>
                    <a:pt x="1025" y="1024"/>
                    <a:pt x="1025" y="1024"/>
                  </a:cubicBezTo>
                  <a:cubicBezTo>
                    <a:pt x="1025" y="1024"/>
                    <a:pt x="1025" y="1024"/>
                    <a:pt x="1025" y="1024"/>
                  </a:cubicBezTo>
                  <a:cubicBezTo>
                    <a:pt x="1078" y="971"/>
                    <a:pt x="1078" y="971"/>
                    <a:pt x="1078" y="971"/>
                  </a:cubicBezTo>
                  <a:cubicBezTo>
                    <a:pt x="1085" y="964"/>
                    <a:pt x="1085" y="952"/>
                    <a:pt x="1078" y="945"/>
                  </a:cubicBezTo>
                  <a:cubicBezTo>
                    <a:pt x="1070" y="937"/>
                    <a:pt x="1059" y="937"/>
                    <a:pt x="1051" y="945"/>
                  </a:cubicBezTo>
                  <a:cubicBezTo>
                    <a:pt x="1011" y="984"/>
                    <a:pt x="1011" y="984"/>
                    <a:pt x="1011" y="984"/>
                  </a:cubicBezTo>
                  <a:cubicBezTo>
                    <a:pt x="927" y="900"/>
                    <a:pt x="927" y="900"/>
                    <a:pt x="927" y="900"/>
                  </a:cubicBezTo>
                  <a:cubicBezTo>
                    <a:pt x="935" y="896"/>
                    <a:pt x="943" y="891"/>
                    <a:pt x="952" y="887"/>
                  </a:cubicBezTo>
                  <a:cubicBezTo>
                    <a:pt x="976" y="875"/>
                    <a:pt x="1001" y="863"/>
                    <a:pt x="1015" y="839"/>
                  </a:cubicBezTo>
                  <a:cubicBezTo>
                    <a:pt x="1028" y="816"/>
                    <a:pt x="1026" y="788"/>
                    <a:pt x="1025" y="762"/>
                  </a:cubicBezTo>
                  <a:cubicBezTo>
                    <a:pt x="1024" y="744"/>
                    <a:pt x="1023" y="727"/>
                    <a:pt x="1026" y="714"/>
                  </a:cubicBezTo>
                  <a:cubicBezTo>
                    <a:pt x="1030" y="702"/>
                    <a:pt x="1038" y="688"/>
                    <a:pt x="1048" y="674"/>
                  </a:cubicBezTo>
                  <a:cubicBezTo>
                    <a:pt x="1059" y="657"/>
                    <a:pt x="1071" y="639"/>
                    <a:pt x="1076" y="619"/>
                  </a:cubicBezTo>
                  <a:cubicBezTo>
                    <a:pt x="1163" y="619"/>
                    <a:pt x="1163" y="619"/>
                    <a:pt x="1163" y="619"/>
                  </a:cubicBezTo>
                  <a:cubicBezTo>
                    <a:pt x="1163" y="675"/>
                    <a:pt x="1163" y="675"/>
                    <a:pt x="1163" y="675"/>
                  </a:cubicBezTo>
                  <a:cubicBezTo>
                    <a:pt x="1163" y="685"/>
                    <a:pt x="1171" y="694"/>
                    <a:pt x="1182" y="694"/>
                  </a:cubicBezTo>
                  <a:cubicBezTo>
                    <a:pt x="1192" y="694"/>
                    <a:pt x="1200" y="685"/>
                    <a:pt x="1200" y="675"/>
                  </a:cubicBezTo>
                  <a:cubicBezTo>
                    <a:pt x="1200" y="525"/>
                    <a:pt x="1200" y="525"/>
                    <a:pt x="1200" y="525"/>
                  </a:cubicBezTo>
                  <a:cubicBezTo>
                    <a:pt x="1200" y="515"/>
                    <a:pt x="1192" y="506"/>
                    <a:pt x="1182" y="506"/>
                  </a:cubicBezTo>
                  <a:close/>
                  <a:moveTo>
                    <a:pt x="1017" y="653"/>
                  </a:moveTo>
                  <a:cubicBezTo>
                    <a:pt x="1006" y="669"/>
                    <a:pt x="995" y="686"/>
                    <a:pt x="990" y="704"/>
                  </a:cubicBezTo>
                  <a:cubicBezTo>
                    <a:pt x="985" y="724"/>
                    <a:pt x="986" y="744"/>
                    <a:pt x="987" y="764"/>
                  </a:cubicBezTo>
                  <a:cubicBezTo>
                    <a:pt x="989" y="786"/>
                    <a:pt x="990" y="807"/>
                    <a:pt x="982" y="820"/>
                  </a:cubicBezTo>
                  <a:cubicBezTo>
                    <a:pt x="974" y="834"/>
                    <a:pt x="955" y="844"/>
                    <a:pt x="935" y="853"/>
                  </a:cubicBezTo>
                  <a:cubicBezTo>
                    <a:pt x="918" y="862"/>
                    <a:pt x="899" y="871"/>
                    <a:pt x="885" y="885"/>
                  </a:cubicBezTo>
                  <a:cubicBezTo>
                    <a:pt x="872" y="899"/>
                    <a:pt x="863" y="917"/>
                    <a:pt x="854" y="935"/>
                  </a:cubicBezTo>
                  <a:cubicBezTo>
                    <a:pt x="844" y="955"/>
                    <a:pt x="835" y="973"/>
                    <a:pt x="821" y="982"/>
                  </a:cubicBezTo>
                  <a:cubicBezTo>
                    <a:pt x="807" y="990"/>
                    <a:pt x="786" y="988"/>
                    <a:pt x="764" y="987"/>
                  </a:cubicBezTo>
                  <a:cubicBezTo>
                    <a:pt x="745" y="986"/>
                    <a:pt x="724" y="984"/>
                    <a:pt x="705" y="989"/>
                  </a:cubicBezTo>
                  <a:cubicBezTo>
                    <a:pt x="686" y="994"/>
                    <a:pt x="670" y="1006"/>
                    <a:pt x="654" y="1016"/>
                  </a:cubicBezTo>
                  <a:cubicBezTo>
                    <a:pt x="635" y="1029"/>
                    <a:pt x="617" y="1041"/>
                    <a:pt x="600" y="1041"/>
                  </a:cubicBezTo>
                  <a:cubicBezTo>
                    <a:pt x="584" y="1041"/>
                    <a:pt x="566" y="1029"/>
                    <a:pt x="547" y="1016"/>
                  </a:cubicBezTo>
                  <a:cubicBezTo>
                    <a:pt x="531" y="1006"/>
                    <a:pt x="515" y="994"/>
                    <a:pt x="496" y="989"/>
                  </a:cubicBezTo>
                  <a:cubicBezTo>
                    <a:pt x="485" y="987"/>
                    <a:pt x="474" y="986"/>
                    <a:pt x="463" y="986"/>
                  </a:cubicBezTo>
                  <a:cubicBezTo>
                    <a:pt x="454" y="986"/>
                    <a:pt x="445" y="986"/>
                    <a:pt x="436" y="987"/>
                  </a:cubicBezTo>
                  <a:cubicBezTo>
                    <a:pt x="415" y="988"/>
                    <a:pt x="394" y="990"/>
                    <a:pt x="380" y="982"/>
                  </a:cubicBezTo>
                  <a:cubicBezTo>
                    <a:pt x="366" y="973"/>
                    <a:pt x="357" y="955"/>
                    <a:pt x="347" y="935"/>
                  </a:cubicBezTo>
                  <a:cubicBezTo>
                    <a:pt x="338" y="917"/>
                    <a:pt x="329" y="899"/>
                    <a:pt x="315" y="885"/>
                  </a:cubicBezTo>
                  <a:cubicBezTo>
                    <a:pt x="301" y="871"/>
                    <a:pt x="283" y="862"/>
                    <a:pt x="266" y="853"/>
                  </a:cubicBezTo>
                  <a:cubicBezTo>
                    <a:pt x="246" y="844"/>
                    <a:pt x="227" y="834"/>
                    <a:pt x="219" y="820"/>
                  </a:cubicBezTo>
                  <a:cubicBezTo>
                    <a:pt x="211" y="807"/>
                    <a:pt x="212" y="786"/>
                    <a:pt x="214" y="764"/>
                  </a:cubicBezTo>
                  <a:cubicBezTo>
                    <a:pt x="215" y="744"/>
                    <a:pt x="216" y="724"/>
                    <a:pt x="211" y="704"/>
                  </a:cubicBezTo>
                  <a:cubicBezTo>
                    <a:pt x="206" y="686"/>
                    <a:pt x="195" y="669"/>
                    <a:pt x="184" y="653"/>
                  </a:cubicBezTo>
                  <a:cubicBezTo>
                    <a:pt x="172" y="634"/>
                    <a:pt x="160" y="617"/>
                    <a:pt x="160" y="600"/>
                  </a:cubicBezTo>
                  <a:cubicBezTo>
                    <a:pt x="160" y="583"/>
                    <a:pt x="172" y="565"/>
                    <a:pt x="184" y="547"/>
                  </a:cubicBezTo>
                  <a:cubicBezTo>
                    <a:pt x="195" y="531"/>
                    <a:pt x="206" y="514"/>
                    <a:pt x="211" y="496"/>
                  </a:cubicBezTo>
                  <a:cubicBezTo>
                    <a:pt x="216" y="476"/>
                    <a:pt x="215" y="456"/>
                    <a:pt x="214" y="436"/>
                  </a:cubicBezTo>
                  <a:cubicBezTo>
                    <a:pt x="212" y="414"/>
                    <a:pt x="211" y="393"/>
                    <a:pt x="219" y="380"/>
                  </a:cubicBezTo>
                  <a:cubicBezTo>
                    <a:pt x="227" y="366"/>
                    <a:pt x="246" y="356"/>
                    <a:pt x="266" y="347"/>
                  </a:cubicBezTo>
                  <a:cubicBezTo>
                    <a:pt x="283" y="338"/>
                    <a:pt x="301" y="329"/>
                    <a:pt x="315" y="315"/>
                  </a:cubicBezTo>
                  <a:cubicBezTo>
                    <a:pt x="329" y="301"/>
                    <a:pt x="338" y="283"/>
                    <a:pt x="347" y="265"/>
                  </a:cubicBezTo>
                  <a:cubicBezTo>
                    <a:pt x="357" y="245"/>
                    <a:pt x="366" y="226"/>
                    <a:pt x="380" y="218"/>
                  </a:cubicBezTo>
                  <a:cubicBezTo>
                    <a:pt x="394" y="210"/>
                    <a:pt x="415" y="212"/>
                    <a:pt x="436" y="213"/>
                  </a:cubicBezTo>
                  <a:cubicBezTo>
                    <a:pt x="456" y="214"/>
                    <a:pt x="477" y="216"/>
                    <a:pt x="496" y="210"/>
                  </a:cubicBezTo>
                  <a:cubicBezTo>
                    <a:pt x="515" y="206"/>
                    <a:pt x="531" y="194"/>
                    <a:pt x="547" y="184"/>
                  </a:cubicBezTo>
                  <a:cubicBezTo>
                    <a:pt x="566" y="171"/>
                    <a:pt x="584" y="159"/>
                    <a:pt x="600" y="159"/>
                  </a:cubicBezTo>
                  <a:cubicBezTo>
                    <a:pt x="617" y="159"/>
                    <a:pt x="635" y="171"/>
                    <a:pt x="654" y="184"/>
                  </a:cubicBezTo>
                  <a:cubicBezTo>
                    <a:pt x="670" y="194"/>
                    <a:pt x="686" y="206"/>
                    <a:pt x="705" y="210"/>
                  </a:cubicBezTo>
                  <a:cubicBezTo>
                    <a:pt x="724" y="216"/>
                    <a:pt x="745" y="214"/>
                    <a:pt x="764" y="213"/>
                  </a:cubicBezTo>
                  <a:cubicBezTo>
                    <a:pt x="786" y="212"/>
                    <a:pt x="807" y="210"/>
                    <a:pt x="821" y="218"/>
                  </a:cubicBezTo>
                  <a:cubicBezTo>
                    <a:pt x="835" y="226"/>
                    <a:pt x="844" y="245"/>
                    <a:pt x="854" y="265"/>
                  </a:cubicBezTo>
                  <a:cubicBezTo>
                    <a:pt x="863" y="283"/>
                    <a:pt x="872" y="301"/>
                    <a:pt x="885" y="315"/>
                  </a:cubicBezTo>
                  <a:cubicBezTo>
                    <a:pt x="899" y="329"/>
                    <a:pt x="918" y="338"/>
                    <a:pt x="935" y="347"/>
                  </a:cubicBezTo>
                  <a:cubicBezTo>
                    <a:pt x="955" y="356"/>
                    <a:pt x="974" y="366"/>
                    <a:pt x="982" y="380"/>
                  </a:cubicBezTo>
                  <a:cubicBezTo>
                    <a:pt x="990" y="393"/>
                    <a:pt x="989" y="414"/>
                    <a:pt x="987" y="436"/>
                  </a:cubicBezTo>
                  <a:cubicBezTo>
                    <a:pt x="986" y="456"/>
                    <a:pt x="985" y="476"/>
                    <a:pt x="990" y="496"/>
                  </a:cubicBezTo>
                  <a:cubicBezTo>
                    <a:pt x="995" y="514"/>
                    <a:pt x="1006" y="531"/>
                    <a:pt x="1017" y="547"/>
                  </a:cubicBezTo>
                  <a:cubicBezTo>
                    <a:pt x="1029" y="565"/>
                    <a:pt x="1041" y="583"/>
                    <a:pt x="1041" y="600"/>
                  </a:cubicBezTo>
                  <a:cubicBezTo>
                    <a:pt x="1041" y="617"/>
                    <a:pt x="1029" y="634"/>
                    <a:pt x="1017" y="65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025" name="TextBox 1024">
            <a:extLst>
              <a:ext uri="{FF2B5EF4-FFF2-40B4-BE49-F238E27FC236}">
                <a16:creationId xmlns:a16="http://schemas.microsoft.com/office/drawing/2014/main" id="{2C2B5F8A-BA29-4226-AAE7-61B746B08C27}"/>
              </a:ext>
            </a:extLst>
          </p:cNvPr>
          <p:cNvSpPr txBox="1"/>
          <p:nvPr/>
        </p:nvSpPr>
        <p:spPr>
          <a:xfrm>
            <a:off x="342628" y="5463396"/>
            <a:ext cx="19431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Hybrid &amp; Online learning due to Covid-19</a:t>
            </a:r>
          </a:p>
        </p:txBody>
      </p:sp>
      <p:sp>
        <p:nvSpPr>
          <p:cNvPr id="1026" name="TextBox 1025">
            <a:extLst>
              <a:ext uri="{FF2B5EF4-FFF2-40B4-BE49-F238E27FC236}">
                <a16:creationId xmlns:a16="http://schemas.microsoft.com/office/drawing/2014/main" id="{6B4191B3-404D-4AF7-AC9D-7C01C421D602}"/>
              </a:ext>
            </a:extLst>
          </p:cNvPr>
          <p:cNvSpPr txBox="1"/>
          <p:nvPr/>
        </p:nvSpPr>
        <p:spPr>
          <a:xfrm>
            <a:off x="568201" y="3959935"/>
            <a:ext cx="2421259"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Low cost devices appropriate for every school and student</a:t>
            </a:r>
          </a:p>
        </p:txBody>
      </p:sp>
      <p:pic>
        <p:nvPicPr>
          <p:cNvPr id="1027" name="Picture 1026" descr="A close up of a logo&#10;&#10;Description automatically generated">
            <a:extLst>
              <a:ext uri="{FF2B5EF4-FFF2-40B4-BE49-F238E27FC236}">
                <a16:creationId xmlns:a16="http://schemas.microsoft.com/office/drawing/2014/main" id="{9E952861-D0BF-4686-B299-AE0C7B3865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19995" y="4638740"/>
            <a:ext cx="1063814" cy="600858"/>
          </a:xfrm>
          <a:prstGeom prst="rect">
            <a:avLst/>
          </a:prstGeom>
        </p:spPr>
      </p:pic>
      <p:sp>
        <p:nvSpPr>
          <p:cNvPr id="1028" name="TextBox 1027">
            <a:extLst>
              <a:ext uri="{FF2B5EF4-FFF2-40B4-BE49-F238E27FC236}">
                <a16:creationId xmlns:a16="http://schemas.microsoft.com/office/drawing/2014/main" id="{4CEDC7D8-4A89-41E5-BA3D-CA49F8F66219}"/>
              </a:ext>
            </a:extLst>
          </p:cNvPr>
          <p:cNvSpPr txBox="1"/>
          <p:nvPr/>
        </p:nvSpPr>
        <p:spPr>
          <a:xfrm>
            <a:off x="1509948" y="2456473"/>
            <a:ext cx="295902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Equality of access to technology and connectivity to reduce digital divide</a:t>
            </a:r>
          </a:p>
        </p:txBody>
      </p:sp>
      <p:pic>
        <p:nvPicPr>
          <p:cNvPr id="1030" name="Picture 1029" descr="A picture containing drawing&#10;&#10;Description automatically generated">
            <a:extLst>
              <a:ext uri="{FF2B5EF4-FFF2-40B4-BE49-F238E27FC236}">
                <a16:creationId xmlns:a16="http://schemas.microsoft.com/office/drawing/2014/main" id="{8C75CE1C-709D-4F2F-9EF2-98ABA8BD61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300243">
            <a:off x="4276736" y="3689122"/>
            <a:ext cx="860824" cy="668175"/>
          </a:xfrm>
          <a:prstGeom prst="rect">
            <a:avLst/>
          </a:prstGeom>
        </p:spPr>
      </p:pic>
      <p:sp>
        <p:nvSpPr>
          <p:cNvPr id="1032" name="TextBox 1031">
            <a:extLst>
              <a:ext uri="{FF2B5EF4-FFF2-40B4-BE49-F238E27FC236}">
                <a16:creationId xmlns:a16="http://schemas.microsoft.com/office/drawing/2014/main" id="{FAD6C015-8CE2-41FC-86E8-83214EF6CF14}"/>
              </a:ext>
            </a:extLst>
          </p:cNvPr>
          <p:cNvSpPr txBox="1"/>
          <p:nvPr/>
        </p:nvSpPr>
        <p:spPr>
          <a:xfrm>
            <a:off x="4616488" y="1906397"/>
            <a:ext cx="2959024"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Leverage technology investments to save money and improve outcomes</a:t>
            </a:r>
          </a:p>
        </p:txBody>
      </p:sp>
      <p:pic>
        <p:nvPicPr>
          <p:cNvPr id="1036" name="Graphic 1035" descr="Money">
            <a:extLst>
              <a:ext uri="{FF2B5EF4-FFF2-40B4-BE49-F238E27FC236}">
                <a16:creationId xmlns:a16="http://schemas.microsoft.com/office/drawing/2014/main" id="{1F64260A-4497-44BA-8F89-8EA864A29E4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638800" y="3232373"/>
            <a:ext cx="914400" cy="914400"/>
          </a:xfrm>
          <a:prstGeom prst="rect">
            <a:avLst/>
          </a:prstGeom>
        </p:spPr>
      </p:pic>
      <p:sp>
        <p:nvSpPr>
          <p:cNvPr id="1038" name="TextBox 1037">
            <a:extLst>
              <a:ext uri="{FF2B5EF4-FFF2-40B4-BE49-F238E27FC236}">
                <a16:creationId xmlns:a16="http://schemas.microsoft.com/office/drawing/2014/main" id="{9418D5AC-99E5-4ED8-A774-6F0CF0ED00AC}"/>
              </a:ext>
            </a:extLst>
          </p:cNvPr>
          <p:cNvSpPr txBox="1"/>
          <p:nvPr/>
        </p:nvSpPr>
        <p:spPr>
          <a:xfrm>
            <a:off x="7948324" y="2456473"/>
            <a:ext cx="2959024"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killing educators and students with tech skills to succeed in work and life</a:t>
            </a:r>
          </a:p>
        </p:txBody>
      </p:sp>
      <p:pic>
        <p:nvPicPr>
          <p:cNvPr id="1040" name="Graphic 1039" descr="Classroom">
            <a:extLst>
              <a:ext uri="{FF2B5EF4-FFF2-40B4-BE49-F238E27FC236}">
                <a16:creationId xmlns:a16="http://schemas.microsoft.com/office/drawing/2014/main" id="{8253A40E-AA4C-4221-9F78-BFDA2F2D2D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313611">
            <a:off x="7104399" y="3647519"/>
            <a:ext cx="689971" cy="689971"/>
          </a:xfrm>
          <a:prstGeom prst="rect">
            <a:avLst/>
          </a:prstGeom>
        </p:spPr>
      </p:pic>
      <p:sp>
        <p:nvSpPr>
          <p:cNvPr id="1042" name="TextBox 1041">
            <a:extLst>
              <a:ext uri="{FF2B5EF4-FFF2-40B4-BE49-F238E27FC236}">
                <a16:creationId xmlns:a16="http://schemas.microsoft.com/office/drawing/2014/main" id="{33227870-0B1A-410D-8D94-D7F49E5E2B51}"/>
              </a:ext>
            </a:extLst>
          </p:cNvPr>
          <p:cNvSpPr txBox="1"/>
          <p:nvPr/>
        </p:nvSpPr>
        <p:spPr>
          <a:xfrm>
            <a:off x="9094719" y="3959935"/>
            <a:ext cx="2475374"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Harness data created in new remote/hybrid paradigm</a:t>
            </a:r>
          </a:p>
        </p:txBody>
      </p:sp>
      <p:pic>
        <p:nvPicPr>
          <p:cNvPr id="1043" name="Graphic 1042" descr="Programmer">
            <a:extLst>
              <a:ext uri="{FF2B5EF4-FFF2-40B4-BE49-F238E27FC236}">
                <a16:creationId xmlns:a16="http://schemas.microsoft.com/office/drawing/2014/main" id="{06EDA74F-21A7-47C5-8EC6-536B7F5A5D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813336">
            <a:off x="8208065" y="4503572"/>
            <a:ext cx="734762" cy="734762"/>
          </a:xfrm>
          <a:prstGeom prst="rect">
            <a:avLst/>
          </a:prstGeom>
        </p:spPr>
      </p:pic>
      <p:pic>
        <p:nvPicPr>
          <p:cNvPr id="1044" name="Graphic 1043" descr="Lock">
            <a:extLst>
              <a:ext uri="{FF2B5EF4-FFF2-40B4-BE49-F238E27FC236}">
                <a16:creationId xmlns:a16="http://schemas.microsoft.com/office/drawing/2014/main" id="{95C2A3D5-6FCE-47C2-A9AA-38E11637602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02192" y="5867913"/>
            <a:ext cx="734762" cy="734762"/>
          </a:xfrm>
          <a:prstGeom prst="rect">
            <a:avLst/>
          </a:prstGeom>
        </p:spPr>
      </p:pic>
      <p:sp>
        <p:nvSpPr>
          <p:cNvPr id="1046" name="TextBox 1045">
            <a:extLst>
              <a:ext uri="{FF2B5EF4-FFF2-40B4-BE49-F238E27FC236}">
                <a16:creationId xmlns:a16="http://schemas.microsoft.com/office/drawing/2014/main" id="{61ECB957-0A44-431B-8122-178C118081F7}"/>
              </a:ext>
            </a:extLst>
          </p:cNvPr>
          <p:cNvSpPr txBox="1"/>
          <p:nvPr/>
        </p:nvSpPr>
        <p:spPr>
          <a:xfrm>
            <a:off x="9611684" y="5463396"/>
            <a:ext cx="2475374"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Security and Privac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 Remove data sovereignty barriers</a:t>
            </a:r>
          </a:p>
        </p:txBody>
      </p:sp>
      <p:sp>
        <p:nvSpPr>
          <p:cNvPr id="1048" name="TextBox 1047">
            <a:extLst>
              <a:ext uri="{FF2B5EF4-FFF2-40B4-BE49-F238E27FC236}">
                <a16:creationId xmlns:a16="http://schemas.microsoft.com/office/drawing/2014/main" id="{15387256-2723-4E56-A3F3-9BC0268642C4}"/>
              </a:ext>
            </a:extLst>
          </p:cNvPr>
          <p:cNvSpPr txBox="1"/>
          <p:nvPr/>
        </p:nvSpPr>
        <p:spPr>
          <a:xfrm>
            <a:off x="168965" y="481738"/>
            <a:ext cx="11854070"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Our support for education systems in the post Covid-19 world</a:t>
            </a:r>
          </a:p>
        </p:txBody>
      </p:sp>
    </p:spTree>
    <p:extLst>
      <p:ext uri="{BB962C8B-B14F-4D97-AF65-F5344CB8AC3E}">
        <p14:creationId xmlns:p14="http://schemas.microsoft.com/office/powerpoint/2010/main" val="394045490"/>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Industry trends 2 slide title">
            <a:extLst>
              <a:ext uri="{FF2B5EF4-FFF2-40B4-BE49-F238E27FC236}">
                <a16:creationId xmlns:a16="http://schemas.microsoft.com/office/drawing/2014/main" id="{0286757A-871E-FB0B-EFA7-B8CE13279023}"/>
              </a:ext>
            </a:extLst>
          </p:cNvPr>
          <p:cNvSpPr txBox="1">
            <a:spLocks/>
          </p:cNvSpPr>
          <p:nvPr/>
        </p:nvSpPr>
        <p:spPr>
          <a:xfrm>
            <a:off x="588263" y="457200"/>
            <a:ext cx="11018520"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50" normalizeH="0" baseline="0" noProof="0">
                <a:ln w="3175">
                  <a:noFill/>
                </a:ln>
                <a:solidFill>
                  <a:prstClr val="black"/>
                </a:solidFill>
                <a:effectLst/>
                <a:uLnTx/>
                <a:uFillTx/>
                <a:latin typeface="Calibri Light" panose="020F0302020204030204"/>
                <a:ea typeface="+mn-ea"/>
                <a:cs typeface="Segoe UI" pitchFamily="34" charset="0"/>
              </a:rPr>
              <a:t>Top Trends Impacting K-12 Education</a:t>
            </a:r>
          </a:p>
        </p:txBody>
      </p:sp>
      <p:sp>
        <p:nvSpPr>
          <p:cNvPr id="29" name="Bottom third image placeholder" descr="image placeholder, bottom third of slide">
            <a:extLst>
              <a:ext uri="{FF2B5EF4-FFF2-40B4-BE49-F238E27FC236}">
                <a16:creationId xmlns:a16="http://schemas.microsoft.com/office/drawing/2014/main" id="{FB00F682-DDE3-7739-018F-83BB33B42832}"/>
              </a:ext>
            </a:extLst>
          </p:cNvPr>
          <p:cNvSpPr txBox="1">
            <a:spLocks/>
          </p:cNvSpPr>
          <p:nvPr/>
        </p:nvSpPr>
        <p:spPr>
          <a:xfrm>
            <a:off x="97" y="4898561"/>
            <a:ext cx="12192000" cy="1817464"/>
          </a:xfrm>
          <a:prstGeom prst="rect">
            <a:avLst/>
          </a:prstGeom>
        </p:spPr>
        <p:txBody>
          <a:bodyPr/>
          <a:lstStyle>
            <a:lvl1pPr marL="0" marR="0" indent="0" algn="l" defTabSz="932742" rtl="0" eaLnBrk="1" fontAlgn="auto" latinLnBrk="0" hangingPunct="1">
              <a:lnSpc>
                <a:spcPct val="100000"/>
              </a:lnSpc>
              <a:spcBef>
                <a:spcPts val="1200"/>
              </a:spcBef>
              <a:spcAft>
                <a:spcPts val="400"/>
              </a:spcAft>
              <a:buClrTx/>
              <a:buSzPct val="100000"/>
              <a:buFont typeface="Arial" panose="020B0604020202020204" pitchFamily="34" charset="0"/>
              <a:buNone/>
              <a:tabLst/>
              <a:defRPr sz="2800" kern="1200" spc="0" baseline="0">
                <a:solidFill>
                  <a:schemeClr val="tx1"/>
                </a:solidFill>
                <a:latin typeface="+mn-lt"/>
                <a:ea typeface="+mn-ea"/>
                <a:cs typeface="Segoe UI" panose="020B0502040204020203" pitchFamily="34" charset="0"/>
              </a:defRPr>
            </a:lvl1pPr>
            <a:lvl2pPr marL="690563" marR="0" indent="-228600"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2000" kern="1200" spc="0" baseline="0">
                <a:solidFill>
                  <a:schemeClr val="tx1"/>
                </a:solidFill>
                <a:latin typeface="+mn-lt"/>
                <a:ea typeface="+mn-ea"/>
                <a:cs typeface="+mn-cs"/>
              </a:defRPr>
            </a:lvl2pPr>
            <a:lvl3pPr marL="914400" marR="0" indent="-200025" algn="l" defTabSz="932742" rtl="0" eaLnBrk="1" fontAlgn="auto" latinLnBrk="0" hangingPunct="1">
              <a:lnSpc>
                <a:spcPct val="100000"/>
              </a:lnSpc>
              <a:spcBef>
                <a:spcPct val="20000"/>
              </a:spcBef>
              <a:spcAft>
                <a:spcPts val="0"/>
              </a:spcAft>
              <a:buClrTx/>
              <a:buSzPct val="100000"/>
              <a:buFont typeface="Wingdings" panose="05000000000000000000" pitchFamily="2" charset="2"/>
              <a:buChar char="§"/>
              <a:tabLst/>
              <a:defRPr sz="1600" kern="1200" spc="0" baseline="0">
                <a:solidFill>
                  <a:schemeClr val="tx1"/>
                </a:solidFill>
                <a:latin typeface="+mn-lt"/>
                <a:ea typeface="+mn-ea"/>
                <a:cs typeface="+mn-cs"/>
              </a:defRPr>
            </a:lvl3pPr>
            <a:lvl4pPr marL="1028700" marR="0" indent="-180975"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4pPr>
            <a:lvl5pPr marL="1257300" marR="0" indent="-168275" algn="l" defTabSz="932742" rtl="0" eaLnBrk="1" fontAlgn="auto" latinLnBrk="0" hangingPunct="1">
              <a:lnSpc>
                <a:spcPct val="100000"/>
              </a:lnSpc>
              <a:spcBef>
                <a:spcPct val="20000"/>
              </a:spcBef>
              <a:spcAft>
                <a:spcPts val="0"/>
              </a:spcAft>
              <a:buClrTx/>
              <a:buSzPct val="100000"/>
              <a:buFont typeface="Arial" panose="020B0604020202020204" pitchFamily="34" charset="0"/>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1200"/>
              </a:spcBef>
              <a:spcAft>
                <a:spcPts val="400"/>
              </a:spcAft>
              <a:buClrTx/>
              <a:buSzPct val="100000"/>
              <a:buFont typeface="Arial" panose="020B0604020202020204" pitchFamily="34" charset="0"/>
              <a:buNone/>
              <a:tabLst/>
              <a:defRPr/>
            </a:pPr>
            <a:endParaRPr kumimoji="0" lang="en-US" sz="2800" b="0" i="0" u="none" strike="noStrike" kern="1200" cap="none" spc="0" normalizeH="0" baseline="0" noProof="0">
              <a:ln>
                <a:noFill/>
              </a:ln>
              <a:solidFill>
                <a:prstClr val="black"/>
              </a:solidFill>
              <a:effectLst/>
              <a:uLnTx/>
              <a:uFillTx/>
              <a:latin typeface="Calibri" panose="020F0502020204030204"/>
              <a:ea typeface="+mn-ea"/>
              <a:cs typeface="Segoe UI" panose="020B0502040204020203" pitchFamily="34" charset="0"/>
            </a:endParaRPr>
          </a:p>
        </p:txBody>
      </p:sp>
      <p:sp>
        <p:nvSpPr>
          <p:cNvPr id="34" name="Freeform: Shape 33">
            <a:extLst>
              <a:ext uri="{FF2B5EF4-FFF2-40B4-BE49-F238E27FC236}">
                <a16:creationId xmlns:a16="http://schemas.microsoft.com/office/drawing/2014/main" id="{2B919A85-F5C1-5131-3575-CBA06CC85C02}"/>
              </a:ext>
              <a:ext uri="{C183D7F6-B498-43B3-948B-1728B52AA6E4}">
                <adec:decorative xmlns:adec="http://schemas.microsoft.com/office/drawing/2017/decorative" val="1"/>
              </a:ext>
            </a:extLst>
          </p:cNvPr>
          <p:cNvSpPr/>
          <p:nvPr/>
        </p:nvSpPr>
        <p:spPr bwMode="auto">
          <a:xfrm>
            <a:off x="0" y="6747118"/>
            <a:ext cx="12188952" cy="110883"/>
          </a:xfrm>
          <a:custGeom>
            <a:avLst/>
            <a:gdLst>
              <a:gd name="connsiteX0" fmla="*/ 0 w 12188952"/>
              <a:gd name="connsiteY0" fmla="*/ 0 h 110883"/>
              <a:gd name="connsiteX1" fmla="*/ 12188952 w 12188952"/>
              <a:gd name="connsiteY1" fmla="*/ 0 h 110883"/>
              <a:gd name="connsiteX2" fmla="*/ 12188952 w 12188952"/>
              <a:gd name="connsiteY2" fmla="*/ 110883 h 110883"/>
              <a:gd name="connsiteX3" fmla="*/ 0 w 12188952"/>
              <a:gd name="connsiteY3" fmla="*/ 110883 h 110883"/>
            </a:gdLst>
            <a:ahLst/>
            <a:cxnLst>
              <a:cxn ang="0">
                <a:pos x="connsiteX0" y="connsiteY0"/>
              </a:cxn>
              <a:cxn ang="0">
                <a:pos x="connsiteX1" y="connsiteY1"/>
              </a:cxn>
              <a:cxn ang="0">
                <a:pos x="connsiteX2" y="connsiteY2"/>
              </a:cxn>
              <a:cxn ang="0">
                <a:pos x="connsiteX3" y="connsiteY3"/>
              </a:cxn>
            </a:cxnLst>
            <a:rect l="l" t="t" r="r" b="b"/>
            <a:pathLst>
              <a:path w="12188952" h="110883">
                <a:moveTo>
                  <a:pt x="0" y="0"/>
                </a:moveTo>
                <a:lnTo>
                  <a:pt x="12188952" y="0"/>
                </a:lnTo>
                <a:lnTo>
                  <a:pt x="12188952" y="110883"/>
                </a:lnTo>
                <a:lnTo>
                  <a:pt x="0" y="110883"/>
                </a:lnTo>
                <a:close/>
              </a:path>
            </a:pathLst>
          </a:custGeom>
          <a:gradFill>
            <a:gsLst>
              <a:gs pos="60000">
                <a:srgbClr val="61C5BE"/>
              </a:gs>
              <a:gs pos="30000">
                <a:srgbClr val="FFF200"/>
              </a:gs>
              <a:gs pos="99000">
                <a:schemeClr val="accent5"/>
              </a:gs>
            </a:gsLst>
            <a:lin ang="0" scaled="0"/>
          </a:gradFill>
          <a:ln>
            <a:no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Calibri" panose="020F0502020204030204"/>
              <a:ea typeface="+mn-ea"/>
              <a:cs typeface="Segoe UI" pitchFamily="34" charset="0"/>
            </a:endParaRPr>
          </a:p>
        </p:txBody>
      </p:sp>
      <p:sp>
        <p:nvSpPr>
          <p:cNvPr id="36" name="TextBox 35">
            <a:extLst>
              <a:ext uri="{FF2B5EF4-FFF2-40B4-BE49-F238E27FC236}">
                <a16:creationId xmlns:a16="http://schemas.microsoft.com/office/drawing/2014/main" id="{260DC541-2A38-E303-1275-E0E7E8C26BCF}"/>
              </a:ext>
            </a:extLst>
          </p:cNvPr>
          <p:cNvSpPr txBox="1"/>
          <p:nvPr/>
        </p:nvSpPr>
        <p:spPr>
          <a:xfrm>
            <a:off x="588263" y="4998708"/>
            <a:ext cx="10409082" cy="144655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prstClr val="black"/>
                </a:solidFill>
                <a:effectLst/>
                <a:uLnTx/>
                <a:uFillTx/>
                <a:latin typeface="Calibri" panose="020F0502020204030204"/>
                <a:ea typeface="+mn-ea"/>
                <a:cs typeface="+mn-cs"/>
              </a:rPr>
              <a:t>K-12 education’s challenges are evolving, but continue to be significant, nonetheless. The focus for K-12 CIOs is turning to leveraging all the digital investments made to date, identifying which remain to be made, and to creating an agile, composable digital learning organiz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1"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1" u="none" strike="noStrike" kern="1200" cap="none" spc="0" normalizeH="0" baseline="0" noProof="0">
                <a:ln>
                  <a:noFill/>
                </a:ln>
                <a:solidFill>
                  <a:prstClr val="black"/>
                </a:solidFill>
                <a:effectLst/>
                <a:uLnTx/>
                <a:uFillTx/>
                <a:latin typeface="Calibri" panose="020F0502020204030204"/>
                <a:ea typeface="+mn-ea"/>
                <a:cs typeface="+mn-cs"/>
              </a:rPr>
              <a:t>Source: Gartner, Published 8 February 2022</a:t>
            </a:r>
          </a:p>
        </p:txBody>
      </p:sp>
      <p:sp>
        <p:nvSpPr>
          <p:cNvPr id="38" name="Rectangle 37">
            <a:extLst>
              <a:ext uri="{FF2B5EF4-FFF2-40B4-BE49-F238E27FC236}">
                <a16:creationId xmlns:a16="http://schemas.microsoft.com/office/drawing/2014/main" id="{F0386D7F-05BE-7611-5DF8-0A731D8BBB6A}"/>
              </a:ext>
            </a:extLst>
          </p:cNvPr>
          <p:cNvSpPr/>
          <p:nvPr/>
        </p:nvSpPr>
        <p:spPr bwMode="auto">
          <a:xfrm>
            <a:off x="588263" y="1366104"/>
            <a:ext cx="3353444" cy="1536522"/>
          </a:xfrm>
          <a:prstGeom prst="rect">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700" b="1" i="0" u="none" strike="noStrike" kern="0" cap="none" spc="-39" normalizeH="0" baseline="0" noProof="0">
                <a:ln>
                  <a:noFill/>
                </a:ln>
                <a:gradFill>
                  <a:gsLst>
                    <a:gs pos="0">
                      <a:srgbClr val="FFFFFF"/>
                    </a:gs>
                    <a:gs pos="100000">
                      <a:srgbClr val="FFFFFF"/>
                    </a:gs>
                  </a:gsLst>
                  <a:lin ang="5400000" scaled="0"/>
                </a:gradFill>
                <a:effectLst/>
                <a:uLnTx/>
                <a:uFillTx/>
                <a:latin typeface="Segoe UI Semibold"/>
                <a:ea typeface="+mn-ea"/>
                <a:cs typeface="Segoe UI Semibold"/>
              </a:rPr>
              <a:t>1. Digital Learning Environments</a:t>
            </a:r>
            <a:br>
              <a:rPr kumimoji="0" lang="en-US" sz="3136" b="1" i="0" u="none" strike="noStrike" kern="0" cap="none" spc="-39"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br>
            <a:r>
              <a:rPr kumimoji="0" lang="en-GB"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t>Relate to learning technology ecosystems created to support fully online, hybrid and </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en-GB"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t>physical teaching practices</a:t>
            </a: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endParaRPr>
          </a:p>
        </p:txBody>
      </p:sp>
      <p:sp>
        <p:nvSpPr>
          <p:cNvPr id="40" name="Rectangle 39">
            <a:extLst>
              <a:ext uri="{FF2B5EF4-FFF2-40B4-BE49-F238E27FC236}">
                <a16:creationId xmlns:a16="http://schemas.microsoft.com/office/drawing/2014/main" id="{3C5287ED-FF9B-37EB-2B8F-1C096118BA0E}"/>
              </a:ext>
            </a:extLst>
          </p:cNvPr>
          <p:cNvSpPr/>
          <p:nvPr/>
        </p:nvSpPr>
        <p:spPr bwMode="auto">
          <a:xfrm>
            <a:off x="4116082" y="1366104"/>
            <a:ext cx="3353444" cy="1536522"/>
          </a:xfrm>
          <a:prstGeom prst="rect">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800" b="1" i="0" u="none" strike="noStrike" kern="0" cap="none" spc="-39" normalizeH="0" baseline="0" noProof="0">
                <a:ln>
                  <a:noFill/>
                </a:ln>
                <a:gradFill>
                  <a:gsLst>
                    <a:gs pos="0">
                      <a:srgbClr val="FFFFFF"/>
                    </a:gs>
                    <a:gs pos="100000">
                      <a:srgbClr val="FFFFFF"/>
                    </a:gs>
                  </a:gsLst>
                  <a:lin ang="5400000" scaled="0"/>
                </a:gradFill>
                <a:effectLst/>
                <a:uLnTx/>
                <a:uFillTx/>
                <a:latin typeface="Segoe UI Semibold"/>
                <a:ea typeface="+mn-ea"/>
                <a:cs typeface="Segoe UI Semibold"/>
              </a:rPr>
              <a:t>2. Learning Insights/Analytics</a:t>
            </a:r>
            <a:br>
              <a:rPr kumimoji="0" lang="en-US" sz="3136" b="1" i="0" u="none" strike="noStrike" kern="0" cap="none" spc="-39"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br>
            <a:r>
              <a:rPr kumimoji="0" lang="en-GB"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t>By 2025, 80% of all K-12 orgs will be leveraging some type of analytics applications designed specifically to speed insight</a:t>
            </a: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endParaRPr>
          </a:p>
        </p:txBody>
      </p:sp>
      <p:sp>
        <p:nvSpPr>
          <p:cNvPr id="42" name="Rectangle 41">
            <a:extLst>
              <a:ext uri="{FF2B5EF4-FFF2-40B4-BE49-F238E27FC236}">
                <a16:creationId xmlns:a16="http://schemas.microsoft.com/office/drawing/2014/main" id="{021BAB90-9E09-F5E6-8682-FD5628B4C34F}"/>
              </a:ext>
            </a:extLst>
          </p:cNvPr>
          <p:cNvSpPr/>
          <p:nvPr/>
        </p:nvSpPr>
        <p:spPr bwMode="auto">
          <a:xfrm>
            <a:off x="7643901" y="1366104"/>
            <a:ext cx="3353444" cy="1536522"/>
          </a:xfrm>
          <a:prstGeom prst="rect">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800" b="1" i="0" u="none" strike="noStrike" kern="0" cap="none" spc="-39" normalizeH="0" baseline="0" noProof="0">
                <a:ln>
                  <a:noFill/>
                </a:ln>
                <a:gradFill>
                  <a:gsLst>
                    <a:gs pos="0">
                      <a:srgbClr val="FFFFFF"/>
                    </a:gs>
                    <a:gs pos="100000">
                      <a:srgbClr val="FFFFFF"/>
                    </a:gs>
                  </a:gsLst>
                  <a:lin ang="5400000" scaled="0"/>
                </a:gradFill>
                <a:effectLst/>
                <a:uLnTx/>
                <a:uFillTx/>
                <a:latin typeface="Segoe UI Semibold"/>
                <a:ea typeface="+mn-ea"/>
                <a:cs typeface="Segoe UI Semibold"/>
              </a:rPr>
              <a:t>3. Ransomware in K-12 Education</a:t>
            </a:r>
            <a:br>
              <a:rPr kumimoji="0" lang="en-US" sz="3136" b="1" i="0" u="none" strike="noStrike" kern="0" cap="none" spc="-39"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br>
            <a:r>
              <a:rPr kumimoji="0" lang="en-GB"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t>K-12 Education organizations will remain a prime target for ransomware through 2025</a:t>
            </a: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endParaRPr>
          </a:p>
        </p:txBody>
      </p:sp>
      <p:sp>
        <p:nvSpPr>
          <p:cNvPr id="44" name="Rectangle 43">
            <a:extLst>
              <a:ext uri="{FF2B5EF4-FFF2-40B4-BE49-F238E27FC236}">
                <a16:creationId xmlns:a16="http://schemas.microsoft.com/office/drawing/2014/main" id="{23A8D1DD-A6E1-5E64-0D83-F0D9A6DB1D96}"/>
              </a:ext>
            </a:extLst>
          </p:cNvPr>
          <p:cNvSpPr/>
          <p:nvPr/>
        </p:nvSpPr>
        <p:spPr bwMode="auto">
          <a:xfrm>
            <a:off x="588263" y="3023601"/>
            <a:ext cx="3353444" cy="1611033"/>
          </a:xfrm>
          <a:prstGeom prst="rect">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GB" sz="1800" b="1" i="0" u="none" strike="noStrike" kern="0" cap="none" spc="-39" normalizeH="0" baseline="0" noProof="0">
                <a:ln>
                  <a:noFill/>
                </a:ln>
                <a:gradFill>
                  <a:gsLst>
                    <a:gs pos="0">
                      <a:srgbClr val="FFFFFF"/>
                    </a:gs>
                    <a:gs pos="100000">
                      <a:srgbClr val="FFFFFF"/>
                    </a:gs>
                  </a:gsLst>
                  <a:lin ang="5400000" scaled="0"/>
                </a:gradFill>
                <a:effectLst/>
                <a:uLnTx/>
                <a:uFillTx/>
                <a:latin typeface="Segoe UI Semibold"/>
                <a:ea typeface="+mn-ea"/>
                <a:cs typeface="Segoe UI Semibold"/>
              </a:rPr>
              <a:t>4. Education IT Staff Hiring/Retention Issues</a:t>
            </a:r>
            <a:br>
              <a:rPr kumimoji="0" lang="en-US" sz="3136" b="1" i="0" u="none" strike="noStrike" kern="0" cap="none" spc="-39"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br>
            <a:r>
              <a:rPr kumimoji="0" lang="en-GB"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t>By the end of 2024, 80% of K-12 organizations will be forced to increase their use of third-party support</a:t>
            </a: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endParaRPr>
          </a:p>
        </p:txBody>
      </p:sp>
      <p:sp>
        <p:nvSpPr>
          <p:cNvPr id="46" name="Rectangle 45">
            <a:extLst>
              <a:ext uri="{FF2B5EF4-FFF2-40B4-BE49-F238E27FC236}">
                <a16:creationId xmlns:a16="http://schemas.microsoft.com/office/drawing/2014/main" id="{C1E876F2-92B4-B1C2-1EE4-60FFBC10A4D0}"/>
              </a:ext>
            </a:extLst>
          </p:cNvPr>
          <p:cNvSpPr/>
          <p:nvPr/>
        </p:nvSpPr>
        <p:spPr bwMode="auto">
          <a:xfrm>
            <a:off x="4116082" y="3027544"/>
            <a:ext cx="3353444" cy="1611033"/>
          </a:xfrm>
          <a:prstGeom prst="rect">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59" tIns="143407" rIns="179259" bIns="143407" numCol="1" rtlCol="0" anchor="ctr" anchorCtr="0" compatLnSpc="1">
            <a:prstTxWarp prst="textNoShape">
              <a:avLst/>
            </a:prstTxWarp>
          </a:bodyPr>
          <a:lstStyle/>
          <a:p>
            <a:pPr marL="0" marR="0" lvl="0" indent="0" algn="l" defTabSz="913927" rtl="0" eaLnBrk="1" fontAlgn="base" latinLnBrk="0" hangingPunct="1">
              <a:lnSpc>
                <a:spcPct val="90000"/>
              </a:lnSpc>
              <a:spcBef>
                <a:spcPct val="0"/>
              </a:spcBef>
              <a:spcAft>
                <a:spcPct val="0"/>
              </a:spcAft>
              <a:buClrTx/>
              <a:buSzTx/>
              <a:buFontTx/>
              <a:buNone/>
              <a:tabLst/>
              <a:defRPr/>
            </a:pPr>
            <a:r>
              <a:rPr kumimoji="0" lang="en-US" sz="1800" b="1" i="0" u="none" strike="noStrike" kern="0" cap="none" spc="-39" normalizeH="0" baseline="0" noProof="0">
                <a:ln>
                  <a:noFill/>
                </a:ln>
                <a:gradFill>
                  <a:gsLst>
                    <a:gs pos="0">
                      <a:srgbClr val="FFFFFF"/>
                    </a:gs>
                    <a:gs pos="100000">
                      <a:srgbClr val="FFFFFF"/>
                    </a:gs>
                  </a:gsLst>
                  <a:lin ang="5400000" scaled="0"/>
                </a:gradFill>
                <a:effectLst/>
                <a:uLnTx/>
                <a:uFillTx/>
                <a:latin typeface="Segoe UI Semibold"/>
                <a:ea typeface="+mn-ea"/>
                <a:cs typeface="Segoe UI Semibold"/>
              </a:rPr>
              <a:t>5. Adaptive Learning</a:t>
            </a:r>
            <a:br>
              <a:rPr kumimoji="0" lang="en-US" sz="3136" b="1" i="0" u="none" strike="noStrike" kern="0" cap="none" spc="-39"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br>
            <a:r>
              <a:rPr kumimoji="0" lang="en-GB"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t>Dynamically adjusts the way instructional content is </a:t>
            </a:r>
          </a:p>
          <a:p>
            <a:pPr marL="0" marR="0" lvl="0" indent="0" algn="l" defTabSz="913927" rtl="0" eaLnBrk="1" fontAlgn="base" latinLnBrk="0" hangingPunct="1">
              <a:lnSpc>
                <a:spcPct val="90000"/>
              </a:lnSpc>
              <a:spcBef>
                <a:spcPct val="0"/>
              </a:spcBef>
              <a:spcAft>
                <a:spcPct val="0"/>
              </a:spcAft>
              <a:buClrTx/>
              <a:buSzTx/>
              <a:buFontTx/>
              <a:buNone/>
              <a:tabLst/>
              <a:defRPr/>
            </a:pPr>
            <a:r>
              <a:rPr kumimoji="0" lang="en-GB"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rPr>
              <a:t>presented to students based on their responses or preferences</a:t>
            </a: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Segoe UI Light"/>
              <a:ea typeface="+mn-ea"/>
              <a:cs typeface="Segoe UI regular"/>
            </a:endParaRPr>
          </a:p>
        </p:txBody>
      </p:sp>
      <p:pic>
        <p:nvPicPr>
          <p:cNvPr id="2050" name="Picture 2" descr="EDU22_Hybrid_K12_Student_034">
            <a:extLst>
              <a:ext uri="{FF2B5EF4-FFF2-40B4-BE49-F238E27FC236}">
                <a16:creationId xmlns:a16="http://schemas.microsoft.com/office/drawing/2014/main" id="{2CEBA6AE-FE63-3B22-6978-55881FD2AC9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418" b="23874"/>
          <a:stretch/>
        </p:blipFill>
        <p:spPr bwMode="auto">
          <a:xfrm>
            <a:off x="7643901" y="3027544"/>
            <a:ext cx="3353444" cy="1603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645358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C8728F28-F1E3-428E-81FA-142C90E6B0CC}"/>
              </a:ext>
            </a:extLst>
          </p:cNvPr>
          <p:cNvGrpSpPr/>
          <p:nvPr/>
        </p:nvGrpSpPr>
        <p:grpSpPr>
          <a:xfrm>
            <a:off x="522900" y="4347161"/>
            <a:ext cx="11085727" cy="2249487"/>
            <a:chOff x="522712" y="2223122"/>
            <a:chExt cx="10612496" cy="2249487"/>
          </a:xfrm>
        </p:grpSpPr>
        <p:sp>
          <p:nvSpPr>
            <p:cNvPr id="51" name="Rectangle 50">
              <a:extLst>
                <a:ext uri="{FF2B5EF4-FFF2-40B4-BE49-F238E27FC236}">
                  <a16:creationId xmlns:a16="http://schemas.microsoft.com/office/drawing/2014/main" id="{AD091E11-DB76-4FCB-95A7-B8677DCE31E4}"/>
                </a:ext>
              </a:extLst>
            </p:cNvPr>
            <p:cNvSpPr/>
            <p:nvPr/>
          </p:nvSpPr>
          <p:spPr>
            <a:xfrm>
              <a:off x="522712" y="2239756"/>
              <a:ext cx="3467510" cy="2232853"/>
            </a:xfrm>
            <a:prstGeom prst="rect">
              <a:avLst/>
            </a:prstGeom>
            <a:solidFill>
              <a:srgbClr val="3B3B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Rectangle 51">
              <a:extLst>
                <a:ext uri="{FF2B5EF4-FFF2-40B4-BE49-F238E27FC236}">
                  <a16:creationId xmlns:a16="http://schemas.microsoft.com/office/drawing/2014/main" id="{BFBACEE7-2778-41FA-9660-0846BB0DE02B}"/>
                </a:ext>
              </a:extLst>
            </p:cNvPr>
            <p:cNvSpPr/>
            <p:nvPr/>
          </p:nvSpPr>
          <p:spPr>
            <a:xfrm>
              <a:off x="4095386" y="2233027"/>
              <a:ext cx="3467510" cy="2232853"/>
            </a:xfrm>
            <a:prstGeom prst="rect">
              <a:avLst/>
            </a:prstGeom>
            <a:solidFill>
              <a:srgbClr val="3B3B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Rectangle 52">
              <a:extLst>
                <a:ext uri="{FF2B5EF4-FFF2-40B4-BE49-F238E27FC236}">
                  <a16:creationId xmlns:a16="http://schemas.microsoft.com/office/drawing/2014/main" id="{CB797006-0926-4D6A-B035-593AC7E6D73B}"/>
                </a:ext>
              </a:extLst>
            </p:cNvPr>
            <p:cNvSpPr/>
            <p:nvPr/>
          </p:nvSpPr>
          <p:spPr>
            <a:xfrm>
              <a:off x="7667698" y="2223122"/>
              <a:ext cx="3467510" cy="2232853"/>
            </a:xfrm>
            <a:prstGeom prst="rect">
              <a:avLst/>
            </a:prstGeom>
            <a:solidFill>
              <a:srgbClr val="3B3B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9" name="Group 48">
            <a:extLst>
              <a:ext uri="{FF2B5EF4-FFF2-40B4-BE49-F238E27FC236}">
                <a16:creationId xmlns:a16="http://schemas.microsoft.com/office/drawing/2014/main" id="{2EF5FCDE-ED29-4837-BD1D-D182453EC93D}"/>
              </a:ext>
            </a:extLst>
          </p:cNvPr>
          <p:cNvGrpSpPr/>
          <p:nvPr/>
        </p:nvGrpSpPr>
        <p:grpSpPr>
          <a:xfrm>
            <a:off x="522712" y="2011164"/>
            <a:ext cx="11085727" cy="2249487"/>
            <a:chOff x="522712" y="2223122"/>
            <a:chExt cx="10612496" cy="2249487"/>
          </a:xfrm>
        </p:grpSpPr>
        <p:sp>
          <p:nvSpPr>
            <p:cNvPr id="44" name="Rectangle 43">
              <a:extLst>
                <a:ext uri="{FF2B5EF4-FFF2-40B4-BE49-F238E27FC236}">
                  <a16:creationId xmlns:a16="http://schemas.microsoft.com/office/drawing/2014/main" id="{9DC31B13-EF36-455F-A012-2FAD1E2C91C7}"/>
                </a:ext>
              </a:extLst>
            </p:cNvPr>
            <p:cNvSpPr/>
            <p:nvPr/>
          </p:nvSpPr>
          <p:spPr>
            <a:xfrm>
              <a:off x="522712" y="2239756"/>
              <a:ext cx="3467510" cy="2232853"/>
            </a:xfrm>
            <a:prstGeom prst="rect">
              <a:avLst/>
            </a:prstGeom>
            <a:solidFill>
              <a:srgbClr val="3B3B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6" name="Rectangle 45">
              <a:extLst>
                <a:ext uri="{FF2B5EF4-FFF2-40B4-BE49-F238E27FC236}">
                  <a16:creationId xmlns:a16="http://schemas.microsoft.com/office/drawing/2014/main" id="{6ED051B6-8BA8-4036-B123-F6FC11C761FB}"/>
                </a:ext>
              </a:extLst>
            </p:cNvPr>
            <p:cNvSpPr/>
            <p:nvPr/>
          </p:nvSpPr>
          <p:spPr>
            <a:xfrm>
              <a:off x="4095386" y="2233027"/>
              <a:ext cx="3467510" cy="2232853"/>
            </a:xfrm>
            <a:prstGeom prst="rect">
              <a:avLst/>
            </a:prstGeom>
            <a:solidFill>
              <a:srgbClr val="3B3B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8" name="Rectangle 47">
              <a:extLst>
                <a:ext uri="{FF2B5EF4-FFF2-40B4-BE49-F238E27FC236}">
                  <a16:creationId xmlns:a16="http://schemas.microsoft.com/office/drawing/2014/main" id="{6D612832-2EDA-44E4-843D-C77943118BD5}"/>
                </a:ext>
              </a:extLst>
            </p:cNvPr>
            <p:cNvSpPr/>
            <p:nvPr/>
          </p:nvSpPr>
          <p:spPr>
            <a:xfrm>
              <a:off x="7667698" y="2223122"/>
              <a:ext cx="3467510" cy="2232853"/>
            </a:xfrm>
            <a:prstGeom prst="rect">
              <a:avLst/>
            </a:prstGeom>
            <a:solidFill>
              <a:srgbClr val="3B3B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 name="Rectangle 2">
            <a:extLst>
              <a:ext uri="{FF2B5EF4-FFF2-40B4-BE49-F238E27FC236}">
                <a16:creationId xmlns:a16="http://schemas.microsoft.com/office/drawing/2014/main" id="{71C78BA2-DF56-4B81-A23F-97055C84FA59}"/>
              </a:ext>
            </a:extLst>
          </p:cNvPr>
          <p:cNvSpPr/>
          <p:nvPr/>
        </p:nvSpPr>
        <p:spPr bwMode="auto">
          <a:xfrm>
            <a:off x="523074" y="1994525"/>
            <a:ext cx="3572675" cy="234556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822960" rIns="27432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Single, secure identity to unlock potential and access all systems and services</a:t>
            </a:r>
          </a:p>
        </p:txBody>
      </p:sp>
      <p:sp>
        <p:nvSpPr>
          <p:cNvPr id="5" name="Rectangle 4">
            <a:extLst>
              <a:ext uri="{FF2B5EF4-FFF2-40B4-BE49-F238E27FC236}">
                <a16:creationId xmlns:a16="http://schemas.microsoft.com/office/drawing/2014/main" id="{C5A7B2C9-7613-4F64-A0D1-8D37170282A6}"/>
              </a:ext>
            </a:extLst>
          </p:cNvPr>
          <p:cNvSpPr/>
          <p:nvPr/>
        </p:nvSpPr>
        <p:spPr bwMode="auto">
          <a:xfrm>
            <a:off x="4095749" y="2011159"/>
            <a:ext cx="4000504" cy="232893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822960" rIns="27432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o protect sensitive data wherever it lives or travel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To safeguard privacy of  all students</a:t>
            </a:r>
          </a:p>
        </p:txBody>
      </p:sp>
      <p:sp>
        <p:nvSpPr>
          <p:cNvPr id="7" name="Rectangle 6">
            <a:extLst>
              <a:ext uri="{FF2B5EF4-FFF2-40B4-BE49-F238E27FC236}">
                <a16:creationId xmlns:a16="http://schemas.microsoft.com/office/drawing/2014/main" id="{285B5086-E72A-49C8-A04E-DFF1A2410A7F}"/>
              </a:ext>
            </a:extLst>
          </p:cNvPr>
          <p:cNvSpPr/>
          <p:nvPr/>
        </p:nvSpPr>
        <p:spPr bwMode="auto">
          <a:xfrm>
            <a:off x="8096252" y="2011159"/>
            <a:ext cx="3601633" cy="2328932"/>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822960" rIns="27432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Infrastructure to empower teaching and learning via connected learning communities</a:t>
            </a:r>
          </a:p>
        </p:txBody>
      </p:sp>
      <p:sp>
        <p:nvSpPr>
          <p:cNvPr id="9" name="Rectangle 8">
            <a:extLst>
              <a:ext uri="{FF2B5EF4-FFF2-40B4-BE49-F238E27FC236}">
                <a16:creationId xmlns:a16="http://schemas.microsoft.com/office/drawing/2014/main" id="{11C92512-6431-47D1-ADF4-D99043FB60B5}"/>
              </a:ext>
            </a:extLst>
          </p:cNvPr>
          <p:cNvSpPr/>
          <p:nvPr/>
        </p:nvSpPr>
        <p:spPr bwMode="auto">
          <a:xfrm>
            <a:off x="522712" y="4542249"/>
            <a:ext cx="3572674" cy="2021716"/>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822960" rIns="27432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Closing digital gap for Teachers and Students and assuring 100%</a:t>
            </a:r>
          </a:p>
        </p:txBody>
      </p:sp>
      <p:sp>
        <p:nvSpPr>
          <p:cNvPr id="11" name="Rectangle 10">
            <a:extLst>
              <a:ext uri="{FF2B5EF4-FFF2-40B4-BE49-F238E27FC236}">
                <a16:creationId xmlns:a16="http://schemas.microsoft.com/office/drawing/2014/main" id="{510FE945-6BAC-4DB2-9EFF-416B26304A35}"/>
              </a:ext>
            </a:extLst>
          </p:cNvPr>
          <p:cNvSpPr/>
          <p:nvPr/>
        </p:nvSpPr>
        <p:spPr bwMode="auto">
          <a:xfrm>
            <a:off x="4095386" y="4678015"/>
            <a:ext cx="4000504" cy="188595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822960" rIns="27432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Enables teachers to support learners. Helps parents to understand their child's learning progress. </a:t>
            </a:r>
          </a:p>
        </p:txBody>
      </p:sp>
      <p:sp>
        <p:nvSpPr>
          <p:cNvPr id="13" name="Rectangle 12">
            <a:extLst>
              <a:ext uri="{FF2B5EF4-FFF2-40B4-BE49-F238E27FC236}">
                <a16:creationId xmlns:a16="http://schemas.microsoft.com/office/drawing/2014/main" id="{B0F6D64D-9E07-4747-A964-9ADB3C685902}"/>
              </a:ext>
            </a:extLst>
          </p:cNvPr>
          <p:cNvSpPr/>
          <p:nvPr/>
        </p:nvSpPr>
        <p:spPr bwMode="auto">
          <a:xfrm>
            <a:off x="8095890" y="4678015"/>
            <a:ext cx="3601632" cy="1885950"/>
          </a:xfrm>
          <a:prstGeom prst="rect">
            <a:avLst/>
          </a:prstGeom>
          <a:no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822960" rIns="274320" bIns="182880"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Enabling students, teachers and school leader’s with skills development on demand</a:t>
            </a:r>
          </a:p>
        </p:txBody>
      </p:sp>
      <p:sp>
        <p:nvSpPr>
          <p:cNvPr id="15" name="TextBox 14">
            <a:extLst>
              <a:ext uri="{FF2B5EF4-FFF2-40B4-BE49-F238E27FC236}">
                <a16:creationId xmlns:a16="http://schemas.microsoft.com/office/drawing/2014/main" id="{C71A3073-F2F5-4D2E-AD9F-1766528C7F38}"/>
              </a:ext>
            </a:extLst>
          </p:cNvPr>
          <p:cNvSpPr txBox="1"/>
          <p:nvPr/>
        </p:nvSpPr>
        <p:spPr>
          <a:xfrm>
            <a:off x="417550" y="579388"/>
            <a:ext cx="11251375"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Light"/>
                <a:ea typeface="+mn-ea"/>
                <a:cs typeface="+mn-cs"/>
              </a:rPr>
              <a:t>Through the close and ongoing partnership between Microsoft and the education community, we are convinced we can create the right approach to ensure learning never stops. </a:t>
            </a:r>
            <a:r>
              <a:rPr kumimoji="0" lang="en-US" sz="1800" b="0" i="0" u="none" strike="noStrike" kern="1200" cap="none" spc="0" normalizeH="0" baseline="0" noProof="0" dirty="0">
                <a:ln>
                  <a:noFill/>
                </a:ln>
                <a:solidFill>
                  <a:srgbClr val="008AD1"/>
                </a:solidFill>
                <a:effectLst/>
                <a:uLnTx/>
                <a:uFillTx/>
                <a:latin typeface="Segoe UI Light"/>
                <a:ea typeface="+mn-ea"/>
                <a:cs typeface="+mn-cs"/>
              </a:rPr>
              <a:t>These 6 focus areas </a:t>
            </a:r>
            <a:r>
              <a:rPr kumimoji="0" lang="en-US" sz="1800" b="0" i="0" u="none" strike="noStrike" kern="1200" cap="none" spc="0" normalizeH="0" baseline="0" noProof="0" dirty="0">
                <a:ln>
                  <a:noFill/>
                </a:ln>
                <a:solidFill>
                  <a:srgbClr val="FFFFFF"/>
                </a:solidFill>
                <a:effectLst/>
                <a:uLnTx/>
                <a:uFillTx/>
                <a:latin typeface="Segoe UI Light"/>
                <a:ea typeface="+mn-ea"/>
                <a:cs typeface="+mn-cs"/>
              </a:rPr>
              <a:t>are key to consider while navigating the next phases Covid-19 response. </a:t>
            </a:r>
          </a:p>
        </p:txBody>
      </p:sp>
      <p:grpSp>
        <p:nvGrpSpPr>
          <p:cNvPr id="16" name="Group 15">
            <a:extLst>
              <a:ext uri="{FF2B5EF4-FFF2-40B4-BE49-F238E27FC236}">
                <a16:creationId xmlns:a16="http://schemas.microsoft.com/office/drawing/2014/main" id="{2B513446-4497-48C8-BCF4-8EBDD91BD1AB}"/>
              </a:ext>
            </a:extLst>
          </p:cNvPr>
          <p:cNvGrpSpPr/>
          <p:nvPr/>
        </p:nvGrpSpPr>
        <p:grpSpPr>
          <a:xfrm>
            <a:off x="1681296" y="2276745"/>
            <a:ext cx="1256232" cy="1256232"/>
            <a:chOff x="624405" y="2512718"/>
            <a:chExt cx="1256232" cy="1256232"/>
          </a:xfrm>
        </p:grpSpPr>
        <p:sp>
          <p:nvSpPr>
            <p:cNvPr id="17" name="Oval 16">
              <a:extLst>
                <a:ext uri="{FF2B5EF4-FFF2-40B4-BE49-F238E27FC236}">
                  <a16:creationId xmlns:a16="http://schemas.microsoft.com/office/drawing/2014/main" id="{2F25AEA9-ED74-4CD8-932B-92800DECE15E}"/>
                </a:ext>
              </a:extLst>
            </p:cNvPr>
            <p:cNvSpPr/>
            <p:nvPr/>
          </p:nvSpPr>
          <p:spPr bwMode="auto">
            <a:xfrm>
              <a:off x="624405" y="2512718"/>
              <a:ext cx="1256232" cy="1256232"/>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43A5E"/>
                  </a:solidFill>
                  <a:effectLst/>
                  <a:uLnTx/>
                  <a:uFillTx/>
                  <a:latin typeface="Segoe UI"/>
                  <a:ea typeface="Segoe UI" pitchFamily="34" charset="0"/>
                  <a:cs typeface="Segoe UI" pitchFamily="34" charset="0"/>
                </a:rPr>
                <a:t>Identity &amp; Credentials</a:t>
              </a:r>
            </a:p>
          </p:txBody>
        </p:sp>
        <p:pic>
          <p:nvPicPr>
            <p:cNvPr id="18" name="Graphic 17" descr="Key">
              <a:extLst>
                <a:ext uri="{FF2B5EF4-FFF2-40B4-BE49-F238E27FC236}">
                  <a16:creationId xmlns:a16="http://schemas.microsoft.com/office/drawing/2014/main" id="{D7F2D2D4-4468-425C-9678-8827983F9C6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3333" y="2696102"/>
              <a:ext cx="548640" cy="548640"/>
            </a:xfrm>
            <a:prstGeom prst="rect">
              <a:avLst/>
            </a:prstGeom>
          </p:spPr>
        </p:pic>
      </p:grpSp>
      <p:grpSp>
        <p:nvGrpSpPr>
          <p:cNvPr id="23" name="Group 22">
            <a:extLst>
              <a:ext uri="{FF2B5EF4-FFF2-40B4-BE49-F238E27FC236}">
                <a16:creationId xmlns:a16="http://schemas.microsoft.com/office/drawing/2014/main" id="{146B3954-5481-4AAD-B589-65D38692E6E5}"/>
              </a:ext>
            </a:extLst>
          </p:cNvPr>
          <p:cNvGrpSpPr/>
          <p:nvPr/>
        </p:nvGrpSpPr>
        <p:grpSpPr>
          <a:xfrm>
            <a:off x="5415121" y="2279538"/>
            <a:ext cx="1256232" cy="1256232"/>
            <a:chOff x="2561797" y="2512718"/>
            <a:chExt cx="1256232" cy="1256232"/>
          </a:xfrm>
        </p:grpSpPr>
        <p:sp>
          <p:nvSpPr>
            <p:cNvPr id="20" name="Oval 19">
              <a:extLst>
                <a:ext uri="{FF2B5EF4-FFF2-40B4-BE49-F238E27FC236}">
                  <a16:creationId xmlns:a16="http://schemas.microsoft.com/office/drawing/2014/main" id="{BC4778CC-6765-4377-BFC1-62ED757BA378}"/>
                </a:ext>
              </a:extLst>
            </p:cNvPr>
            <p:cNvSpPr/>
            <p:nvPr/>
          </p:nvSpPr>
          <p:spPr bwMode="auto">
            <a:xfrm>
              <a:off x="2561797" y="2512718"/>
              <a:ext cx="1256232" cy="1256232"/>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43A5E"/>
                  </a:solidFill>
                  <a:effectLst/>
                  <a:uLnTx/>
                  <a:uFillTx/>
                  <a:latin typeface="Segoe UI"/>
                  <a:ea typeface="Segoe UI" pitchFamily="34" charset="0"/>
                  <a:cs typeface="Segoe UI" pitchFamily="34" charset="0"/>
                </a:rPr>
                <a:t>Privacy &amp; Security</a:t>
              </a:r>
            </a:p>
          </p:txBody>
        </p:sp>
        <p:pic>
          <p:nvPicPr>
            <p:cNvPr id="22" name="Graphic 21" descr="Lock">
              <a:extLst>
                <a:ext uri="{FF2B5EF4-FFF2-40B4-BE49-F238E27FC236}">
                  <a16:creationId xmlns:a16="http://schemas.microsoft.com/office/drawing/2014/main" id="{7C3E048D-BE39-467C-B89D-74D43936346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00227" y="2635158"/>
              <a:ext cx="548640" cy="548640"/>
            </a:xfrm>
            <a:prstGeom prst="rect">
              <a:avLst/>
            </a:prstGeom>
          </p:spPr>
        </p:pic>
      </p:grpSp>
      <p:grpSp>
        <p:nvGrpSpPr>
          <p:cNvPr id="28" name="Group 27">
            <a:extLst>
              <a:ext uri="{FF2B5EF4-FFF2-40B4-BE49-F238E27FC236}">
                <a16:creationId xmlns:a16="http://schemas.microsoft.com/office/drawing/2014/main" id="{C2726971-5B55-46B9-9522-B663D526CE21}"/>
              </a:ext>
            </a:extLst>
          </p:cNvPr>
          <p:cNvGrpSpPr/>
          <p:nvPr/>
        </p:nvGrpSpPr>
        <p:grpSpPr>
          <a:xfrm>
            <a:off x="9268771" y="2276745"/>
            <a:ext cx="1256232" cy="1256232"/>
            <a:chOff x="4499189" y="2512718"/>
            <a:chExt cx="1256232" cy="1256232"/>
          </a:xfrm>
        </p:grpSpPr>
        <p:sp>
          <p:nvSpPr>
            <p:cNvPr id="25" name="Oval 24">
              <a:extLst>
                <a:ext uri="{FF2B5EF4-FFF2-40B4-BE49-F238E27FC236}">
                  <a16:creationId xmlns:a16="http://schemas.microsoft.com/office/drawing/2014/main" id="{4C93D699-45B5-4164-BFFD-C8A3DEAE8653}"/>
                </a:ext>
              </a:extLst>
            </p:cNvPr>
            <p:cNvSpPr/>
            <p:nvPr/>
          </p:nvSpPr>
          <p:spPr bwMode="auto">
            <a:xfrm>
              <a:off x="4499189" y="2512718"/>
              <a:ext cx="1256232" cy="1256232"/>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a:ea typeface="Segoe UI" pitchFamily="34" charset="0"/>
                  <a:cs typeface="Segoe UI" pitchFamily="34" charset="0"/>
                </a:rPr>
                <a:t>Microsoft 365 &amp; Teams</a:t>
              </a:r>
            </a:p>
          </p:txBody>
        </p:sp>
        <p:pic>
          <p:nvPicPr>
            <p:cNvPr id="27" name="Picture 26" descr="A picture containing clock&#10;&#10;Description automatically generated">
              <a:extLst>
                <a:ext uri="{FF2B5EF4-FFF2-40B4-BE49-F238E27FC236}">
                  <a16:creationId xmlns:a16="http://schemas.microsoft.com/office/drawing/2014/main" id="{BB516A37-8003-4C20-A45E-91FA8F25C25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09158" y="2645987"/>
              <a:ext cx="436294" cy="548640"/>
            </a:xfrm>
            <a:prstGeom prst="rect">
              <a:avLst/>
            </a:prstGeom>
          </p:spPr>
        </p:pic>
      </p:grpSp>
      <p:grpSp>
        <p:nvGrpSpPr>
          <p:cNvPr id="33" name="Group 32">
            <a:extLst>
              <a:ext uri="{FF2B5EF4-FFF2-40B4-BE49-F238E27FC236}">
                <a16:creationId xmlns:a16="http://schemas.microsoft.com/office/drawing/2014/main" id="{1DACBB39-31A2-42C1-833E-4E36FB4BDBC2}"/>
              </a:ext>
            </a:extLst>
          </p:cNvPr>
          <p:cNvGrpSpPr/>
          <p:nvPr/>
        </p:nvGrpSpPr>
        <p:grpSpPr>
          <a:xfrm>
            <a:off x="1716428" y="4575346"/>
            <a:ext cx="1256232" cy="1256232"/>
            <a:chOff x="6436581" y="2512718"/>
            <a:chExt cx="1256232" cy="1256232"/>
          </a:xfrm>
        </p:grpSpPr>
        <p:sp>
          <p:nvSpPr>
            <p:cNvPr id="30" name="Oval 29">
              <a:extLst>
                <a:ext uri="{FF2B5EF4-FFF2-40B4-BE49-F238E27FC236}">
                  <a16:creationId xmlns:a16="http://schemas.microsoft.com/office/drawing/2014/main" id="{8F7BD40C-89C6-4CDC-A534-9FE7302A2578}"/>
                </a:ext>
              </a:extLst>
            </p:cNvPr>
            <p:cNvSpPr/>
            <p:nvPr/>
          </p:nvSpPr>
          <p:spPr bwMode="auto">
            <a:xfrm>
              <a:off x="6436581" y="2512718"/>
              <a:ext cx="1256232" cy="1256232"/>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43A5E"/>
                  </a:solidFill>
                  <a:effectLst/>
                  <a:uLnTx/>
                  <a:uFillTx/>
                  <a:latin typeface="Segoe UI"/>
                  <a:ea typeface="Segoe UI" pitchFamily="34" charset="0"/>
                  <a:cs typeface="Segoe UI" pitchFamily="34" charset="0"/>
                </a:rPr>
                <a:t>Devices for education</a:t>
              </a:r>
            </a:p>
          </p:txBody>
        </p:sp>
        <p:pic>
          <p:nvPicPr>
            <p:cNvPr id="32" name="Picture 31" descr="A picture containing bird&#10;&#10;Description automatically generated">
              <a:extLst>
                <a:ext uri="{FF2B5EF4-FFF2-40B4-BE49-F238E27FC236}">
                  <a16:creationId xmlns:a16="http://schemas.microsoft.com/office/drawing/2014/main" id="{B7B8DA7A-1A25-4513-A905-F0C973A1D2D7}"/>
                </a:ext>
              </a:extLst>
            </p:cNvPr>
            <p:cNvPicPr>
              <a:picLocks noChangeAspect="1"/>
            </p:cNvPicPr>
            <p:nvPr/>
          </p:nvPicPr>
          <p:blipFill>
            <a:blip r:embed="rId7">
              <a:extLst>
                <a:ext uri="{BEBA8EAE-BF5A-486C-A8C5-ECC9F3942E4B}">
                  <a14:imgProps xmlns:a14="http://schemas.microsoft.com/office/drawing/2010/main">
                    <a14:imgLayer r:embed="rId8">
                      <a14:imgEffect>
                        <a14:colorTemperature colorTemp="7200"/>
                      </a14:imgEffect>
                    </a14:imgLayer>
                  </a14:imgProps>
                </a:ext>
                <a:ext uri="{28A0092B-C50C-407E-A947-70E740481C1C}">
                  <a14:useLocalDpi xmlns:a14="http://schemas.microsoft.com/office/drawing/2010/main" val="0"/>
                </a:ext>
              </a:extLst>
            </a:blip>
            <a:stretch>
              <a:fillRect/>
            </a:stretch>
          </p:blipFill>
          <p:spPr>
            <a:xfrm>
              <a:off x="6487365" y="2667107"/>
              <a:ext cx="1073241" cy="606182"/>
            </a:xfrm>
            <a:prstGeom prst="rect">
              <a:avLst/>
            </a:prstGeom>
          </p:spPr>
        </p:pic>
      </p:grpSp>
      <p:grpSp>
        <p:nvGrpSpPr>
          <p:cNvPr id="38" name="Group 37">
            <a:extLst>
              <a:ext uri="{FF2B5EF4-FFF2-40B4-BE49-F238E27FC236}">
                <a16:creationId xmlns:a16="http://schemas.microsoft.com/office/drawing/2014/main" id="{A20DC378-D0AF-4946-990B-D3923D014F99}"/>
              </a:ext>
            </a:extLst>
          </p:cNvPr>
          <p:cNvGrpSpPr/>
          <p:nvPr/>
        </p:nvGrpSpPr>
        <p:grpSpPr>
          <a:xfrm>
            <a:off x="5467340" y="4575346"/>
            <a:ext cx="1256232" cy="1256232"/>
            <a:chOff x="8373973" y="2512718"/>
            <a:chExt cx="1256232" cy="1256232"/>
          </a:xfrm>
        </p:grpSpPr>
        <p:sp>
          <p:nvSpPr>
            <p:cNvPr id="35" name="Oval 34">
              <a:extLst>
                <a:ext uri="{FF2B5EF4-FFF2-40B4-BE49-F238E27FC236}">
                  <a16:creationId xmlns:a16="http://schemas.microsoft.com/office/drawing/2014/main" id="{115F4D77-1757-4D52-93BE-9E3905B02860}"/>
                </a:ext>
              </a:extLst>
            </p:cNvPr>
            <p:cNvSpPr/>
            <p:nvPr/>
          </p:nvSpPr>
          <p:spPr bwMode="auto">
            <a:xfrm>
              <a:off x="8373973" y="2512718"/>
              <a:ext cx="1256232" cy="1256232"/>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a:ea typeface="Segoe UI" pitchFamily="34" charset="0"/>
                  <a:cs typeface="Segoe UI" pitchFamily="34" charset="0"/>
                </a:rPr>
                <a:t>Data &amp; Artificial Intelligence</a:t>
              </a:r>
            </a:p>
          </p:txBody>
        </p:sp>
        <p:pic>
          <p:nvPicPr>
            <p:cNvPr id="37" name="Graphic 36" descr="Artificial Intelligence">
              <a:extLst>
                <a:ext uri="{FF2B5EF4-FFF2-40B4-BE49-F238E27FC236}">
                  <a16:creationId xmlns:a16="http://schemas.microsoft.com/office/drawing/2014/main" id="{58552B30-6D2F-4084-A4F1-1F83570C59F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8700380" y="2667107"/>
              <a:ext cx="548640" cy="548640"/>
            </a:xfrm>
            <a:prstGeom prst="rect">
              <a:avLst/>
            </a:prstGeom>
          </p:spPr>
        </p:pic>
      </p:grpSp>
      <p:grpSp>
        <p:nvGrpSpPr>
          <p:cNvPr id="43" name="Group 42">
            <a:extLst>
              <a:ext uri="{FF2B5EF4-FFF2-40B4-BE49-F238E27FC236}">
                <a16:creationId xmlns:a16="http://schemas.microsoft.com/office/drawing/2014/main" id="{EAA92A74-C147-4892-8461-D5B8EA64B7CE}"/>
              </a:ext>
            </a:extLst>
          </p:cNvPr>
          <p:cNvGrpSpPr/>
          <p:nvPr/>
        </p:nvGrpSpPr>
        <p:grpSpPr>
          <a:xfrm>
            <a:off x="9268408" y="4575346"/>
            <a:ext cx="1256232" cy="1256232"/>
            <a:chOff x="10311363" y="2512718"/>
            <a:chExt cx="1256232" cy="1256232"/>
          </a:xfrm>
        </p:grpSpPr>
        <p:sp>
          <p:nvSpPr>
            <p:cNvPr id="40" name="Oval 39">
              <a:extLst>
                <a:ext uri="{FF2B5EF4-FFF2-40B4-BE49-F238E27FC236}">
                  <a16:creationId xmlns:a16="http://schemas.microsoft.com/office/drawing/2014/main" id="{D3B1FBC9-BD34-4B1E-912E-4CBFA1229F50}"/>
                </a:ext>
              </a:extLst>
            </p:cNvPr>
            <p:cNvSpPr/>
            <p:nvPr/>
          </p:nvSpPr>
          <p:spPr bwMode="auto">
            <a:xfrm>
              <a:off x="10311363" y="2512718"/>
              <a:ext cx="1256232" cy="1256232"/>
            </a:xfrm>
            <a:prstGeom prst="ellipse">
              <a:avLst/>
            </a:prstGeom>
            <a:solidFill>
              <a:schemeClr val="tx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43A5E"/>
                  </a:solidFill>
                  <a:effectLst/>
                  <a:uLnTx/>
                  <a:uFillTx/>
                  <a:latin typeface="Segoe UI"/>
                  <a:ea typeface="Segoe UI" pitchFamily="34" charset="0"/>
                  <a:cs typeface="Segoe UI" pitchFamily="34" charset="0"/>
                </a:rPr>
                <a:t>Skills &amp; Employability</a:t>
              </a:r>
            </a:p>
          </p:txBody>
        </p:sp>
        <p:pic>
          <p:nvPicPr>
            <p:cNvPr id="42" name="Graphic 41" descr="Programmer">
              <a:extLst>
                <a:ext uri="{FF2B5EF4-FFF2-40B4-BE49-F238E27FC236}">
                  <a16:creationId xmlns:a16="http://schemas.microsoft.com/office/drawing/2014/main" id="{7B7E16DD-4D88-4122-BE08-A8C52CF8C5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665159" y="2645987"/>
              <a:ext cx="548640" cy="548640"/>
            </a:xfrm>
            <a:prstGeom prst="rect">
              <a:avLst/>
            </a:prstGeom>
          </p:spPr>
        </p:pic>
      </p:grpSp>
    </p:spTree>
    <p:extLst>
      <p:ext uri="{BB962C8B-B14F-4D97-AF65-F5344CB8AC3E}">
        <p14:creationId xmlns:p14="http://schemas.microsoft.com/office/powerpoint/2010/main" val="27582509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9C92D0C-510C-4A04-9BA8-79EA6FAB98B1}"/>
              </a:ext>
            </a:extLst>
          </p:cNvPr>
          <p:cNvSpPr/>
          <p:nvPr/>
        </p:nvSpPr>
        <p:spPr bwMode="auto">
          <a:xfrm>
            <a:off x="356287" y="4396264"/>
            <a:ext cx="3690551" cy="1705509"/>
          </a:xfrm>
          <a:prstGeom prst="rect">
            <a:avLst/>
          </a:prstGeom>
          <a:solidFill>
            <a:srgbClr val="3B3838"/>
          </a:solidFill>
          <a:ln>
            <a:noFill/>
            <a:headEnd type="none" w="med" len="med"/>
            <a:tailEnd type="none" w="med" len="med"/>
          </a:ln>
          <a:effectLst>
            <a:outerShdw blurRad="50800" dist="38100" dir="10800000" algn="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endParaRPr>
          </a:p>
        </p:txBody>
      </p:sp>
      <p:sp>
        <p:nvSpPr>
          <p:cNvPr id="37" name="Rectangle 36">
            <a:extLst>
              <a:ext uri="{FF2B5EF4-FFF2-40B4-BE49-F238E27FC236}">
                <a16:creationId xmlns:a16="http://schemas.microsoft.com/office/drawing/2014/main" id="{C0FA9D43-1B1C-4B07-B368-2FDCC35B4598}"/>
              </a:ext>
            </a:extLst>
          </p:cNvPr>
          <p:cNvSpPr/>
          <p:nvPr/>
        </p:nvSpPr>
        <p:spPr bwMode="auto">
          <a:xfrm>
            <a:off x="3048773" y="1537736"/>
            <a:ext cx="6094455" cy="2692543"/>
          </a:xfrm>
          <a:prstGeom prst="rect">
            <a:avLst/>
          </a:prstGeom>
          <a:solidFill>
            <a:srgbClr val="3B3838"/>
          </a:solidFill>
          <a:ln>
            <a:noFill/>
            <a:headEnd type="none" w="med" len="med"/>
            <a:tailEnd type="none" w="med" len="med"/>
          </a:ln>
          <a:effectLst>
            <a:outerShdw blurRad="50800" dist="38100" dir="10800000" algn="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endParaRPr>
          </a:p>
        </p:txBody>
      </p:sp>
      <p:sp>
        <p:nvSpPr>
          <p:cNvPr id="40" name="Rectangle 39">
            <a:extLst>
              <a:ext uri="{FF2B5EF4-FFF2-40B4-BE49-F238E27FC236}">
                <a16:creationId xmlns:a16="http://schemas.microsoft.com/office/drawing/2014/main" id="{6A31A3BE-0563-436C-94F4-7471A0E259F8}"/>
              </a:ext>
            </a:extLst>
          </p:cNvPr>
          <p:cNvSpPr/>
          <p:nvPr/>
        </p:nvSpPr>
        <p:spPr bwMode="auto">
          <a:xfrm>
            <a:off x="356288" y="1537735"/>
            <a:ext cx="2505846" cy="2692543"/>
          </a:xfrm>
          <a:prstGeom prst="rect">
            <a:avLst/>
          </a:prstGeom>
          <a:solidFill>
            <a:srgbClr val="3B3838"/>
          </a:solidFill>
          <a:ln>
            <a:noFill/>
            <a:headEnd type="none" w="med" len="med"/>
            <a:tailEnd type="none" w="med" len="med"/>
          </a:ln>
          <a:effectLst>
            <a:outerShdw blurRad="50800" dist="38100" dir="10800000" algn="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endParaRPr>
          </a:p>
        </p:txBody>
      </p:sp>
      <p:sp>
        <p:nvSpPr>
          <p:cNvPr id="42" name="Rectangle 41">
            <a:extLst>
              <a:ext uri="{FF2B5EF4-FFF2-40B4-BE49-F238E27FC236}">
                <a16:creationId xmlns:a16="http://schemas.microsoft.com/office/drawing/2014/main" id="{B8D19817-0398-4A28-9E74-B99255868B5B}"/>
              </a:ext>
            </a:extLst>
          </p:cNvPr>
          <p:cNvSpPr/>
          <p:nvPr/>
        </p:nvSpPr>
        <p:spPr bwMode="auto">
          <a:xfrm>
            <a:off x="9329867" y="1537734"/>
            <a:ext cx="2505846" cy="2692543"/>
          </a:xfrm>
          <a:prstGeom prst="rect">
            <a:avLst/>
          </a:prstGeom>
          <a:solidFill>
            <a:srgbClr val="3B3838"/>
          </a:solidFill>
          <a:ln>
            <a:noFill/>
            <a:headEnd type="none" w="med" len="med"/>
            <a:tailEnd type="none" w="med" len="med"/>
          </a:ln>
          <a:effectLst>
            <a:outerShdw blurRad="50800" dist="38100" dir="10800000" algn="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endParaRPr>
          </a:p>
        </p:txBody>
      </p:sp>
      <p:sp>
        <p:nvSpPr>
          <p:cNvPr id="43" name="Rectangle 42">
            <a:extLst>
              <a:ext uri="{FF2B5EF4-FFF2-40B4-BE49-F238E27FC236}">
                <a16:creationId xmlns:a16="http://schemas.microsoft.com/office/drawing/2014/main" id="{DA196EA9-FDFC-4FD7-8390-D6FE219C82E4}"/>
              </a:ext>
            </a:extLst>
          </p:cNvPr>
          <p:cNvSpPr/>
          <p:nvPr/>
        </p:nvSpPr>
        <p:spPr bwMode="auto">
          <a:xfrm>
            <a:off x="4264605" y="4385587"/>
            <a:ext cx="3690551" cy="1705509"/>
          </a:xfrm>
          <a:prstGeom prst="rect">
            <a:avLst/>
          </a:prstGeom>
          <a:solidFill>
            <a:srgbClr val="3B3838"/>
          </a:solidFill>
          <a:ln>
            <a:noFill/>
            <a:headEnd type="none" w="med" len="med"/>
            <a:tailEnd type="none" w="med" len="med"/>
          </a:ln>
          <a:effectLst>
            <a:outerShdw blurRad="50800" dist="38100" dir="10800000" algn="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endParaRPr>
          </a:p>
        </p:txBody>
      </p:sp>
      <p:sp>
        <p:nvSpPr>
          <p:cNvPr id="44" name="Rectangle 43">
            <a:extLst>
              <a:ext uri="{FF2B5EF4-FFF2-40B4-BE49-F238E27FC236}">
                <a16:creationId xmlns:a16="http://schemas.microsoft.com/office/drawing/2014/main" id="{9333C90A-CDC5-46F9-A517-3F3638A28CE2}"/>
              </a:ext>
            </a:extLst>
          </p:cNvPr>
          <p:cNvSpPr/>
          <p:nvPr/>
        </p:nvSpPr>
        <p:spPr bwMode="auto">
          <a:xfrm>
            <a:off x="8145162" y="4396263"/>
            <a:ext cx="3690551" cy="1705509"/>
          </a:xfrm>
          <a:prstGeom prst="rect">
            <a:avLst/>
          </a:prstGeom>
          <a:solidFill>
            <a:srgbClr val="3B3838"/>
          </a:solidFill>
          <a:ln>
            <a:noFill/>
            <a:headEnd type="none" w="med" len="med"/>
            <a:tailEnd type="none" w="med" len="med"/>
          </a:ln>
          <a:effectLst>
            <a:outerShdw blurRad="50800" dist="38100" dir="10800000" algn="r"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endParaRPr>
          </a:p>
        </p:txBody>
      </p:sp>
      <p:sp>
        <p:nvSpPr>
          <p:cNvPr id="10" name="Rectangle 9">
            <a:extLst>
              <a:ext uri="{FF2B5EF4-FFF2-40B4-BE49-F238E27FC236}">
                <a16:creationId xmlns:a16="http://schemas.microsoft.com/office/drawing/2014/main" id="{70A66979-DC01-45DD-BB22-FB5D09CB90E5}"/>
              </a:ext>
            </a:extLst>
          </p:cNvPr>
          <p:cNvSpPr/>
          <p:nvPr/>
        </p:nvSpPr>
        <p:spPr bwMode="auto">
          <a:xfrm>
            <a:off x="356287" y="3967897"/>
            <a:ext cx="2505847" cy="26238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rPr>
              <a:t>School Administration</a:t>
            </a:r>
          </a:p>
        </p:txBody>
      </p:sp>
      <p:sp>
        <p:nvSpPr>
          <p:cNvPr id="47" name="Rectangle 46">
            <a:extLst>
              <a:ext uri="{FF2B5EF4-FFF2-40B4-BE49-F238E27FC236}">
                <a16:creationId xmlns:a16="http://schemas.microsoft.com/office/drawing/2014/main" id="{3842DCF8-6B81-462C-89C2-694FBA65061A}"/>
              </a:ext>
            </a:extLst>
          </p:cNvPr>
          <p:cNvSpPr/>
          <p:nvPr/>
        </p:nvSpPr>
        <p:spPr bwMode="auto">
          <a:xfrm>
            <a:off x="3048773" y="3967897"/>
            <a:ext cx="6094455" cy="26238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rPr>
              <a:t>Teaching, Learning, Collaboration &amp; Productivity</a:t>
            </a:r>
          </a:p>
        </p:txBody>
      </p:sp>
      <p:sp>
        <p:nvSpPr>
          <p:cNvPr id="48" name="Rectangle 47">
            <a:extLst>
              <a:ext uri="{FF2B5EF4-FFF2-40B4-BE49-F238E27FC236}">
                <a16:creationId xmlns:a16="http://schemas.microsoft.com/office/drawing/2014/main" id="{2DB3D6EB-32A5-43EE-B4AB-CA52414C850D}"/>
              </a:ext>
            </a:extLst>
          </p:cNvPr>
          <p:cNvSpPr/>
          <p:nvPr/>
        </p:nvSpPr>
        <p:spPr bwMode="auto">
          <a:xfrm>
            <a:off x="9340804" y="3967897"/>
            <a:ext cx="2494909" cy="26238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rPr>
              <a:t>Data &amp; Intelligence</a:t>
            </a:r>
          </a:p>
        </p:txBody>
      </p:sp>
      <p:sp>
        <p:nvSpPr>
          <p:cNvPr id="49" name="Rectangle 48">
            <a:extLst>
              <a:ext uri="{FF2B5EF4-FFF2-40B4-BE49-F238E27FC236}">
                <a16:creationId xmlns:a16="http://schemas.microsoft.com/office/drawing/2014/main" id="{788E7446-7629-4128-8F06-268D15532984}"/>
              </a:ext>
            </a:extLst>
          </p:cNvPr>
          <p:cNvSpPr/>
          <p:nvPr/>
        </p:nvSpPr>
        <p:spPr bwMode="auto">
          <a:xfrm>
            <a:off x="359502" y="5839391"/>
            <a:ext cx="3677810" cy="26238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rPr>
              <a:t>Identity</a:t>
            </a:r>
          </a:p>
        </p:txBody>
      </p:sp>
      <p:sp>
        <p:nvSpPr>
          <p:cNvPr id="50" name="Rectangle 49">
            <a:extLst>
              <a:ext uri="{FF2B5EF4-FFF2-40B4-BE49-F238E27FC236}">
                <a16:creationId xmlns:a16="http://schemas.microsoft.com/office/drawing/2014/main" id="{AD12EEA4-2684-4B7E-BF43-F298D69994FB}"/>
              </a:ext>
            </a:extLst>
          </p:cNvPr>
          <p:cNvSpPr/>
          <p:nvPr/>
        </p:nvSpPr>
        <p:spPr bwMode="auto">
          <a:xfrm>
            <a:off x="4257094" y="5839391"/>
            <a:ext cx="3677810" cy="26238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rPr>
              <a:t>Security</a:t>
            </a:r>
          </a:p>
        </p:txBody>
      </p:sp>
      <p:sp>
        <p:nvSpPr>
          <p:cNvPr id="51" name="Rectangle 50">
            <a:extLst>
              <a:ext uri="{FF2B5EF4-FFF2-40B4-BE49-F238E27FC236}">
                <a16:creationId xmlns:a16="http://schemas.microsoft.com/office/drawing/2014/main" id="{45059101-A0B6-4990-B2C6-D30E6D997046}"/>
              </a:ext>
            </a:extLst>
          </p:cNvPr>
          <p:cNvSpPr/>
          <p:nvPr/>
        </p:nvSpPr>
        <p:spPr bwMode="auto">
          <a:xfrm>
            <a:off x="8157903" y="5839391"/>
            <a:ext cx="3677810" cy="26238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outerShdw blurRad="38100" dist="38100" dir="2700000" algn="tl">
                    <a:srgbClr val="000000">
                      <a:alpha val="43137"/>
                    </a:srgbClr>
                  </a:outerShdw>
                </a:effectLst>
                <a:uLnTx/>
                <a:uFillTx/>
                <a:latin typeface="Segoe UI Light"/>
                <a:ea typeface="Segoe UI" pitchFamily="34" charset="0"/>
                <a:cs typeface="Segoe UI" pitchFamily="34" charset="0"/>
              </a:rPr>
              <a:t>Integration</a:t>
            </a:r>
          </a:p>
        </p:txBody>
      </p:sp>
      <p:grpSp>
        <p:nvGrpSpPr>
          <p:cNvPr id="4" name="Group 3">
            <a:extLst>
              <a:ext uri="{FF2B5EF4-FFF2-40B4-BE49-F238E27FC236}">
                <a16:creationId xmlns:a16="http://schemas.microsoft.com/office/drawing/2014/main" id="{9E4B538F-C59A-4540-9505-00F361F3933B}"/>
              </a:ext>
            </a:extLst>
          </p:cNvPr>
          <p:cNvGrpSpPr/>
          <p:nvPr/>
        </p:nvGrpSpPr>
        <p:grpSpPr>
          <a:xfrm>
            <a:off x="562905" y="1764702"/>
            <a:ext cx="865390" cy="1922694"/>
            <a:chOff x="717844" y="2347804"/>
            <a:chExt cx="865390" cy="1922694"/>
          </a:xfrm>
        </p:grpSpPr>
        <p:sp>
          <p:nvSpPr>
            <p:cNvPr id="36" name="object 22">
              <a:extLst>
                <a:ext uri="{FF2B5EF4-FFF2-40B4-BE49-F238E27FC236}">
                  <a16:creationId xmlns:a16="http://schemas.microsoft.com/office/drawing/2014/main" id="{17D5ECBB-4F5F-4B4B-B69E-1B6E649D0A24}"/>
                </a:ext>
              </a:extLst>
            </p:cNvPr>
            <p:cNvSpPr txBox="1"/>
            <p:nvPr/>
          </p:nvSpPr>
          <p:spPr>
            <a:xfrm>
              <a:off x="745261" y="2834111"/>
              <a:ext cx="837973" cy="318463"/>
            </a:xfrm>
            <a:prstGeom prst="rect">
              <a:avLst/>
            </a:prstGeom>
            <a:noFill/>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D365 Finance &amp; Operations</a:t>
              </a:r>
            </a:p>
          </p:txBody>
        </p:sp>
        <p:sp>
          <p:nvSpPr>
            <p:cNvPr id="39" name="object 22">
              <a:extLst>
                <a:ext uri="{FF2B5EF4-FFF2-40B4-BE49-F238E27FC236}">
                  <a16:creationId xmlns:a16="http://schemas.microsoft.com/office/drawing/2014/main" id="{AD315665-52D3-441D-8CCA-00602017D182}"/>
                </a:ext>
              </a:extLst>
            </p:cNvPr>
            <p:cNvSpPr txBox="1"/>
            <p:nvPr/>
          </p:nvSpPr>
          <p:spPr>
            <a:xfrm>
              <a:off x="717844" y="3952035"/>
              <a:ext cx="837973" cy="318463"/>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D365 Talent Management</a:t>
              </a:r>
            </a:p>
          </p:txBody>
        </p:sp>
        <p:sp>
          <p:nvSpPr>
            <p:cNvPr id="45" name="Finance and operations">
              <a:extLst>
                <a:ext uri="{FF2B5EF4-FFF2-40B4-BE49-F238E27FC236}">
                  <a16:creationId xmlns:a16="http://schemas.microsoft.com/office/drawing/2014/main" id="{64AFC93D-20CB-4637-BD16-1A2245B9AD99}"/>
                </a:ext>
              </a:extLst>
            </p:cNvPr>
            <p:cNvSpPr>
              <a:spLocks noEditPoints="1"/>
            </p:cNvSpPr>
            <p:nvPr/>
          </p:nvSpPr>
          <p:spPr bwMode="auto">
            <a:xfrm>
              <a:off x="966886" y="2347804"/>
              <a:ext cx="400043" cy="394846"/>
            </a:xfrm>
            <a:custGeom>
              <a:avLst/>
              <a:gdLst>
                <a:gd name="T0" fmla="*/ 31 w 96"/>
                <a:gd name="T1" fmla="*/ 15 h 96"/>
                <a:gd name="T2" fmla="*/ 34 w 96"/>
                <a:gd name="T3" fmla="*/ 25 h 96"/>
                <a:gd name="T4" fmla="*/ 33 w 96"/>
                <a:gd name="T5" fmla="*/ 31 h 96"/>
                <a:gd name="T6" fmla="*/ 42 w 96"/>
                <a:gd name="T7" fmla="*/ 36 h 96"/>
                <a:gd name="T8" fmla="*/ 46 w 96"/>
                <a:gd name="T9" fmla="*/ 41 h 96"/>
                <a:gd name="T10" fmla="*/ 55 w 96"/>
                <a:gd name="T11" fmla="*/ 38 h 96"/>
                <a:gd name="T12" fmla="*/ 62 w 96"/>
                <a:gd name="T13" fmla="*/ 39 h 96"/>
                <a:gd name="T14" fmla="*/ 67 w 96"/>
                <a:gd name="T15" fmla="*/ 30 h 96"/>
                <a:gd name="T16" fmla="*/ 72 w 96"/>
                <a:gd name="T17" fmla="*/ 26 h 96"/>
                <a:gd name="T18" fmla="*/ 69 w 96"/>
                <a:gd name="T19" fmla="*/ 17 h 96"/>
                <a:gd name="T20" fmla="*/ 70 w 96"/>
                <a:gd name="T21" fmla="*/ 10 h 96"/>
                <a:gd name="T22" fmla="*/ 61 w 96"/>
                <a:gd name="T23" fmla="*/ 5 h 96"/>
                <a:gd name="T24" fmla="*/ 57 w 96"/>
                <a:gd name="T25" fmla="*/ 0 h 96"/>
                <a:gd name="T26" fmla="*/ 47 w 96"/>
                <a:gd name="T27" fmla="*/ 3 h 96"/>
                <a:gd name="T28" fmla="*/ 41 w 96"/>
                <a:gd name="T29" fmla="*/ 2 h 96"/>
                <a:gd name="T30" fmla="*/ 36 w 96"/>
                <a:gd name="T31" fmla="*/ 11 h 96"/>
                <a:gd name="T32" fmla="*/ 40 w 96"/>
                <a:gd name="T33" fmla="*/ 16 h 96"/>
                <a:gd name="T34" fmla="*/ 63 w 96"/>
                <a:gd name="T35" fmla="*/ 25 h 96"/>
                <a:gd name="T36" fmla="*/ 40 w 96"/>
                <a:gd name="T37" fmla="*/ 16 h 96"/>
                <a:gd name="T38" fmla="*/ 0 w 96"/>
                <a:gd name="T39" fmla="*/ 54 h 96"/>
                <a:gd name="T40" fmla="*/ 6 w 96"/>
                <a:gd name="T41" fmla="*/ 61 h 96"/>
                <a:gd name="T42" fmla="*/ 8 w 96"/>
                <a:gd name="T43" fmla="*/ 68 h 96"/>
                <a:gd name="T44" fmla="*/ 18 w 96"/>
                <a:gd name="T45" fmla="*/ 69 h 96"/>
                <a:gd name="T46" fmla="*/ 24 w 96"/>
                <a:gd name="T47" fmla="*/ 72 h 96"/>
                <a:gd name="T48" fmla="*/ 31 w 96"/>
                <a:gd name="T49" fmla="*/ 66 h 96"/>
                <a:gd name="T50" fmla="*/ 38 w 96"/>
                <a:gd name="T51" fmla="*/ 64 h 96"/>
                <a:gd name="T52" fmla="*/ 39 w 96"/>
                <a:gd name="T53" fmla="*/ 54 h 96"/>
                <a:gd name="T54" fmla="*/ 42 w 96"/>
                <a:gd name="T55" fmla="*/ 48 h 96"/>
                <a:gd name="T56" fmla="*/ 36 w 96"/>
                <a:gd name="T57" fmla="*/ 41 h 96"/>
                <a:gd name="T58" fmla="*/ 34 w 96"/>
                <a:gd name="T59" fmla="*/ 34 h 96"/>
                <a:gd name="T60" fmla="*/ 24 w 96"/>
                <a:gd name="T61" fmla="*/ 33 h 96"/>
                <a:gd name="T62" fmla="*/ 18 w 96"/>
                <a:gd name="T63" fmla="*/ 30 h 96"/>
                <a:gd name="T64" fmla="*/ 11 w 96"/>
                <a:gd name="T65" fmla="*/ 36 h 96"/>
                <a:gd name="T66" fmla="*/ 4 w 96"/>
                <a:gd name="T67" fmla="*/ 38 h 96"/>
                <a:gd name="T68" fmla="*/ 3 w 96"/>
                <a:gd name="T69" fmla="*/ 48 h 96"/>
                <a:gd name="T70" fmla="*/ 9 w 96"/>
                <a:gd name="T71" fmla="*/ 51 h 96"/>
                <a:gd name="T72" fmla="*/ 33 w 96"/>
                <a:gd name="T73" fmla="*/ 51 h 96"/>
                <a:gd name="T74" fmla="*/ 9 w 96"/>
                <a:gd name="T75" fmla="*/ 51 h 96"/>
                <a:gd name="T76" fmla="*/ 42 w 96"/>
                <a:gd name="T77" fmla="*/ 96 h 96"/>
                <a:gd name="T78" fmla="*/ 48 w 96"/>
                <a:gd name="T79" fmla="*/ 84 h 96"/>
                <a:gd name="T80" fmla="*/ 36 w 96"/>
                <a:gd name="T81" fmla="*/ 96 h 96"/>
                <a:gd name="T82" fmla="*/ 30 w 96"/>
                <a:gd name="T83" fmla="*/ 84 h 96"/>
                <a:gd name="T84" fmla="*/ 36 w 96"/>
                <a:gd name="T85" fmla="*/ 96 h 96"/>
                <a:gd name="T86" fmla="*/ 54 w 96"/>
                <a:gd name="T87" fmla="*/ 96 h 96"/>
                <a:gd name="T88" fmla="*/ 60 w 96"/>
                <a:gd name="T89" fmla="*/ 54 h 96"/>
                <a:gd name="T90" fmla="*/ 72 w 96"/>
                <a:gd name="T91" fmla="*/ 96 h 96"/>
                <a:gd name="T92" fmla="*/ 66 w 96"/>
                <a:gd name="T93" fmla="*/ 54 h 96"/>
                <a:gd name="T94" fmla="*/ 72 w 96"/>
                <a:gd name="T95" fmla="*/ 96 h 96"/>
                <a:gd name="T96" fmla="*/ 78 w 96"/>
                <a:gd name="T97" fmla="*/ 96 h 96"/>
                <a:gd name="T98" fmla="*/ 84 w 96"/>
                <a:gd name="T99" fmla="*/ 18 h 96"/>
                <a:gd name="T100" fmla="*/ 96 w 96"/>
                <a:gd name="T101" fmla="*/ 96 h 96"/>
                <a:gd name="T102" fmla="*/ 90 w 96"/>
                <a:gd name="T103" fmla="*/ 18 h 96"/>
                <a:gd name="T104" fmla="*/ 96 w 96"/>
                <a:gd name="T105" fmla="*/ 96 h 96"/>
                <a:gd name="T106" fmla="*/ 12 w 96"/>
                <a:gd name="T107" fmla="*/ 84 h 96"/>
                <a:gd name="T108" fmla="*/ 6 w 96"/>
                <a:gd name="T109" fmla="*/ 96 h 96"/>
                <a:gd name="T110" fmla="*/ 18 w 96"/>
                <a:gd name="T111" fmla="*/ 84 h 96"/>
                <a:gd name="T112" fmla="*/ 24 w 96"/>
                <a:gd name="T113" fmla="*/ 96 h 96"/>
                <a:gd name="T114" fmla="*/ 18 w 96"/>
                <a:gd name="T115"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6" h="96">
                  <a:moveTo>
                    <a:pt x="33" y="10"/>
                  </a:moveTo>
                  <a:cubicBezTo>
                    <a:pt x="31" y="15"/>
                    <a:pt x="31" y="15"/>
                    <a:pt x="31" y="15"/>
                  </a:cubicBezTo>
                  <a:cubicBezTo>
                    <a:pt x="34" y="17"/>
                    <a:pt x="34" y="17"/>
                    <a:pt x="34" y="17"/>
                  </a:cubicBezTo>
                  <a:cubicBezTo>
                    <a:pt x="33" y="19"/>
                    <a:pt x="33" y="22"/>
                    <a:pt x="34" y="25"/>
                  </a:cubicBezTo>
                  <a:cubicBezTo>
                    <a:pt x="31" y="26"/>
                    <a:pt x="31" y="26"/>
                    <a:pt x="31" y="26"/>
                  </a:cubicBezTo>
                  <a:cubicBezTo>
                    <a:pt x="33" y="31"/>
                    <a:pt x="33" y="31"/>
                    <a:pt x="33" y="31"/>
                  </a:cubicBezTo>
                  <a:cubicBezTo>
                    <a:pt x="36" y="30"/>
                    <a:pt x="36" y="30"/>
                    <a:pt x="36" y="30"/>
                  </a:cubicBezTo>
                  <a:cubicBezTo>
                    <a:pt x="38" y="32"/>
                    <a:pt x="40" y="34"/>
                    <a:pt x="42" y="36"/>
                  </a:cubicBezTo>
                  <a:cubicBezTo>
                    <a:pt x="41" y="39"/>
                    <a:pt x="41" y="39"/>
                    <a:pt x="41" y="39"/>
                  </a:cubicBezTo>
                  <a:cubicBezTo>
                    <a:pt x="46" y="41"/>
                    <a:pt x="46" y="41"/>
                    <a:pt x="46" y="41"/>
                  </a:cubicBezTo>
                  <a:cubicBezTo>
                    <a:pt x="47" y="38"/>
                    <a:pt x="47" y="38"/>
                    <a:pt x="47" y="38"/>
                  </a:cubicBezTo>
                  <a:cubicBezTo>
                    <a:pt x="50" y="39"/>
                    <a:pt x="53" y="39"/>
                    <a:pt x="55" y="38"/>
                  </a:cubicBezTo>
                  <a:cubicBezTo>
                    <a:pt x="57" y="41"/>
                    <a:pt x="57" y="41"/>
                    <a:pt x="57" y="41"/>
                  </a:cubicBezTo>
                  <a:cubicBezTo>
                    <a:pt x="62" y="39"/>
                    <a:pt x="62" y="39"/>
                    <a:pt x="62" y="39"/>
                  </a:cubicBezTo>
                  <a:cubicBezTo>
                    <a:pt x="61" y="36"/>
                    <a:pt x="61" y="36"/>
                    <a:pt x="61" y="36"/>
                  </a:cubicBezTo>
                  <a:cubicBezTo>
                    <a:pt x="63" y="34"/>
                    <a:pt x="65" y="32"/>
                    <a:pt x="67" y="30"/>
                  </a:cubicBezTo>
                  <a:cubicBezTo>
                    <a:pt x="70" y="31"/>
                    <a:pt x="70" y="31"/>
                    <a:pt x="70" y="31"/>
                  </a:cubicBezTo>
                  <a:cubicBezTo>
                    <a:pt x="72" y="26"/>
                    <a:pt x="72" y="26"/>
                    <a:pt x="72" y="26"/>
                  </a:cubicBezTo>
                  <a:cubicBezTo>
                    <a:pt x="69" y="25"/>
                    <a:pt x="69" y="25"/>
                    <a:pt x="69" y="25"/>
                  </a:cubicBezTo>
                  <a:cubicBezTo>
                    <a:pt x="70" y="22"/>
                    <a:pt x="70" y="19"/>
                    <a:pt x="69" y="17"/>
                  </a:cubicBezTo>
                  <a:cubicBezTo>
                    <a:pt x="72" y="15"/>
                    <a:pt x="72" y="15"/>
                    <a:pt x="72" y="15"/>
                  </a:cubicBezTo>
                  <a:cubicBezTo>
                    <a:pt x="70" y="10"/>
                    <a:pt x="70" y="10"/>
                    <a:pt x="70" y="10"/>
                  </a:cubicBezTo>
                  <a:cubicBezTo>
                    <a:pt x="67" y="11"/>
                    <a:pt x="67" y="11"/>
                    <a:pt x="67" y="11"/>
                  </a:cubicBezTo>
                  <a:cubicBezTo>
                    <a:pt x="65" y="9"/>
                    <a:pt x="63" y="7"/>
                    <a:pt x="61" y="5"/>
                  </a:cubicBezTo>
                  <a:cubicBezTo>
                    <a:pt x="62" y="2"/>
                    <a:pt x="62" y="2"/>
                    <a:pt x="62" y="2"/>
                  </a:cubicBezTo>
                  <a:cubicBezTo>
                    <a:pt x="57" y="0"/>
                    <a:pt x="57" y="0"/>
                    <a:pt x="57" y="0"/>
                  </a:cubicBezTo>
                  <a:cubicBezTo>
                    <a:pt x="55" y="3"/>
                    <a:pt x="55" y="3"/>
                    <a:pt x="55" y="3"/>
                  </a:cubicBezTo>
                  <a:cubicBezTo>
                    <a:pt x="53" y="2"/>
                    <a:pt x="50" y="2"/>
                    <a:pt x="47" y="3"/>
                  </a:cubicBezTo>
                  <a:cubicBezTo>
                    <a:pt x="46" y="0"/>
                    <a:pt x="46" y="0"/>
                    <a:pt x="46" y="0"/>
                  </a:cubicBezTo>
                  <a:cubicBezTo>
                    <a:pt x="41" y="2"/>
                    <a:pt x="41" y="2"/>
                    <a:pt x="41" y="2"/>
                  </a:cubicBezTo>
                  <a:cubicBezTo>
                    <a:pt x="42" y="5"/>
                    <a:pt x="42" y="5"/>
                    <a:pt x="42" y="5"/>
                  </a:cubicBezTo>
                  <a:cubicBezTo>
                    <a:pt x="40" y="7"/>
                    <a:pt x="38" y="9"/>
                    <a:pt x="36" y="11"/>
                  </a:cubicBezTo>
                  <a:lnTo>
                    <a:pt x="33" y="10"/>
                  </a:lnTo>
                  <a:close/>
                  <a:moveTo>
                    <a:pt x="40" y="16"/>
                  </a:moveTo>
                  <a:cubicBezTo>
                    <a:pt x="43" y="10"/>
                    <a:pt x="50" y="7"/>
                    <a:pt x="56" y="9"/>
                  </a:cubicBezTo>
                  <a:cubicBezTo>
                    <a:pt x="62" y="12"/>
                    <a:pt x="65" y="19"/>
                    <a:pt x="63" y="25"/>
                  </a:cubicBezTo>
                  <a:cubicBezTo>
                    <a:pt x="60" y="31"/>
                    <a:pt x="53" y="34"/>
                    <a:pt x="47" y="32"/>
                  </a:cubicBezTo>
                  <a:cubicBezTo>
                    <a:pt x="41" y="29"/>
                    <a:pt x="38" y="22"/>
                    <a:pt x="40" y="16"/>
                  </a:cubicBezTo>
                  <a:close/>
                  <a:moveTo>
                    <a:pt x="0" y="48"/>
                  </a:moveTo>
                  <a:cubicBezTo>
                    <a:pt x="0" y="54"/>
                    <a:pt x="0" y="54"/>
                    <a:pt x="0" y="54"/>
                  </a:cubicBezTo>
                  <a:cubicBezTo>
                    <a:pt x="3" y="54"/>
                    <a:pt x="3" y="54"/>
                    <a:pt x="3" y="54"/>
                  </a:cubicBezTo>
                  <a:cubicBezTo>
                    <a:pt x="4" y="57"/>
                    <a:pt x="5" y="59"/>
                    <a:pt x="6" y="61"/>
                  </a:cubicBezTo>
                  <a:cubicBezTo>
                    <a:pt x="4" y="64"/>
                    <a:pt x="4" y="64"/>
                    <a:pt x="4" y="64"/>
                  </a:cubicBezTo>
                  <a:cubicBezTo>
                    <a:pt x="8" y="68"/>
                    <a:pt x="8" y="68"/>
                    <a:pt x="8" y="68"/>
                  </a:cubicBezTo>
                  <a:cubicBezTo>
                    <a:pt x="11" y="66"/>
                    <a:pt x="11" y="66"/>
                    <a:pt x="11" y="66"/>
                  </a:cubicBezTo>
                  <a:cubicBezTo>
                    <a:pt x="13" y="67"/>
                    <a:pt x="15" y="68"/>
                    <a:pt x="18" y="69"/>
                  </a:cubicBezTo>
                  <a:cubicBezTo>
                    <a:pt x="18" y="72"/>
                    <a:pt x="18" y="72"/>
                    <a:pt x="18" y="72"/>
                  </a:cubicBezTo>
                  <a:cubicBezTo>
                    <a:pt x="24" y="72"/>
                    <a:pt x="24" y="72"/>
                    <a:pt x="24" y="72"/>
                  </a:cubicBezTo>
                  <a:cubicBezTo>
                    <a:pt x="24" y="69"/>
                    <a:pt x="24" y="69"/>
                    <a:pt x="24" y="69"/>
                  </a:cubicBezTo>
                  <a:cubicBezTo>
                    <a:pt x="27" y="68"/>
                    <a:pt x="29" y="67"/>
                    <a:pt x="31" y="66"/>
                  </a:cubicBezTo>
                  <a:cubicBezTo>
                    <a:pt x="34" y="68"/>
                    <a:pt x="34" y="68"/>
                    <a:pt x="34" y="68"/>
                  </a:cubicBezTo>
                  <a:cubicBezTo>
                    <a:pt x="38" y="64"/>
                    <a:pt x="38" y="64"/>
                    <a:pt x="38" y="64"/>
                  </a:cubicBezTo>
                  <a:cubicBezTo>
                    <a:pt x="36" y="61"/>
                    <a:pt x="36" y="61"/>
                    <a:pt x="36" y="61"/>
                  </a:cubicBezTo>
                  <a:cubicBezTo>
                    <a:pt x="37" y="59"/>
                    <a:pt x="38" y="57"/>
                    <a:pt x="39" y="54"/>
                  </a:cubicBezTo>
                  <a:cubicBezTo>
                    <a:pt x="42" y="54"/>
                    <a:pt x="42" y="54"/>
                    <a:pt x="42" y="54"/>
                  </a:cubicBezTo>
                  <a:cubicBezTo>
                    <a:pt x="42" y="48"/>
                    <a:pt x="42" y="48"/>
                    <a:pt x="42" y="48"/>
                  </a:cubicBezTo>
                  <a:cubicBezTo>
                    <a:pt x="39" y="48"/>
                    <a:pt x="39" y="48"/>
                    <a:pt x="39" y="48"/>
                  </a:cubicBezTo>
                  <a:cubicBezTo>
                    <a:pt x="38" y="45"/>
                    <a:pt x="37" y="43"/>
                    <a:pt x="36" y="41"/>
                  </a:cubicBezTo>
                  <a:cubicBezTo>
                    <a:pt x="38" y="38"/>
                    <a:pt x="38" y="38"/>
                    <a:pt x="38" y="38"/>
                  </a:cubicBezTo>
                  <a:cubicBezTo>
                    <a:pt x="34" y="34"/>
                    <a:pt x="34" y="34"/>
                    <a:pt x="34" y="34"/>
                  </a:cubicBezTo>
                  <a:cubicBezTo>
                    <a:pt x="31" y="36"/>
                    <a:pt x="31" y="36"/>
                    <a:pt x="31" y="36"/>
                  </a:cubicBezTo>
                  <a:cubicBezTo>
                    <a:pt x="29" y="35"/>
                    <a:pt x="27" y="34"/>
                    <a:pt x="24" y="33"/>
                  </a:cubicBezTo>
                  <a:cubicBezTo>
                    <a:pt x="24" y="30"/>
                    <a:pt x="24" y="30"/>
                    <a:pt x="24" y="30"/>
                  </a:cubicBezTo>
                  <a:cubicBezTo>
                    <a:pt x="18" y="30"/>
                    <a:pt x="18" y="30"/>
                    <a:pt x="18" y="30"/>
                  </a:cubicBezTo>
                  <a:cubicBezTo>
                    <a:pt x="18" y="33"/>
                    <a:pt x="18" y="33"/>
                    <a:pt x="18" y="33"/>
                  </a:cubicBezTo>
                  <a:cubicBezTo>
                    <a:pt x="15" y="34"/>
                    <a:pt x="13" y="35"/>
                    <a:pt x="11" y="36"/>
                  </a:cubicBezTo>
                  <a:cubicBezTo>
                    <a:pt x="8" y="34"/>
                    <a:pt x="8" y="34"/>
                    <a:pt x="8" y="34"/>
                  </a:cubicBezTo>
                  <a:cubicBezTo>
                    <a:pt x="4" y="38"/>
                    <a:pt x="4" y="38"/>
                    <a:pt x="4" y="38"/>
                  </a:cubicBezTo>
                  <a:cubicBezTo>
                    <a:pt x="6" y="41"/>
                    <a:pt x="6" y="41"/>
                    <a:pt x="6" y="41"/>
                  </a:cubicBezTo>
                  <a:cubicBezTo>
                    <a:pt x="5" y="43"/>
                    <a:pt x="4" y="45"/>
                    <a:pt x="3" y="48"/>
                  </a:cubicBezTo>
                  <a:lnTo>
                    <a:pt x="0" y="48"/>
                  </a:lnTo>
                  <a:close/>
                  <a:moveTo>
                    <a:pt x="9" y="51"/>
                  </a:moveTo>
                  <a:cubicBezTo>
                    <a:pt x="9" y="44"/>
                    <a:pt x="14" y="39"/>
                    <a:pt x="21" y="39"/>
                  </a:cubicBezTo>
                  <a:cubicBezTo>
                    <a:pt x="28" y="39"/>
                    <a:pt x="33" y="44"/>
                    <a:pt x="33" y="51"/>
                  </a:cubicBezTo>
                  <a:cubicBezTo>
                    <a:pt x="33" y="58"/>
                    <a:pt x="28" y="63"/>
                    <a:pt x="21" y="63"/>
                  </a:cubicBezTo>
                  <a:cubicBezTo>
                    <a:pt x="14" y="63"/>
                    <a:pt x="9" y="58"/>
                    <a:pt x="9" y="51"/>
                  </a:cubicBezTo>
                  <a:close/>
                  <a:moveTo>
                    <a:pt x="48" y="96"/>
                  </a:moveTo>
                  <a:cubicBezTo>
                    <a:pt x="42" y="96"/>
                    <a:pt x="42" y="96"/>
                    <a:pt x="42" y="96"/>
                  </a:cubicBezTo>
                  <a:cubicBezTo>
                    <a:pt x="42" y="84"/>
                    <a:pt x="42" y="84"/>
                    <a:pt x="42" y="84"/>
                  </a:cubicBezTo>
                  <a:cubicBezTo>
                    <a:pt x="48" y="84"/>
                    <a:pt x="48" y="84"/>
                    <a:pt x="48" y="84"/>
                  </a:cubicBezTo>
                  <a:lnTo>
                    <a:pt x="48" y="96"/>
                  </a:lnTo>
                  <a:close/>
                  <a:moveTo>
                    <a:pt x="36" y="96"/>
                  </a:moveTo>
                  <a:cubicBezTo>
                    <a:pt x="30" y="96"/>
                    <a:pt x="30" y="96"/>
                    <a:pt x="30" y="96"/>
                  </a:cubicBezTo>
                  <a:cubicBezTo>
                    <a:pt x="30" y="84"/>
                    <a:pt x="30" y="84"/>
                    <a:pt x="30" y="84"/>
                  </a:cubicBezTo>
                  <a:cubicBezTo>
                    <a:pt x="36" y="84"/>
                    <a:pt x="36" y="84"/>
                    <a:pt x="36" y="84"/>
                  </a:cubicBezTo>
                  <a:lnTo>
                    <a:pt x="36" y="96"/>
                  </a:lnTo>
                  <a:close/>
                  <a:moveTo>
                    <a:pt x="60" y="96"/>
                  </a:moveTo>
                  <a:cubicBezTo>
                    <a:pt x="54" y="96"/>
                    <a:pt x="54" y="96"/>
                    <a:pt x="54" y="96"/>
                  </a:cubicBezTo>
                  <a:cubicBezTo>
                    <a:pt x="54" y="54"/>
                    <a:pt x="54" y="54"/>
                    <a:pt x="54" y="54"/>
                  </a:cubicBezTo>
                  <a:cubicBezTo>
                    <a:pt x="60" y="54"/>
                    <a:pt x="60" y="54"/>
                    <a:pt x="60" y="54"/>
                  </a:cubicBezTo>
                  <a:lnTo>
                    <a:pt x="60" y="96"/>
                  </a:lnTo>
                  <a:close/>
                  <a:moveTo>
                    <a:pt x="72" y="96"/>
                  </a:moveTo>
                  <a:cubicBezTo>
                    <a:pt x="66" y="96"/>
                    <a:pt x="66" y="96"/>
                    <a:pt x="66" y="96"/>
                  </a:cubicBezTo>
                  <a:cubicBezTo>
                    <a:pt x="66" y="54"/>
                    <a:pt x="66" y="54"/>
                    <a:pt x="66" y="54"/>
                  </a:cubicBezTo>
                  <a:cubicBezTo>
                    <a:pt x="72" y="54"/>
                    <a:pt x="72" y="54"/>
                    <a:pt x="72" y="54"/>
                  </a:cubicBezTo>
                  <a:lnTo>
                    <a:pt x="72" y="96"/>
                  </a:lnTo>
                  <a:close/>
                  <a:moveTo>
                    <a:pt x="84" y="96"/>
                  </a:moveTo>
                  <a:cubicBezTo>
                    <a:pt x="78" y="96"/>
                    <a:pt x="78" y="96"/>
                    <a:pt x="78" y="96"/>
                  </a:cubicBezTo>
                  <a:cubicBezTo>
                    <a:pt x="78" y="18"/>
                    <a:pt x="78" y="18"/>
                    <a:pt x="78" y="18"/>
                  </a:cubicBezTo>
                  <a:cubicBezTo>
                    <a:pt x="84" y="18"/>
                    <a:pt x="84" y="18"/>
                    <a:pt x="84" y="18"/>
                  </a:cubicBezTo>
                  <a:lnTo>
                    <a:pt x="84" y="96"/>
                  </a:lnTo>
                  <a:close/>
                  <a:moveTo>
                    <a:pt x="96" y="96"/>
                  </a:moveTo>
                  <a:cubicBezTo>
                    <a:pt x="90" y="96"/>
                    <a:pt x="90" y="96"/>
                    <a:pt x="90" y="96"/>
                  </a:cubicBezTo>
                  <a:cubicBezTo>
                    <a:pt x="90" y="18"/>
                    <a:pt x="90" y="18"/>
                    <a:pt x="90" y="18"/>
                  </a:cubicBezTo>
                  <a:cubicBezTo>
                    <a:pt x="96" y="18"/>
                    <a:pt x="96" y="18"/>
                    <a:pt x="96" y="18"/>
                  </a:cubicBezTo>
                  <a:lnTo>
                    <a:pt x="96" y="96"/>
                  </a:lnTo>
                  <a:close/>
                  <a:moveTo>
                    <a:pt x="6" y="84"/>
                  </a:moveTo>
                  <a:cubicBezTo>
                    <a:pt x="12" y="84"/>
                    <a:pt x="12" y="84"/>
                    <a:pt x="12" y="84"/>
                  </a:cubicBezTo>
                  <a:cubicBezTo>
                    <a:pt x="12" y="96"/>
                    <a:pt x="12" y="96"/>
                    <a:pt x="12" y="96"/>
                  </a:cubicBezTo>
                  <a:cubicBezTo>
                    <a:pt x="6" y="96"/>
                    <a:pt x="6" y="96"/>
                    <a:pt x="6" y="96"/>
                  </a:cubicBezTo>
                  <a:lnTo>
                    <a:pt x="6" y="84"/>
                  </a:lnTo>
                  <a:close/>
                  <a:moveTo>
                    <a:pt x="18" y="84"/>
                  </a:moveTo>
                  <a:cubicBezTo>
                    <a:pt x="24" y="84"/>
                    <a:pt x="24" y="84"/>
                    <a:pt x="24" y="84"/>
                  </a:cubicBezTo>
                  <a:cubicBezTo>
                    <a:pt x="24" y="96"/>
                    <a:pt x="24" y="96"/>
                    <a:pt x="24" y="96"/>
                  </a:cubicBezTo>
                  <a:cubicBezTo>
                    <a:pt x="18" y="96"/>
                    <a:pt x="18" y="96"/>
                    <a:pt x="18" y="96"/>
                  </a:cubicBezTo>
                  <a:lnTo>
                    <a:pt x="18" y="84"/>
                  </a:lnTo>
                  <a:close/>
                </a:path>
              </a:pathLst>
            </a:custGeom>
            <a:solidFill>
              <a:srgbClr val="008272"/>
            </a:solidFill>
            <a:ln>
              <a:noFill/>
            </a:ln>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nvGrpSpPr>
            <p:cNvPr id="52" name="Talent">
              <a:extLst>
                <a:ext uri="{FF2B5EF4-FFF2-40B4-BE49-F238E27FC236}">
                  <a16:creationId xmlns:a16="http://schemas.microsoft.com/office/drawing/2014/main" id="{31B64A4C-3375-43F0-ABB9-A86AB619F036}"/>
                </a:ext>
              </a:extLst>
            </p:cNvPr>
            <p:cNvGrpSpPr/>
            <p:nvPr/>
          </p:nvGrpSpPr>
          <p:grpSpPr>
            <a:xfrm>
              <a:off x="966409" y="3483339"/>
              <a:ext cx="368868" cy="394847"/>
              <a:chOff x="981187" y="1200480"/>
              <a:chExt cx="368868" cy="394847"/>
            </a:xfrm>
            <a:solidFill>
              <a:srgbClr val="008272"/>
            </a:solidFill>
          </p:grpSpPr>
          <p:sp>
            <p:nvSpPr>
              <p:cNvPr id="54" name="Freeform 1495">
                <a:extLst>
                  <a:ext uri="{FF2B5EF4-FFF2-40B4-BE49-F238E27FC236}">
                    <a16:creationId xmlns:a16="http://schemas.microsoft.com/office/drawing/2014/main" id="{0EDDE3C3-70B3-4342-AF11-01F2A76A413C}"/>
                  </a:ext>
                </a:extLst>
              </p:cNvPr>
              <p:cNvSpPr>
                <a:spLocks noEditPoints="1"/>
              </p:cNvSpPr>
              <p:nvPr/>
            </p:nvSpPr>
            <p:spPr bwMode="auto">
              <a:xfrm>
                <a:off x="1033142" y="1418685"/>
                <a:ext cx="264964" cy="176642"/>
              </a:xfrm>
              <a:custGeom>
                <a:avLst/>
                <a:gdLst>
                  <a:gd name="T0" fmla="*/ 51 w 51"/>
                  <a:gd name="T1" fmla="*/ 34 h 34"/>
                  <a:gd name="T2" fmla="*/ 0 w 51"/>
                  <a:gd name="T3" fmla="*/ 34 h 34"/>
                  <a:gd name="T4" fmla="*/ 0 w 51"/>
                  <a:gd name="T5" fmla="*/ 0 h 34"/>
                  <a:gd name="T6" fmla="*/ 51 w 51"/>
                  <a:gd name="T7" fmla="*/ 0 h 34"/>
                  <a:gd name="T8" fmla="*/ 51 w 51"/>
                  <a:gd name="T9" fmla="*/ 34 h 34"/>
                  <a:gd name="T10" fmla="*/ 4 w 51"/>
                  <a:gd name="T11" fmla="*/ 29 h 34"/>
                  <a:gd name="T12" fmla="*/ 47 w 51"/>
                  <a:gd name="T13" fmla="*/ 29 h 34"/>
                  <a:gd name="T14" fmla="*/ 47 w 51"/>
                  <a:gd name="T15" fmla="*/ 5 h 34"/>
                  <a:gd name="T16" fmla="*/ 4 w 51"/>
                  <a:gd name="T17" fmla="*/ 5 h 34"/>
                  <a:gd name="T18" fmla="*/ 4 w 51"/>
                  <a:gd name="T19"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34">
                    <a:moveTo>
                      <a:pt x="51" y="34"/>
                    </a:moveTo>
                    <a:lnTo>
                      <a:pt x="0" y="34"/>
                    </a:lnTo>
                    <a:lnTo>
                      <a:pt x="0" y="0"/>
                    </a:lnTo>
                    <a:lnTo>
                      <a:pt x="51" y="0"/>
                    </a:lnTo>
                    <a:lnTo>
                      <a:pt x="51" y="34"/>
                    </a:lnTo>
                    <a:close/>
                    <a:moveTo>
                      <a:pt x="4" y="29"/>
                    </a:moveTo>
                    <a:lnTo>
                      <a:pt x="47" y="29"/>
                    </a:lnTo>
                    <a:lnTo>
                      <a:pt x="47" y="5"/>
                    </a:lnTo>
                    <a:lnTo>
                      <a:pt x="4" y="5"/>
                    </a:lnTo>
                    <a:lnTo>
                      <a:pt x="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5" name="Freeform 1496">
                <a:extLst>
                  <a:ext uri="{FF2B5EF4-FFF2-40B4-BE49-F238E27FC236}">
                    <a16:creationId xmlns:a16="http://schemas.microsoft.com/office/drawing/2014/main" id="{BB471291-A574-4D7C-9505-E6E549EA29AA}"/>
                  </a:ext>
                </a:extLst>
              </p:cNvPr>
              <p:cNvSpPr>
                <a:spLocks noEditPoints="1"/>
              </p:cNvSpPr>
              <p:nvPr/>
            </p:nvSpPr>
            <p:spPr bwMode="auto">
              <a:xfrm>
                <a:off x="1178611" y="1200480"/>
                <a:ext cx="145470" cy="145470"/>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5 h 35"/>
                  <a:gd name="T12" fmla="*/ 6 w 36"/>
                  <a:gd name="T13" fmla="*/ 17 h 35"/>
                  <a:gd name="T14" fmla="*/ 18 w 36"/>
                  <a:gd name="T15" fmla="*/ 29 h 35"/>
                  <a:gd name="T16" fmla="*/ 30 w 36"/>
                  <a:gd name="T17" fmla="*/ 17 h 35"/>
                  <a:gd name="T18" fmla="*/ 18 w 36"/>
                  <a:gd name="T19"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5"/>
                    </a:moveTo>
                    <a:cubicBezTo>
                      <a:pt x="12" y="5"/>
                      <a:pt x="6" y="11"/>
                      <a:pt x="6" y="17"/>
                    </a:cubicBezTo>
                    <a:cubicBezTo>
                      <a:pt x="6" y="24"/>
                      <a:pt x="12" y="29"/>
                      <a:pt x="18" y="29"/>
                    </a:cubicBezTo>
                    <a:cubicBezTo>
                      <a:pt x="25" y="29"/>
                      <a:pt x="30" y="24"/>
                      <a:pt x="30" y="17"/>
                    </a:cubicBezTo>
                    <a:cubicBezTo>
                      <a:pt x="30" y="11"/>
                      <a:pt x="25" y="5"/>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6" name="Freeform 1497">
                <a:extLst>
                  <a:ext uri="{FF2B5EF4-FFF2-40B4-BE49-F238E27FC236}">
                    <a16:creationId xmlns:a16="http://schemas.microsoft.com/office/drawing/2014/main" id="{3738DBD7-9A8D-4905-B241-BF016E8D4BE9}"/>
                  </a:ext>
                </a:extLst>
              </p:cNvPr>
              <p:cNvSpPr>
                <a:spLocks/>
              </p:cNvSpPr>
              <p:nvPr/>
            </p:nvSpPr>
            <p:spPr bwMode="auto">
              <a:xfrm>
                <a:off x="1152633" y="1319971"/>
                <a:ext cx="197422" cy="98714"/>
              </a:xfrm>
              <a:custGeom>
                <a:avLst/>
                <a:gdLst>
                  <a:gd name="T0" fmla="*/ 48 w 48"/>
                  <a:gd name="T1" fmla="*/ 24 h 24"/>
                  <a:gd name="T2" fmla="*/ 42 w 48"/>
                  <a:gd name="T3" fmla="*/ 24 h 24"/>
                  <a:gd name="T4" fmla="*/ 24 w 48"/>
                  <a:gd name="T5" fmla="*/ 6 h 24"/>
                  <a:gd name="T6" fmla="*/ 6 w 48"/>
                  <a:gd name="T7" fmla="*/ 24 h 24"/>
                  <a:gd name="T8" fmla="*/ 0 w 48"/>
                  <a:gd name="T9" fmla="*/ 24 h 24"/>
                  <a:gd name="T10" fmla="*/ 24 w 48"/>
                  <a:gd name="T11" fmla="*/ 0 h 24"/>
                  <a:gd name="T12" fmla="*/ 48 w 4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8" h="24">
                    <a:moveTo>
                      <a:pt x="48" y="24"/>
                    </a:moveTo>
                    <a:cubicBezTo>
                      <a:pt x="42" y="24"/>
                      <a:pt x="42" y="24"/>
                      <a:pt x="42" y="24"/>
                    </a:cubicBezTo>
                    <a:cubicBezTo>
                      <a:pt x="42" y="14"/>
                      <a:pt x="34" y="6"/>
                      <a:pt x="24" y="6"/>
                    </a:cubicBezTo>
                    <a:cubicBezTo>
                      <a:pt x="14" y="6"/>
                      <a:pt x="6" y="14"/>
                      <a:pt x="6" y="24"/>
                    </a:cubicBezTo>
                    <a:cubicBezTo>
                      <a:pt x="0" y="24"/>
                      <a:pt x="0" y="24"/>
                      <a:pt x="0" y="24"/>
                    </a:cubicBezTo>
                    <a:cubicBezTo>
                      <a:pt x="0" y="11"/>
                      <a:pt x="11" y="0"/>
                      <a:pt x="24" y="0"/>
                    </a:cubicBezTo>
                    <a:cubicBezTo>
                      <a:pt x="37" y="0"/>
                      <a:pt x="48" y="11"/>
                      <a:pt x="4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1498">
                <a:extLst>
                  <a:ext uri="{FF2B5EF4-FFF2-40B4-BE49-F238E27FC236}">
                    <a16:creationId xmlns:a16="http://schemas.microsoft.com/office/drawing/2014/main" id="{CBB2FA7E-6851-49AC-8F30-B40734B31BDA}"/>
                  </a:ext>
                </a:extLst>
              </p:cNvPr>
              <p:cNvSpPr>
                <a:spLocks noEditPoints="1"/>
              </p:cNvSpPr>
              <p:nvPr/>
            </p:nvSpPr>
            <p:spPr bwMode="auto">
              <a:xfrm>
                <a:off x="1007163" y="1200480"/>
                <a:ext cx="145470" cy="145470"/>
              </a:xfrm>
              <a:custGeom>
                <a:avLst/>
                <a:gdLst>
                  <a:gd name="T0" fmla="*/ 18 w 35"/>
                  <a:gd name="T1" fmla="*/ 35 h 35"/>
                  <a:gd name="T2" fmla="*/ 0 w 35"/>
                  <a:gd name="T3" fmla="*/ 17 h 35"/>
                  <a:gd name="T4" fmla="*/ 18 w 35"/>
                  <a:gd name="T5" fmla="*/ 0 h 35"/>
                  <a:gd name="T6" fmla="*/ 35 w 35"/>
                  <a:gd name="T7" fmla="*/ 17 h 35"/>
                  <a:gd name="T8" fmla="*/ 18 w 35"/>
                  <a:gd name="T9" fmla="*/ 35 h 35"/>
                  <a:gd name="T10" fmla="*/ 18 w 35"/>
                  <a:gd name="T11" fmla="*/ 5 h 35"/>
                  <a:gd name="T12" fmla="*/ 6 w 35"/>
                  <a:gd name="T13" fmla="*/ 17 h 35"/>
                  <a:gd name="T14" fmla="*/ 18 w 35"/>
                  <a:gd name="T15" fmla="*/ 29 h 35"/>
                  <a:gd name="T16" fmla="*/ 29 w 35"/>
                  <a:gd name="T17" fmla="*/ 17 h 35"/>
                  <a:gd name="T18" fmla="*/ 18 w 35"/>
                  <a:gd name="T19"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18" y="35"/>
                    </a:moveTo>
                    <a:cubicBezTo>
                      <a:pt x="8" y="35"/>
                      <a:pt x="0" y="27"/>
                      <a:pt x="0" y="17"/>
                    </a:cubicBezTo>
                    <a:cubicBezTo>
                      <a:pt x="0" y="8"/>
                      <a:pt x="8" y="0"/>
                      <a:pt x="18" y="0"/>
                    </a:cubicBezTo>
                    <a:cubicBezTo>
                      <a:pt x="27" y="0"/>
                      <a:pt x="35" y="8"/>
                      <a:pt x="35" y="17"/>
                    </a:cubicBezTo>
                    <a:cubicBezTo>
                      <a:pt x="35" y="27"/>
                      <a:pt x="27" y="35"/>
                      <a:pt x="18" y="35"/>
                    </a:cubicBezTo>
                    <a:close/>
                    <a:moveTo>
                      <a:pt x="18" y="5"/>
                    </a:moveTo>
                    <a:cubicBezTo>
                      <a:pt x="11" y="5"/>
                      <a:pt x="6" y="11"/>
                      <a:pt x="6" y="17"/>
                    </a:cubicBezTo>
                    <a:cubicBezTo>
                      <a:pt x="6" y="24"/>
                      <a:pt x="11" y="29"/>
                      <a:pt x="18" y="29"/>
                    </a:cubicBezTo>
                    <a:cubicBezTo>
                      <a:pt x="24" y="29"/>
                      <a:pt x="29" y="24"/>
                      <a:pt x="29" y="17"/>
                    </a:cubicBezTo>
                    <a:cubicBezTo>
                      <a:pt x="29" y="11"/>
                      <a:pt x="24" y="5"/>
                      <a:pt x="1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8" name="Freeform 1499">
                <a:extLst>
                  <a:ext uri="{FF2B5EF4-FFF2-40B4-BE49-F238E27FC236}">
                    <a16:creationId xmlns:a16="http://schemas.microsoft.com/office/drawing/2014/main" id="{AD47147D-227F-4BEC-A76E-ED8A693BA4C1}"/>
                  </a:ext>
                </a:extLst>
              </p:cNvPr>
              <p:cNvSpPr>
                <a:spLocks/>
              </p:cNvSpPr>
              <p:nvPr/>
            </p:nvSpPr>
            <p:spPr bwMode="auto">
              <a:xfrm>
                <a:off x="981187" y="1319971"/>
                <a:ext cx="197422" cy="98714"/>
              </a:xfrm>
              <a:custGeom>
                <a:avLst/>
                <a:gdLst>
                  <a:gd name="T0" fmla="*/ 47 w 47"/>
                  <a:gd name="T1" fmla="*/ 24 h 24"/>
                  <a:gd name="T2" fmla="*/ 41 w 47"/>
                  <a:gd name="T3" fmla="*/ 24 h 24"/>
                  <a:gd name="T4" fmla="*/ 24 w 47"/>
                  <a:gd name="T5" fmla="*/ 6 h 24"/>
                  <a:gd name="T6" fmla="*/ 6 w 47"/>
                  <a:gd name="T7" fmla="*/ 24 h 24"/>
                  <a:gd name="T8" fmla="*/ 0 w 47"/>
                  <a:gd name="T9" fmla="*/ 24 h 24"/>
                  <a:gd name="T10" fmla="*/ 24 w 47"/>
                  <a:gd name="T11" fmla="*/ 0 h 24"/>
                  <a:gd name="T12" fmla="*/ 47 w 47"/>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47" h="24">
                    <a:moveTo>
                      <a:pt x="47" y="24"/>
                    </a:moveTo>
                    <a:cubicBezTo>
                      <a:pt x="41" y="24"/>
                      <a:pt x="41" y="24"/>
                      <a:pt x="41" y="24"/>
                    </a:cubicBezTo>
                    <a:cubicBezTo>
                      <a:pt x="41" y="14"/>
                      <a:pt x="33" y="6"/>
                      <a:pt x="24" y="6"/>
                    </a:cubicBezTo>
                    <a:cubicBezTo>
                      <a:pt x="14" y="6"/>
                      <a:pt x="6" y="14"/>
                      <a:pt x="6" y="24"/>
                    </a:cubicBezTo>
                    <a:cubicBezTo>
                      <a:pt x="0" y="24"/>
                      <a:pt x="0" y="24"/>
                      <a:pt x="0" y="24"/>
                    </a:cubicBezTo>
                    <a:cubicBezTo>
                      <a:pt x="0" y="11"/>
                      <a:pt x="10" y="0"/>
                      <a:pt x="24" y="0"/>
                    </a:cubicBezTo>
                    <a:cubicBezTo>
                      <a:pt x="37" y="0"/>
                      <a:pt x="47" y="11"/>
                      <a:pt x="4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5" name="Group 4">
            <a:extLst>
              <a:ext uri="{FF2B5EF4-FFF2-40B4-BE49-F238E27FC236}">
                <a16:creationId xmlns:a16="http://schemas.microsoft.com/office/drawing/2014/main" id="{D7938D52-CDEC-401E-9F9B-342A6D682048}"/>
              </a:ext>
            </a:extLst>
          </p:cNvPr>
          <p:cNvGrpSpPr/>
          <p:nvPr/>
        </p:nvGrpSpPr>
        <p:grpSpPr>
          <a:xfrm>
            <a:off x="1516029" y="1819850"/>
            <a:ext cx="1097280" cy="1680730"/>
            <a:chOff x="623748" y="4586254"/>
            <a:chExt cx="1097280" cy="1680730"/>
          </a:xfrm>
        </p:grpSpPr>
        <p:sp>
          <p:nvSpPr>
            <p:cNvPr id="38" name="object 22">
              <a:extLst>
                <a:ext uri="{FF2B5EF4-FFF2-40B4-BE49-F238E27FC236}">
                  <a16:creationId xmlns:a16="http://schemas.microsoft.com/office/drawing/2014/main" id="{BF92E2E5-6A29-4716-8F52-A57789BCC7C0}"/>
                </a:ext>
              </a:extLst>
            </p:cNvPr>
            <p:cNvSpPr txBox="1"/>
            <p:nvPr/>
          </p:nvSpPr>
          <p:spPr>
            <a:xfrm>
              <a:off x="623748" y="5066871"/>
              <a:ext cx="1097280" cy="318463"/>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D365 Customer Service</a:t>
              </a:r>
            </a:p>
          </p:txBody>
        </p:sp>
        <p:sp>
          <p:nvSpPr>
            <p:cNvPr id="41" name="object 22">
              <a:extLst>
                <a:ext uri="{FF2B5EF4-FFF2-40B4-BE49-F238E27FC236}">
                  <a16:creationId xmlns:a16="http://schemas.microsoft.com/office/drawing/2014/main" id="{7B26E969-B0D1-4915-AE30-D2C8C12D1CA9}"/>
                </a:ext>
              </a:extLst>
            </p:cNvPr>
            <p:cNvSpPr txBox="1"/>
            <p:nvPr/>
          </p:nvSpPr>
          <p:spPr>
            <a:xfrm>
              <a:off x="818313" y="6102409"/>
              <a:ext cx="67904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PowerApps</a:t>
              </a:r>
            </a:p>
          </p:txBody>
        </p:sp>
        <p:grpSp>
          <p:nvGrpSpPr>
            <p:cNvPr id="46" name="Customer service">
              <a:extLst>
                <a:ext uri="{FF2B5EF4-FFF2-40B4-BE49-F238E27FC236}">
                  <a16:creationId xmlns:a16="http://schemas.microsoft.com/office/drawing/2014/main" id="{FB920DE3-F1C0-4DAC-B301-ED0EF7BF18C6}"/>
                </a:ext>
              </a:extLst>
            </p:cNvPr>
            <p:cNvGrpSpPr/>
            <p:nvPr/>
          </p:nvGrpSpPr>
          <p:grpSpPr>
            <a:xfrm>
              <a:off x="995600" y="4586254"/>
              <a:ext cx="275355" cy="379262"/>
              <a:chOff x="1022750" y="2717518"/>
              <a:chExt cx="275355" cy="379262"/>
            </a:xfrm>
            <a:solidFill>
              <a:srgbClr val="008272"/>
            </a:solidFill>
          </p:grpSpPr>
          <p:sp>
            <p:nvSpPr>
              <p:cNvPr id="59" name="Freeform 1505">
                <a:extLst>
                  <a:ext uri="{FF2B5EF4-FFF2-40B4-BE49-F238E27FC236}">
                    <a16:creationId xmlns:a16="http://schemas.microsoft.com/office/drawing/2014/main" id="{F9395F63-1BB7-42E0-8181-753FAFA90320}"/>
                  </a:ext>
                </a:extLst>
              </p:cNvPr>
              <p:cNvSpPr>
                <a:spLocks noEditPoints="1"/>
              </p:cNvSpPr>
              <p:nvPr/>
            </p:nvSpPr>
            <p:spPr bwMode="auto">
              <a:xfrm>
                <a:off x="1074705" y="2717518"/>
                <a:ext cx="176642" cy="176642"/>
              </a:xfrm>
              <a:custGeom>
                <a:avLst/>
                <a:gdLst>
                  <a:gd name="T0" fmla="*/ 43 w 43"/>
                  <a:gd name="T1" fmla="*/ 21 h 43"/>
                  <a:gd name="T2" fmla="*/ 21 w 43"/>
                  <a:gd name="T3" fmla="*/ 0 h 43"/>
                  <a:gd name="T4" fmla="*/ 0 w 43"/>
                  <a:gd name="T5" fmla="*/ 21 h 43"/>
                  <a:gd name="T6" fmla="*/ 21 w 43"/>
                  <a:gd name="T7" fmla="*/ 43 h 43"/>
                  <a:gd name="T8" fmla="*/ 43 w 43"/>
                  <a:gd name="T9" fmla="*/ 21 h 43"/>
                  <a:gd name="T10" fmla="*/ 21 w 43"/>
                  <a:gd name="T11" fmla="*/ 37 h 43"/>
                  <a:gd name="T12" fmla="*/ 6 w 43"/>
                  <a:gd name="T13" fmla="*/ 21 h 43"/>
                  <a:gd name="T14" fmla="*/ 21 w 43"/>
                  <a:gd name="T15" fmla="*/ 6 h 43"/>
                  <a:gd name="T16" fmla="*/ 37 w 43"/>
                  <a:gd name="T17" fmla="*/ 21 h 43"/>
                  <a:gd name="T18" fmla="*/ 21 w 43"/>
                  <a:gd name="T19" fmla="*/ 3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43" y="21"/>
                    </a:moveTo>
                    <a:cubicBezTo>
                      <a:pt x="43" y="10"/>
                      <a:pt x="33" y="0"/>
                      <a:pt x="21" y="0"/>
                    </a:cubicBezTo>
                    <a:cubicBezTo>
                      <a:pt x="9" y="0"/>
                      <a:pt x="0" y="10"/>
                      <a:pt x="0" y="21"/>
                    </a:cubicBezTo>
                    <a:cubicBezTo>
                      <a:pt x="0" y="33"/>
                      <a:pt x="9" y="43"/>
                      <a:pt x="21" y="43"/>
                    </a:cubicBezTo>
                    <a:cubicBezTo>
                      <a:pt x="33" y="43"/>
                      <a:pt x="43" y="33"/>
                      <a:pt x="43" y="21"/>
                    </a:cubicBezTo>
                    <a:close/>
                    <a:moveTo>
                      <a:pt x="21" y="37"/>
                    </a:moveTo>
                    <a:cubicBezTo>
                      <a:pt x="13" y="37"/>
                      <a:pt x="6" y="30"/>
                      <a:pt x="6" y="21"/>
                    </a:cubicBezTo>
                    <a:cubicBezTo>
                      <a:pt x="6" y="13"/>
                      <a:pt x="13" y="6"/>
                      <a:pt x="21" y="6"/>
                    </a:cubicBezTo>
                    <a:cubicBezTo>
                      <a:pt x="30" y="6"/>
                      <a:pt x="37" y="13"/>
                      <a:pt x="37" y="21"/>
                    </a:cubicBezTo>
                    <a:cubicBezTo>
                      <a:pt x="37" y="30"/>
                      <a:pt x="30" y="37"/>
                      <a:pt x="2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1506">
                <a:extLst>
                  <a:ext uri="{FF2B5EF4-FFF2-40B4-BE49-F238E27FC236}">
                    <a16:creationId xmlns:a16="http://schemas.microsoft.com/office/drawing/2014/main" id="{530F6F7F-0C69-4804-86BB-65BE37FF0EFA}"/>
                  </a:ext>
                </a:extLst>
              </p:cNvPr>
              <p:cNvSpPr>
                <a:spLocks noEditPoints="1"/>
              </p:cNvSpPr>
              <p:nvPr/>
            </p:nvSpPr>
            <p:spPr bwMode="auto">
              <a:xfrm>
                <a:off x="1095485" y="2946114"/>
                <a:ext cx="129886" cy="109103"/>
              </a:xfrm>
              <a:custGeom>
                <a:avLst/>
                <a:gdLst>
                  <a:gd name="T0" fmla="*/ 23 w 32"/>
                  <a:gd name="T1" fmla="*/ 0 h 27"/>
                  <a:gd name="T2" fmla="*/ 18 w 32"/>
                  <a:gd name="T3" fmla="*/ 3 h 27"/>
                  <a:gd name="T4" fmla="*/ 16 w 32"/>
                  <a:gd name="T5" fmla="*/ 4 h 27"/>
                  <a:gd name="T6" fmla="*/ 15 w 32"/>
                  <a:gd name="T7" fmla="*/ 3 h 27"/>
                  <a:gd name="T8" fmla="*/ 9 w 32"/>
                  <a:gd name="T9" fmla="*/ 0 h 27"/>
                  <a:gd name="T10" fmla="*/ 3 w 32"/>
                  <a:gd name="T11" fmla="*/ 3 h 27"/>
                  <a:gd name="T12" fmla="*/ 3 w 32"/>
                  <a:gd name="T13" fmla="*/ 14 h 27"/>
                  <a:gd name="T14" fmla="*/ 16 w 32"/>
                  <a:gd name="T15" fmla="*/ 27 h 27"/>
                  <a:gd name="T16" fmla="*/ 29 w 32"/>
                  <a:gd name="T17" fmla="*/ 14 h 27"/>
                  <a:gd name="T18" fmla="*/ 29 w 32"/>
                  <a:gd name="T19" fmla="*/ 3 h 27"/>
                  <a:gd name="T20" fmla="*/ 23 w 32"/>
                  <a:gd name="T21" fmla="*/ 0 h 27"/>
                  <a:gd name="T22" fmla="*/ 25 w 32"/>
                  <a:gd name="T23" fmla="*/ 10 h 27"/>
                  <a:gd name="T24" fmla="*/ 16 w 32"/>
                  <a:gd name="T25" fmla="*/ 18 h 27"/>
                  <a:gd name="T26" fmla="*/ 8 w 32"/>
                  <a:gd name="T27" fmla="*/ 10 h 27"/>
                  <a:gd name="T28" fmla="*/ 8 w 32"/>
                  <a:gd name="T29" fmla="*/ 7 h 27"/>
                  <a:gd name="T30" fmla="*/ 9 w 32"/>
                  <a:gd name="T31" fmla="*/ 6 h 27"/>
                  <a:gd name="T32" fmla="*/ 10 w 32"/>
                  <a:gd name="T33" fmla="*/ 7 h 27"/>
                  <a:gd name="T34" fmla="*/ 12 w 32"/>
                  <a:gd name="T35" fmla="*/ 8 h 27"/>
                  <a:gd name="T36" fmla="*/ 16 w 32"/>
                  <a:gd name="T37" fmla="*/ 13 h 27"/>
                  <a:gd name="T38" fmla="*/ 21 w 32"/>
                  <a:gd name="T39" fmla="*/ 8 h 27"/>
                  <a:gd name="T40" fmla="*/ 22 w 32"/>
                  <a:gd name="T41" fmla="*/ 7 h 27"/>
                  <a:gd name="T42" fmla="*/ 23 w 32"/>
                  <a:gd name="T43" fmla="*/ 6 h 27"/>
                  <a:gd name="T44" fmla="*/ 25 w 32"/>
                  <a:gd name="T45" fmla="*/ 7 h 27"/>
                  <a:gd name="T46" fmla="*/ 25 w 32"/>
                  <a:gd name="T47"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27">
                    <a:moveTo>
                      <a:pt x="23" y="0"/>
                    </a:moveTo>
                    <a:cubicBezTo>
                      <a:pt x="21" y="0"/>
                      <a:pt x="19" y="1"/>
                      <a:pt x="18" y="3"/>
                    </a:cubicBezTo>
                    <a:cubicBezTo>
                      <a:pt x="16" y="4"/>
                      <a:pt x="16" y="4"/>
                      <a:pt x="16" y="4"/>
                    </a:cubicBezTo>
                    <a:cubicBezTo>
                      <a:pt x="15" y="3"/>
                      <a:pt x="15" y="3"/>
                      <a:pt x="15" y="3"/>
                    </a:cubicBezTo>
                    <a:cubicBezTo>
                      <a:pt x="13" y="1"/>
                      <a:pt x="11" y="0"/>
                      <a:pt x="9" y="0"/>
                    </a:cubicBezTo>
                    <a:cubicBezTo>
                      <a:pt x="7" y="0"/>
                      <a:pt x="5" y="1"/>
                      <a:pt x="3" y="3"/>
                    </a:cubicBezTo>
                    <a:cubicBezTo>
                      <a:pt x="0" y="6"/>
                      <a:pt x="0" y="11"/>
                      <a:pt x="3" y="14"/>
                    </a:cubicBezTo>
                    <a:cubicBezTo>
                      <a:pt x="16" y="27"/>
                      <a:pt x="16" y="27"/>
                      <a:pt x="16" y="27"/>
                    </a:cubicBezTo>
                    <a:cubicBezTo>
                      <a:pt x="29" y="14"/>
                      <a:pt x="29" y="14"/>
                      <a:pt x="29" y="14"/>
                    </a:cubicBezTo>
                    <a:cubicBezTo>
                      <a:pt x="32" y="11"/>
                      <a:pt x="32" y="6"/>
                      <a:pt x="29" y="3"/>
                    </a:cubicBezTo>
                    <a:cubicBezTo>
                      <a:pt x="28" y="1"/>
                      <a:pt x="26" y="0"/>
                      <a:pt x="23" y="0"/>
                    </a:cubicBezTo>
                    <a:close/>
                    <a:moveTo>
                      <a:pt x="25" y="10"/>
                    </a:moveTo>
                    <a:cubicBezTo>
                      <a:pt x="16" y="18"/>
                      <a:pt x="16" y="18"/>
                      <a:pt x="16" y="18"/>
                    </a:cubicBezTo>
                    <a:cubicBezTo>
                      <a:pt x="8" y="10"/>
                      <a:pt x="8" y="10"/>
                      <a:pt x="8" y="10"/>
                    </a:cubicBezTo>
                    <a:cubicBezTo>
                      <a:pt x="7" y="9"/>
                      <a:pt x="7" y="8"/>
                      <a:pt x="8" y="7"/>
                    </a:cubicBezTo>
                    <a:cubicBezTo>
                      <a:pt x="8" y="7"/>
                      <a:pt x="9" y="6"/>
                      <a:pt x="9" y="6"/>
                    </a:cubicBezTo>
                    <a:cubicBezTo>
                      <a:pt x="10" y="6"/>
                      <a:pt x="10" y="7"/>
                      <a:pt x="10" y="7"/>
                    </a:cubicBezTo>
                    <a:cubicBezTo>
                      <a:pt x="12" y="8"/>
                      <a:pt x="12" y="8"/>
                      <a:pt x="12" y="8"/>
                    </a:cubicBezTo>
                    <a:cubicBezTo>
                      <a:pt x="16" y="13"/>
                      <a:pt x="16" y="13"/>
                      <a:pt x="16" y="13"/>
                    </a:cubicBezTo>
                    <a:cubicBezTo>
                      <a:pt x="21" y="8"/>
                      <a:pt x="21" y="8"/>
                      <a:pt x="21" y="8"/>
                    </a:cubicBezTo>
                    <a:cubicBezTo>
                      <a:pt x="22" y="7"/>
                      <a:pt x="22" y="7"/>
                      <a:pt x="22" y="7"/>
                    </a:cubicBezTo>
                    <a:cubicBezTo>
                      <a:pt x="22" y="7"/>
                      <a:pt x="23" y="6"/>
                      <a:pt x="23" y="6"/>
                    </a:cubicBezTo>
                    <a:cubicBezTo>
                      <a:pt x="24" y="6"/>
                      <a:pt x="24" y="7"/>
                      <a:pt x="25" y="7"/>
                    </a:cubicBezTo>
                    <a:cubicBezTo>
                      <a:pt x="26" y="8"/>
                      <a:pt x="26" y="9"/>
                      <a:pt x="2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61" name="Freeform 1507">
                <a:extLst>
                  <a:ext uri="{FF2B5EF4-FFF2-40B4-BE49-F238E27FC236}">
                    <a16:creationId xmlns:a16="http://schemas.microsoft.com/office/drawing/2014/main" id="{8FDAC6F6-ABDF-47A9-88B0-D4E568B9864C}"/>
                  </a:ext>
                </a:extLst>
              </p:cNvPr>
              <p:cNvSpPr>
                <a:spLocks/>
              </p:cNvSpPr>
              <p:nvPr/>
            </p:nvSpPr>
            <p:spPr bwMode="auto">
              <a:xfrm>
                <a:off x="1022750" y="2894160"/>
                <a:ext cx="275355" cy="202620"/>
              </a:xfrm>
              <a:custGeom>
                <a:avLst/>
                <a:gdLst>
                  <a:gd name="T0" fmla="*/ 49 w 67"/>
                  <a:gd name="T1" fmla="*/ 0 h 49"/>
                  <a:gd name="T2" fmla="*/ 33 w 67"/>
                  <a:gd name="T3" fmla="*/ 0 h 49"/>
                  <a:gd name="T4" fmla="*/ 18 w 67"/>
                  <a:gd name="T5" fmla="*/ 0 h 49"/>
                  <a:gd name="T6" fmla="*/ 0 w 67"/>
                  <a:gd name="T7" fmla="*/ 18 h 49"/>
                  <a:gd name="T8" fmla="*/ 0 w 67"/>
                  <a:gd name="T9" fmla="*/ 49 h 49"/>
                  <a:gd name="T10" fmla="*/ 6 w 67"/>
                  <a:gd name="T11" fmla="*/ 49 h 49"/>
                  <a:gd name="T12" fmla="*/ 6 w 67"/>
                  <a:gd name="T13" fmla="*/ 18 h 49"/>
                  <a:gd name="T14" fmla="*/ 18 w 67"/>
                  <a:gd name="T15" fmla="*/ 6 h 49"/>
                  <a:gd name="T16" fmla="*/ 49 w 67"/>
                  <a:gd name="T17" fmla="*/ 6 h 49"/>
                  <a:gd name="T18" fmla="*/ 61 w 67"/>
                  <a:gd name="T19" fmla="*/ 18 h 49"/>
                  <a:gd name="T20" fmla="*/ 61 w 67"/>
                  <a:gd name="T21" fmla="*/ 49 h 49"/>
                  <a:gd name="T22" fmla="*/ 67 w 67"/>
                  <a:gd name="T23" fmla="*/ 49 h 49"/>
                  <a:gd name="T24" fmla="*/ 67 w 67"/>
                  <a:gd name="T25" fmla="*/ 18 h 49"/>
                  <a:gd name="T26" fmla="*/ 49 w 67"/>
                  <a:gd name="T2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49">
                    <a:moveTo>
                      <a:pt x="49" y="0"/>
                    </a:moveTo>
                    <a:cubicBezTo>
                      <a:pt x="33" y="0"/>
                      <a:pt x="33" y="0"/>
                      <a:pt x="33" y="0"/>
                    </a:cubicBezTo>
                    <a:cubicBezTo>
                      <a:pt x="18" y="0"/>
                      <a:pt x="18" y="0"/>
                      <a:pt x="18" y="0"/>
                    </a:cubicBezTo>
                    <a:cubicBezTo>
                      <a:pt x="8" y="0"/>
                      <a:pt x="0" y="8"/>
                      <a:pt x="0" y="18"/>
                    </a:cubicBezTo>
                    <a:cubicBezTo>
                      <a:pt x="0" y="49"/>
                      <a:pt x="0" y="49"/>
                      <a:pt x="0" y="49"/>
                    </a:cubicBezTo>
                    <a:cubicBezTo>
                      <a:pt x="6" y="49"/>
                      <a:pt x="6" y="49"/>
                      <a:pt x="6" y="49"/>
                    </a:cubicBezTo>
                    <a:cubicBezTo>
                      <a:pt x="6" y="18"/>
                      <a:pt x="6" y="18"/>
                      <a:pt x="6" y="18"/>
                    </a:cubicBezTo>
                    <a:cubicBezTo>
                      <a:pt x="6" y="12"/>
                      <a:pt x="11" y="6"/>
                      <a:pt x="18" y="6"/>
                    </a:cubicBezTo>
                    <a:cubicBezTo>
                      <a:pt x="49" y="6"/>
                      <a:pt x="49" y="6"/>
                      <a:pt x="49" y="6"/>
                    </a:cubicBezTo>
                    <a:cubicBezTo>
                      <a:pt x="55" y="6"/>
                      <a:pt x="61" y="12"/>
                      <a:pt x="61" y="18"/>
                    </a:cubicBezTo>
                    <a:cubicBezTo>
                      <a:pt x="61" y="49"/>
                      <a:pt x="61" y="49"/>
                      <a:pt x="61" y="49"/>
                    </a:cubicBezTo>
                    <a:cubicBezTo>
                      <a:pt x="67" y="49"/>
                      <a:pt x="67" y="49"/>
                      <a:pt x="67" y="49"/>
                    </a:cubicBezTo>
                    <a:cubicBezTo>
                      <a:pt x="67" y="18"/>
                      <a:pt x="67" y="18"/>
                      <a:pt x="67" y="18"/>
                    </a:cubicBezTo>
                    <a:cubicBezTo>
                      <a:pt x="67" y="8"/>
                      <a:pt x="59" y="0"/>
                      <a:pt x="4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pic>
          <p:nvPicPr>
            <p:cNvPr id="53" name="Picture 22" descr="Related image">
              <a:extLst>
                <a:ext uri="{FF2B5EF4-FFF2-40B4-BE49-F238E27FC236}">
                  <a16:creationId xmlns:a16="http://schemas.microsoft.com/office/drawing/2014/main" id="{0F996BA0-ACB5-4AB2-B8AD-526AC3195795}"/>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42709" y="5624701"/>
              <a:ext cx="620366" cy="4663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a:extLst>
              <a:ext uri="{FF2B5EF4-FFF2-40B4-BE49-F238E27FC236}">
                <a16:creationId xmlns:a16="http://schemas.microsoft.com/office/drawing/2014/main" id="{D07219B7-D984-410A-848F-D0D8B2E40229}"/>
              </a:ext>
            </a:extLst>
          </p:cNvPr>
          <p:cNvGrpSpPr/>
          <p:nvPr/>
        </p:nvGrpSpPr>
        <p:grpSpPr>
          <a:xfrm>
            <a:off x="3168932" y="1740687"/>
            <a:ext cx="2829440" cy="872048"/>
            <a:chOff x="4694883" y="424576"/>
            <a:chExt cx="2829440" cy="872048"/>
          </a:xfrm>
        </p:grpSpPr>
        <p:sp>
          <p:nvSpPr>
            <p:cNvPr id="64" name="object 22">
              <a:extLst>
                <a:ext uri="{FF2B5EF4-FFF2-40B4-BE49-F238E27FC236}">
                  <a16:creationId xmlns:a16="http://schemas.microsoft.com/office/drawing/2014/main" id="{28A049F5-9E27-4AB7-9563-F8A5665577F7}"/>
                </a:ext>
              </a:extLst>
            </p:cNvPr>
            <p:cNvSpPr txBox="1"/>
            <p:nvPr/>
          </p:nvSpPr>
          <p:spPr>
            <a:xfrm>
              <a:off x="4694883" y="927639"/>
              <a:ext cx="837973" cy="318463"/>
            </a:xfrm>
            <a:prstGeom prst="rect">
              <a:avLst/>
            </a:prstGeom>
            <a:noFill/>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Teams for Education</a:t>
              </a:r>
            </a:p>
          </p:txBody>
        </p:sp>
        <p:sp>
          <p:nvSpPr>
            <p:cNvPr id="65" name="object 22">
              <a:extLst>
                <a:ext uri="{FF2B5EF4-FFF2-40B4-BE49-F238E27FC236}">
                  <a16:creationId xmlns:a16="http://schemas.microsoft.com/office/drawing/2014/main" id="{71238BFC-6238-423D-9C51-04762CA62EB9}"/>
                </a:ext>
              </a:extLst>
            </p:cNvPr>
            <p:cNvSpPr txBox="1"/>
            <p:nvPr/>
          </p:nvSpPr>
          <p:spPr>
            <a:xfrm>
              <a:off x="5658688" y="985781"/>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harePoint</a:t>
              </a:r>
            </a:p>
          </p:txBody>
        </p:sp>
        <p:sp>
          <p:nvSpPr>
            <p:cNvPr id="66" name="object 22">
              <a:extLst>
                <a:ext uri="{FF2B5EF4-FFF2-40B4-BE49-F238E27FC236}">
                  <a16:creationId xmlns:a16="http://schemas.microsoft.com/office/drawing/2014/main" id="{B041762F-9858-446C-A89C-BF487ED52BDF}"/>
                </a:ext>
              </a:extLst>
            </p:cNvPr>
            <p:cNvSpPr txBox="1"/>
            <p:nvPr/>
          </p:nvSpPr>
          <p:spPr>
            <a:xfrm>
              <a:off x="6686350" y="978161"/>
              <a:ext cx="837973" cy="318463"/>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Class Notebook</a:t>
              </a:r>
            </a:p>
          </p:txBody>
        </p:sp>
        <p:pic>
          <p:nvPicPr>
            <p:cNvPr id="68" name="Picture 67">
              <a:extLst>
                <a:ext uri="{FF2B5EF4-FFF2-40B4-BE49-F238E27FC236}">
                  <a16:creationId xmlns:a16="http://schemas.microsoft.com/office/drawing/2014/main" id="{585A05BE-E921-42D4-A6B9-F7354FEF5992}"/>
                </a:ext>
              </a:extLst>
            </p:cNvPr>
            <p:cNvPicPr>
              <a:picLocks noChangeAspect="1"/>
            </p:cNvPicPr>
            <p:nvPr/>
          </p:nvPicPr>
          <p:blipFill rotWithShape="1">
            <a:blip r:embed="rId4">
              <a:extLst>
                <a:ext uri="{28A0092B-C50C-407E-A947-70E740481C1C}">
                  <a14:useLocalDpi xmlns:a14="http://schemas.microsoft.com/office/drawing/2010/main" val="0"/>
                </a:ext>
              </a:extLst>
            </a:blip>
            <a:srcRect l="19363" t="25678" r="21303" b="24322"/>
            <a:stretch/>
          </p:blipFill>
          <p:spPr>
            <a:xfrm>
              <a:off x="4791548" y="424576"/>
              <a:ext cx="553396" cy="466344"/>
            </a:xfrm>
            <a:prstGeom prst="rect">
              <a:avLst/>
            </a:prstGeom>
          </p:spPr>
        </p:pic>
        <p:pic>
          <p:nvPicPr>
            <p:cNvPr id="86" name="Picture 85" descr="A close up of a logo&#10;&#10;Description automatically generated">
              <a:extLst>
                <a:ext uri="{FF2B5EF4-FFF2-40B4-BE49-F238E27FC236}">
                  <a16:creationId xmlns:a16="http://schemas.microsoft.com/office/drawing/2014/main" id="{967EC08B-58AF-4DAF-ABBA-B9BE0210ACA7}"/>
                </a:ext>
              </a:extLst>
            </p:cNvPr>
            <p:cNvPicPr>
              <a:picLocks noChangeAspect="1"/>
            </p:cNvPicPr>
            <p:nvPr/>
          </p:nvPicPr>
          <p:blipFill rotWithShape="1">
            <a:blip r:embed="rId5">
              <a:extLst>
                <a:ext uri="{28A0092B-C50C-407E-A947-70E740481C1C}">
                  <a14:useLocalDpi xmlns:a14="http://schemas.microsoft.com/office/drawing/2010/main" val="0"/>
                </a:ext>
              </a:extLst>
            </a:blip>
            <a:srcRect l="20903" t="23476" r="24336" b="24572"/>
            <a:stretch/>
          </p:blipFill>
          <p:spPr>
            <a:xfrm>
              <a:off x="5829085" y="424576"/>
              <a:ext cx="491552" cy="466344"/>
            </a:xfrm>
            <a:prstGeom prst="rect">
              <a:avLst/>
            </a:prstGeom>
          </p:spPr>
        </p:pic>
        <p:pic>
          <p:nvPicPr>
            <p:cNvPr id="87" name="Picture 86">
              <a:extLst>
                <a:ext uri="{FF2B5EF4-FFF2-40B4-BE49-F238E27FC236}">
                  <a16:creationId xmlns:a16="http://schemas.microsoft.com/office/drawing/2014/main" id="{3FFF43A9-5BB9-4DD5-BF73-5498D5AEE238}"/>
                </a:ext>
              </a:extLst>
            </p:cNvPr>
            <p:cNvPicPr>
              <a:picLocks noChangeAspect="1"/>
            </p:cNvPicPr>
            <p:nvPr/>
          </p:nvPicPr>
          <p:blipFill rotWithShape="1">
            <a:blip r:embed="rId6">
              <a:extLst>
                <a:ext uri="{28A0092B-C50C-407E-A947-70E740481C1C}">
                  <a14:useLocalDpi xmlns:a14="http://schemas.microsoft.com/office/drawing/2010/main" val="0"/>
                </a:ext>
              </a:extLst>
            </a:blip>
            <a:srcRect l="21028" t="25227" r="22949" b="24578"/>
            <a:stretch/>
          </p:blipFill>
          <p:spPr>
            <a:xfrm>
              <a:off x="6842545" y="453675"/>
              <a:ext cx="520497" cy="466344"/>
            </a:xfrm>
            <a:prstGeom prst="rect">
              <a:avLst/>
            </a:prstGeom>
          </p:spPr>
        </p:pic>
      </p:grpSp>
      <p:grpSp>
        <p:nvGrpSpPr>
          <p:cNvPr id="11" name="Group 10">
            <a:extLst>
              <a:ext uri="{FF2B5EF4-FFF2-40B4-BE49-F238E27FC236}">
                <a16:creationId xmlns:a16="http://schemas.microsoft.com/office/drawing/2014/main" id="{EDD79CBE-6233-4D05-B921-69F0BAF3C652}"/>
              </a:ext>
            </a:extLst>
          </p:cNvPr>
          <p:cNvGrpSpPr/>
          <p:nvPr/>
        </p:nvGrpSpPr>
        <p:grpSpPr>
          <a:xfrm>
            <a:off x="3223031" y="2850857"/>
            <a:ext cx="2869292" cy="716661"/>
            <a:chOff x="4711029" y="2709281"/>
            <a:chExt cx="2869292" cy="716661"/>
          </a:xfrm>
        </p:grpSpPr>
        <p:pic>
          <p:nvPicPr>
            <p:cNvPr id="90" name="Picture 89" descr="A close up of a sign&#10;&#10;Description automatically generated">
              <a:extLst>
                <a:ext uri="{FF2B5EF4-FFF2-40B4-BE49-F238E27FC236}">
                  <a16:creationId xmlns:a16="http://schemas.microsoft.com/office/drawing/2014/main" id="{14EF0515-691B-42D9-8DF1-F6BD697E6719}"/>
                </a:ext>
              </a:extLst>
            </p:cNvPr>
            <p:cNvPicPr>
              <a:picLocks noChangeAspect="1"/>
            </p:cNvPicPr>
            <p:nvPr/>
          </p:nvPicPr>
          <p:blipFill rotWithShape="1">
            <a:blip r:embed="rId7">
              <a:extLst>
                <a:ext uri="{28A0092B-C50C-407E-A947-70E740481C1C}">
                  <a14:useLocalDpi xmlns:a14="http://schemas.microsoft.com/office/drawing/2010/main" val="0"/>
                </a:ext>
              </a:extLst>
            </a:blip>
            <a:srcRect l="18758" t="18840" r="15292" b="18834"/>
            <a:stretch/>
          </p:blipFill>
          <p:spPr>
            <a:xfrm>
              <a:off x="5857414" y="2709281"/>
              <a:ext cx="493458" cy="466344"/>
            </a:xfrm>
            <a:prstGeom prst="rect">
              <a:avLst/>
            </a:prstGeom>
          </p:spPr>
        </p:pic>
        <p:sp>
          <p:nvSpPr>
            <p:cNvPr id="91" name="object 22">
              <a:extLst>
                <a:ext uri="{FF2B5EF4-FFF2-40B4-BE49-F238E27FC236}">
                  <a16:creationId xmlns:a16="http://schemas.microsoft.com/office/drawing/2014/main" id="{08115EA9-7B85-4790-AA82-7F0010EFF61A}"/>
                </a:ext>
              </a:extLst>
            </p:cNvPr>
            <p:cNvSpPr txBox="1"/>
            <p:nvPr/>
          </p:nvSpPr>
          <p:spPr>
            <a:xfrm>
              <a:off x="5678812" y="3261367"/>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Forms</a:t>
              </a:r>
            </a:p>
          </p:txBody>
        </p:sp>
        <p:pic>
          <p:nvPicPr>
            <p:cNvPr id="94" name="Picture 14" descr="Image result for microsoft exchange icon">
              <a:extLst>
                <a:ext uri="{FF2B5EF4-FFF2-40B4-BE49-F238E27FC236}">
                  <a16:creationId xmlns:a16="http://schemas.microsoft.com/office/drawing/2014/main" id="{E7C3DD9F-5059-4006-B545-8DC9343429B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318" t="12059" r="11598" b="12001"/>
            <a:stretch/>
          </p:blipFill>
          <p:spPr bwMode="auto">
            <a:xfrm>
              <a:off x="4857330" y="2714422"/>
              <a:ext cx="473363" cy="466344"/>
            </a:xfrm>
            <a:prstGeom prst="rect">
              <a:avLst/>
            </a:prstGeom>
            <a:noFill/>
            <a:extLst>
              <a:ext uri="{909E8E84-426E-40DD-AFC4-6F175D3DCCD1}">
                <a14:hiddenFill xmlns:a14="http://schemas.microsoft.com/office/drawing/2010/main">
                  <a:solidFill>
                    <a:srgbClr val="FFFFFF"/>
                  </a:solidFill>
                </a14:hiddenFill>
              </a:ext>
            </a:extLst>
          </p:spPr>
        </p:pic>
        <p:sp>
          <p:nvSpPr>
            <p:cNvPr id="95" name="object 22">
              <a:extLst>
                <a:ext uri="{FF2B5EF4-FFF2-40B4-BE49-F238E27FC236}">
                  <a16:creationId xmlns:a16="http://schemas.microsoft.com/office/drawing/2014/main" id="{91E550CD-16B7-459D-8CA0-F6617E04B5B3}"/>
                </a:ext>
              </a:extLst>
            </p:cNvPr>
            <p:cNvSpPr txBox="1"/>
            <p:nvPr/>
          </p:nvSpPr>
          <p:spPr>
            <a:xfrm>
              <a:off x="4711029" y="3247316"/>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Exchange</a:t>
              </a:r>
            </a:p>
          </p:txBody>
        </p:sp>
        <p:pic>
          <p:nvPicPr>
            <p:cNvPr id="96" name="Picture 95">
              <a:extLst>
                <a:ext uri="{FF2B5EF4-FFF2-40B4-BE49-F238E27FC236}">
                  <a16:creationId xmlns:a16="http://schemas.microsoft.com/office/drawing/2014/main" id="{C077D4E7-D492-48FA-879D-5DFEDB753A39}"/>
                </a:ext>
              </a:extLst>
            </p:cNvPr>
            <p:cNvPicPr>
              <a:picLocks noChangeAspect="1"/>
            </p:cNvPicPr>
            <p:nvPr/>
          </p:nvPicPr>
          <p:blipFill rotWithShape="1">
            <a:blip r:embed="rId9">
              <a:extLst>
                <a:ext uri="{28A0092B-C50C-407E-A947-70E740481C1C}">
                  <a14:useLocalDpi xmlns:a14="http://schemas.microsoft.com/office/drawing/2010/main" val="0"/>
                </a:ext>
              </a:extLst>
            </a:blip>
            <a:srcRect l="22309" t="24568" r="22612" b="25162"/>
            <a:stretch/>
          </p:blipFill>
          <p:spPr>
            <a:xfrm>
              <a:off x="6860545" y="2709281"/>
              <a:ext cx="510953" cy="466344"/>
            </a:xfrm>
            <a:prstGeom prst="rect">
              <a:avLst/>
            </a:prstGeom>
          </p:spPr>
        </p:pic>
        <p:sp>
          <p:nvSpPr>
            <p:cNvPr id="101" name="object 22">
              <a:extLst>
                <a:ext uri="{FF2B5EF4-FFF2-40B4-BE49-F238E27FC236}">
                  <a16:creationId xmlns:a16="http://schemas.microsoft.com/office/drawing/2014/main" id="{0BA76437-4DC7-4C46-9706-077DBDAC6B43}"/>
                </a:ext>
              </a:extLst>
            </p:cNvPr>
            <p:cNvSpPr txBox="1"/>
            <p:nvPr/>
          </p:nvSpPr>
          <p:spPr>
            <a:xfrm>
              <a:off x="6742348" y="3261367"/>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Word</a:t>
              </a:r>
            </a:p>
          </p:txBody>
        </p:sp>
      </p:grpSp>
      <p:grpSp>
        <p:nvGrpSpPr>
          <p:cNvPr id="12" name="Group 11">
            <a:extLst>
              <a:ext uri="{FF2B5EF4-FFF2-40B4-BE49-F238E27FC236}">
                <a16:creationId xmlns:a16="http://schemas.microsoft.com/office/drawing/2014/main" id="{B454AD31-DFB0-4729-BB53-CA8C5CB3CBFF}"/>
              </a:ext>
            </a:extLst>
          </p:cNvPr>
          <p:cNvGrpSpPr/>
          <p:nvPr/>
        </p:nvGrpSpPr>
        <p:grpSpPr>
          <a:xfrm>
            <a:off x="6114066" y="2832665"/>
            <a:ext cx="2876444" cy="671453"/>
            <a:chOff x="4678728" y="3804208"/>
            <a:chExt cx="2876444" cy="671453"/>
          </a:xfrm>
        </p:grpSpPr>
        <p:sp>
          <p:nvSpPr>
            <p:cNvPr id="67" name="object 22">
              <a:extLst>
                <a:ext uri="{FF2B5EF4-FFF2-40B4-BE49-F238E27FC236}">
                  <a16:creationId xmlns:a16="http://schemas.microsoft.com/office/drawing/2014/main" id="{0BF6DF8F-FDEB-48CA-8E6E-0DE6C0B4FE4D}"/>
                </a:ext>
              </a:extLst>
            </p:cNvPr>
            <p:cNvSpPr txBox="1"/>
            <p:nvPr/>
          </p:nvSpPr>
          <p:spPr>
            <a:xfrm>
              <a:off x="4678728" y="4311086"/>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Sway</a:t>
              </a:r>
            </a:p>
          </p:txBody>
        </p:sp>
        <p:pic>
          <p:nvPicPr>
            <p:cNvPr id="88" name="Picture 12" descr="Image result for microsoft sway icon">
              <a:extLst>
                <a:ext uri="{FF2B5EF4-FFF2-40B4-BE49-F238E27FC236}">
                  <a16:creationId xmlns:a16="http://schemas.microsoft.com/office/drawing/2014/main" id="{CCA8DE95-EB52-4A20-B10F-62BB75426423}"/>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0859" t="10290" r="7442" b="10462"/>
            <a:stretch/>
          </p:blipFill>
          <p:spPr bwMode="auto">
            <a:xfrm>
              <a:off x="4857330" y="3819620"/>
              <a:ext cx="480767" cy="466344"/>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96" descr="A picture containing object&#10;&#10;Description automatically generated">
              <a:extLst>
                <a:ext uri="{FF2B5EF4-FFF2-40B4-BE49-F238E27FC236}">
                  <a16:creationId xmlns:a16="http://schemas.microsoft.com/office/drawing/2014/main" id="{A39873C8-C599-4317-B7EE-93E3A20393F3}"/>
                </a:ext>
              </a:extLst>
            </p:cNvPr>
            <p:cNvPicPr>
              <a:picLocks noChangeAspect="1"/>
            </p:cNvPicPr>
            <p:nvPr/>
          </p:nvPicPr>
          <p:blipFill rotWithShape="1">
            <a:blip r:embed="rId11">
              <a:extLst>
                <a:ext uri="{28A0092B-C50C-407E-A947-70E740481C1C}">
                  <a14:useLocalDpi xmlns:a14="http://schemas.microsoft.com/office/drawing/2010/main" val="0"/>
                </a:ext>
              </a:extLst>
            </a:blip>
            <a:srcRect l="22843" t="24568" r="22079" b="25162"/>
            <a:stretch/>
          </p:blipFill>
          <p:spPr>
            <a:xfrm>
              <a:off x="5836847" y="3860673"/>
              <a:ext cx="510953" cy="466344"/>
            </a:xfrm>
            <a:prstGeom prst="rect">
              <a:avLst/>
            </a:prstGeom>
          </p:spPr>
        </p:pic>
        <p:sp>
          <p:nvSpPr>
            <p:cNvPr id="100" name="object 22">
              <a:extLst>
                <a:ext uri="{FF2B5EF4-FFF2-40B4-BE49-F238E27FC236}">
                  <a16:creationId xmlns:a16="http://schemas.microsoft.com/office/drawing/2014/main" id="{CBE73CD6-A9A1-4B9F-AF93-F9606D4A4199}"/>
                </a:ext>
              </a:extLst>
            </p:cNvPr>
            <p:cNvSpPr txBox="1"/>
            <p:nvPr/>
          </p:nvSpPr>
          <p:spPr>
            <a:xfrm>
              <a:off x="5710824" y="4304157"/>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Excel</a:t>
              </a:r>
            </a:p>
          </p:txBody>
        </p:sp>
        <p:sp>
          <p:nvSpPr>
            <p:cNvPr id="102" name="object 22">
              <a:extLst>
                <a:ext uri="{FF2B5EF4-FFF2-40B4-BE49-F238E27FC236}">
                  <a16:creationId xmlns:a16="http://schemas.microsoft.com/office/drawing/2014/main" id="{58128BF1-E2A2-4EAD-B596-6A7B3BAEE56B}"/>
                </a:ext>
              </a:extLst>
            </p:cNvPr>
            <p:cNvSpPr txBox="1"/>
            <p:nvPr/>
          </p:nvSpPr>
          <p:spPr>
            <a:xfrm>
              <a:off x="6717199" y="4307067"/>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OneDrive</a:t>
              </a:r>
            </a:p>
          </p:txBody>
        </p:sp>
        <p:pic>
          <p:nvPicPr>
            <p:cNvPr id="103" name="Picture 8">
              <a:extLst>
                <a:ext uri="{FF2B5EF4-FFF2-40B4-BE49-F238E27FC236}">
                  <a16:creationId xmlns:a16="http://schemas.microsoft.com/office/drawing/2014/main" id="{56CF3E8C-DBC4-4ADC-AB41-3FB3752525C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90951" y="3804208"/>
              <a:ext cx="727952" cy="46634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54518226-48A3-4247-9915-468E4B017C10}"/>
              </a:ext>
            </a:extLst>
          </p:cNvPr>
          <p:cNvGrpSpPr/>
          <p:nvPr/>
        </p:nvGrpSpPr>
        <p:grpSpPr>
          <a:xfrm>
            <a:off x="6167619" y="1758783"/>
            <a:ext cx="2861790" cy="695354"/>
            <a:chOff x="4693131" y="1629417"/>
            <a:chExt cx="2861790" cy="695354"/>
          </a:xfrm>
        </p:grpSpPr>
        <p:sp>
          <p:nvSpPr>
            <p:cNvPr id="89" name="object 22">
              <a:extLst>
                <a:ext uri="{FF2B5EF4-FFF2-40B4-BE49-F238E27FC236}">
                  <a16:creationId xmlns:a16="http://schemas.microsoft.com/office/drawing/2014/main" id="{6522217F-2751-46CA-9923-0A1C93468051}"/>
                </a:ext>
              </a:extLst>
            </p:cNvPr>
            <p:cNvSpPr txBox="1"/>
            <p:nvPr/>
          </p:nvSpPr>
          <p:spPr>
            <a:xfrm>
              <a:off x="4693131" y="2160196"/>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Chatbots</a:t>
              </a:r>
            </a:p>
          </p:txBody>
        </p:sp>
        <p:pic>
          <p:nvPicPr>
            <p:cNvPr id="92" name="Picture 91">
              <a:extLst>
                <a:ext uri="{FF2B5EF4-FFF2-40B4-BE49-F238E27FC236}">
                  <a16:creationId xmlns:a16="http://schemas.microsoft.com/office/drawing/2014/main" id="{B7506505-F7F6-4D04-923B-EBABADD98224}"/>
                </a:ext>
              </a:extLst>
            </p:cNvPr>
            <p:cNvPicPr>
              <a:picLocks noChangeAspect="1"/>
            </p:cNvPicPr>
            <p:nvPr/>
          </p:nvPicPr>
          <p:blipFill rotWithShape="1">
            <a:blip r:embed="rId13">
              <a:extLst>
                <a:ext uri="{28A0092B-C50C-407E-A947-70E740481C1C}">
                  <a14:useLocalDpi xmlns:a14="http://schemas.microsoft.com/office/drawing/2010/main" val="0"/>
                </a:ext>
              </a:extLst>
            </a:blip>
            <a:srcRect l="23987" t="27438" r="22185" b="24085"/>
            <a:stretch/>
          </p:blipFill>
          <p:spPr>
            <a:xfrm>
              <a:off x="5806367" y="1647432"/>
              <a:ext cx="517829" cy="466344"/>
            </a:xfrm>
            <a:prstGeom prst="rect">
              <a:avLst/>
            </a:prstGeom>
          </p:spPr>
        </p:pic>
        <p:sp>
          <p:nvSpPr>
            <p:cNvPr id="93" name="object 22">
              <a:extLst>
                <a:ext uri="{FF2B5EF4-FFF2-40B4-BE49-F238E27FC236}">
                  <a16:creationId xmlns:a16="http://schemas.microsoft.com/office/drawing/2014/main" id="{51C62ACB-50B1-46DB-822C-B56791BF52B6}"/>
                </a:ext>
              </a:extLst>
            </p:cNvPr>
            <p:cNvSpPr txBox="1"/>
            <p:nvPr/>
          </p:nvSpPr>
          <p:spPr>
            <a:xfrm>
              <a:off x="5658814" y="2155116"/>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Outlook</a:t>
              </a:r>
            </a:p>
          </p:txBody>
        </p:sp>
        <p:pic>
          <p:nvPicPr>
            <p:cNvPr id="98" name="Picture 97" descr="A close up of a logo&#10;&#10;Description automatically generated">
              <a:extLst>
                <a:ext uri="{FF2B5EF4-FFF2-40B4-BE49-F238E27FC236}">
                  <a16:creationId xmlns:a16="http://schemas.microsoft.com/office/drawing/2014/main" id="{4EA5A8D8-2C9F-45AA-849B-D5099FA69E2F}"/>
                </a:ext>
              </a:extLst>
            </p:cNvPr>
            <p:cNvPicPr>
              <a:picLocks noChangeAspect="1"/>
            </p:cNvPicPr>
            <p:nvPr/>
          </p:nvPicPr>
          <p:blipFill rotWithShape="1">
            <a:blip r:embed="rId14">
              <a:extLst>
                <a:ext uri="{28A0092B-C50C-407E-A947-70E740481C1C}">
                  <a14:useLocalDpi xmlns:a14="http://schemas.microsoft.com/office/drawing/2010/main" val="0"/>
                </a:ext>
              </a:extLst>
            </a:blip>
            <a:srcRect l="21670" t="24838" r="22944" b="24892"/>
            <a:stretch/>
          </p:blipFill>
          <p:spPr>
            <a:xfrm>
              <a:off x="6859119" y="1629417"/>
              <a:ext cx="513806" cy="466344"/>
            </a:xfrm>
            <a:prstGeom prst="rect">
              <a:avLst/>
            </a:prstGeom>
          </p:spPr>
        </p:pic>
        <p:sp>
          <p:nvSpPr>
            <p:cNvPr id="99" name="object 22">
              <a:extLst>
                <a:ext uri="{FF2B5EF4-FFF2-40B4-BE49-F238E27FC236}">
                  <a16:creationId xmlns:a16="http://schemas.microsoft.com/office/drawing/2014/main" id="{AC9C70ED-5248-4223-8345-2BF35BABC9F1}"/>
                </a:ext>
              </a:extLst>
            </p:cNvPr>
            <p:cNvSpPr txBox="1"/>
            <p:nvPr/>
          </p:nvSpPr>
          <p:spPr>
            <a:xfrm>
              <a:off x="6716948" y="2136401"/>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PowerPoint</a:t>
              </a:r>
            </a:p>
          </p:txBody>
        </p:sp>
        <p:pic>
          <p:nvPicPr>
            <p:cNvPr id="104" name="Picture 2">
              <a:extLst>
                <a:ext uri="{FF2B5EF4-FFF2-40B4-BE49-F238E27FC236}">
                  <a16:creationId xmlns:a16="http://schemas.microsoft.com/office/drawing/2014/main" id="{1320CD40-3B1A-4605-9217-46A8642B40A2}"/>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3372" r="22904"/>
            <a:stretch/>
          </p:blipFill>
          <p:spPr bwMode="auto">
            <a:xfrm>
              <a:off x="4857330" y="1629417"/>
              <a:ext cx="477426" cy="466344"/>
            </a:xfrm>
            <a:prstGeom prst="rect">
              <a:avLst/>
            </a:prstGeom>
            <a:noFill/>
            <a:extLst>
              <a:ext uri="{909E8E84-426E-40DD-AFC4-6F175D3DCCD1}">
                <a14:hiddenFill xmlns:a14="http://schemas.microsoft.com/office/drawing/2010/main">
                  <a:solidFill>
                    <a:srgbClr val="FFFFFF"/>
                  </a:solidFill>
                </a14:hiddenFill>
              </a:ext>
            </a:extLst>
          </p:spPr>
        </p:pic>
      </p:grpSp>
      <p:sp>
        <p:nvSpPr>
          <p:cNvPr id="106" name="object 22">
            <a:extLst>
              <a:ext uri="{FF2B5EF4-FFF2-40B4-BE49-F238E27FC236}">
                <a16:creationId xmlns:a16="http://schemas.microsoft.com/office/drawing/2014/main" id="{ACF5D4F3-FFDF-4564-91D6-330E1D02EB29}"/>
              </a:ext>
            </a:extLst>
          </p:cNvPr>
          <p:cNvSpPr txBox="1"/>
          <p:nvPr/>
        </p:nvSpPr>
        <p:spPr>
          <a:xfrm>
            <a:off x="9518175" y="3368933"/>
            <a:ext cx="837973" cy="318463"/>
          </a:xfrm>
          <a:prstGeom prst="rect">
            <a:avLst/>
          </a:prstGeom>
          <a:noFill/>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Azure Data Lake</a:t>
            </a:r>
          </a:p>
        </p:txBody>
      </p:sp>
      <p:sp>
        <p:nvSpPr>
          <p:cNvPr id="108" name="object 22">
            <a:extLst>
              <a:ext uri="{FF2B5EF4-FFF2-40B4-BE49-F238E27FC236}">
                <a16:creationId xmlns:a16="http://schemas.microsoft.com/office/drawing/2014/main" id="{6A920653-7381-4D95-B3C8-B41C2A000E5D}"/>
              </a:ext>
            </a:extLst>
          </p:cNvPr>
          <p:cNvSpPr txBox="1"/>
          <p:nvPr/>
        </p:nvSpPr>
        <p:spPr>
          <a:xfrm>
            <a:off x="9528574" y="2310098"/>
            <a:ext cx="837973" cy="318463"/>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Data Warehouse</a:t>
            </a:r>
          </a:p>
        </p:txBody>
      </p:sp>
      <p:pic>
        <p:nvPicPr>
          <p:cNvPr id="110" name="Picture 16" descr="Image result for datasense">
            <a:extLst>
              <a:ext uri="{FF2B5EF4-FFF2-40B4-BE49-F238E27FC236}">
                <a16:creationId xmlns:a16="http://schemas.microsoft.com/office/drawing/2014/main" id="{0A28248D-7432-493E-B4F7-D017340FD969}"/>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24689" y="2838463"/>
            <a:ext cx="466344" cy="466344"/>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111">
            <a:extLst>
              <a:ext uri="{FF2B5EF4-FFF2-40B4-BE49-F238E27FC236}">
                <a16:creationId xmlns:a16="http://schemas.microsoft.com/office/drawing/2014/main" id="{FAC7F72B-3A92-4D3E-9589-27BFB61F785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707877" y="1811761"/>
            <a:ext cx="466344" cy="466344"/>
          </a:xfrm>
          <a:prstGeom prst="rect">
            <a:avLst/>
          </a:prstGeom>
        </p:spPr>
      </p:pic>
      <p:grpSp>
        <p:nvGrpSpPr>
          <p:cNvPr id="13" name="Group 12">
            <a:extLst>
              <a:ext uri="{FF2B5EF4-FFF2-40B4-BE49-F238E27FC236}">
                <a16:creationId xmlns:a16="http://schemas.microsoft.com/office/drawing/2014/main" id="{0D63F0CA-513D-4066-9F4D-B83B0CF5BBE0}"/>
              </a:ext>
            </a:extLst>
          </p:cNvPr>
          <p:cNvGrpSpPr/>
          <p:nvPr/>
        </p:nvGrpSpPr>
        <p:grpSpPr>
          <a:xfrm>
            <a:off x="10572807" y="1819850"/>
            <a:ext cx="1055029" cy="1893202"/>
            <a:chOff x="9368791" y="-2477"/>
            <a:chExt cx="1055029" cy="1893202"/>
          </a:xfrm>
        </p:grpSpPr>
        <p:sp>
          <p:nvSpPr>
            <p:cNvPr id="107" name="object 22">
              <a:extLst>
                <a:ext uri="{FF2B5EF4-FFF2-40B4-BE49-F238E27FC236}">
                  <a16:creationId xmlns:a16="http://schemas.microsoft.com/office/drawing/2014/main" id="{96F763F2-D3FF-4D02-9800-5B42069719D5}"/>
                </a:ext>
              </a:extLst>
            </p:cNvPr>
            <p:cNvSpPr txBox="1"/>
            <p:nvPr/>
          </p:nvSpPr>
          <p:spPr>
            <a:xfrm>
              <a:off x="9461822" y="535332"/>
              <a:ext cx="837973" cy="16457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Power BI</a:t>
              </a:r>
            </a:p>
          </p:txBody>
        </p:sp>
        <p:sp>
          <p:nvSpPr>
            <p:cNvPr id="109" name="object 22">
              <a:extLst>
                <a:ext uri="{FF2B5EF4-FFF2-40B4-BE49-F238E27FC236}">
                  <a16:creationId xmlns:a16="http://schemas.microsoft.com/office/drawing/2014/main" id="{D794AB2D-90B7-45D1-B5FC-EEEC7AABE814}"/>
                </a:ext>
              </a:extLst>
            </p:cNvPr>
            <p:cNvSpPr txBox="1"/>
            <p:nvPr/>
          </p:nvSpPr>
          <p:spPr>
            <a:xfrm>
              <a:off x="9368791" y="1572262"/>
              <a:ext cx="1055029" cy="318463"/>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a:ln>
                    <a:noFill/>
                  </a:ln>
                  <a:solidFill>
                    <a:srgbClr val="FFFFFF"/>
                  </a:solidFill>
                  <a:effectLst/>
                  <a:uLnTx/>
                  <a:uFillTx/>
                  <a:latin typeface="Segoe UI"/>
                  <a:ea typeface="+mn-ea"/>
                  <a:cs typeface="+mn-cs"/>
                </a:rPr>
                <a:t>Augmented Machine Learning</a:t>
              </a:r>
            </a:p>
          </p:txBody>
        </p:sp>
        <p:pic>
          <p:nvPicPr>
            <p:cNvPr id="111" name="Picture 18" descr="Image result for powerbi icon">
              <a:extLst>
                <a:ext uri="{FF2B5EF4-FFF2-40B4-BE49-F238E27FC236}">
                  <a16:creationId xmlns:a16="http://schemas.microsoft.com/office/drawing/2014/main" id="{828DBC62-7C69-4112-9EAE-1ADC5D4343B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l="1644" t="4173" r="75095" b="5238"/>
            <a:stretch/>
          </p:blipFill>
          <p:spPr bwMode="auto">
            <a:xfrm>
              <a:off x="9667544" y="-2477"/>
              <a:ext cx="451483" cy="466344"/>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13">
              <a:extLst>
                <a:ext uri="{FF2B5EF4-FFF2-40B4-BE49-F238E27FC236}">
                  <a16:creationId xmlns:a16="http://schemas.microsoft.com/office/drawing/2014/main" id="{8D52E4D4-79EC-45B8-A791-E3AA5F49983E}"/>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647243" y="1051699"/>
              <a:ext cx="466344" cy="466344"/>
            </a:xfrm>
            <a:prstGeom prst="rect">
              <a:avLst/>
            </a:prstGeom>
          </p:spPr>
        </p:pic>
      </p:grpSp>
      <p:grpSp>
        <p:nvGrpSpPr>
          <p:cNvPr id="27" name="Group 26">
            <a:extLst>
              <a:ext uri="{FF2B5EF4-FFF2-40B4-BE49-F238E27FC236}">
                <a16:creationId xmlns:a16="http://schemas.microsoft.com/office/drawing/2014/main" id="{0AB36217-C060-42D4-85FB-D56CBA285D5B}"/>
              </a:ext>
            </a:extLst>
          </p:cNvPr>
          <p:cNvGrpSpPr/>
          <p:nvPr/>
        </p:nvGrpSpPr>
        <p:grpSpPr>
          <a:xfrm>
            <a:off x="590712" y="4671223"/>
            <a:ext cx="981097" cy="847932"/>
            <a:chOff x="590712" y="5077618"/>
            <a:chExt cx="981097" cy="847932"/>
          </a:xfrm>
        </p:grpSpPr>
        <p:sp>
          <p:nvSpPr>
            <p:cNvPr id="130" name="object 22">
              <a:extLst>
                <a:ext uri="{FF2B5EF4-FFF2-40B4-BE49-F238E27FC236}">
                  <a16:creationId xmlns:a16="http://schemas.microsoft.com/office/drawing/2014/main" id="{86EA114B-9C2E-4ED7-B55A-DA16335D6A97}"/>
                </a:ext>
              </a:extLst>
            </p:cNvPr>
            <p:cNvSpPr txBox="1"/>
            <p:nvPr/>
          </p:nvSpPr>
          <p:spPr>
            <a:xfrm>
              <a:off x="590712" y="5637865"/>
              <a:ext cx="981097" cy="287685"/>
            </a:xfrm>
            <a:prstGeom prst="rect">
              <a:avLst/>
            </a:prstGeom>
            <a:noFill/>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Azure Active Directory</a:t>
              </a:r>
            </a:p>
          </p:txBody>
        </p:sp>
        <p:pic>
          <p:nvPicPr>
            <p:cNvPr id="132" name="Picture 131">
              <a:extLst>
                <a:ext uri="{FF2B5EF4-FFF2-40B4-BE49-F238E27FC236}">
                  <a16:creationId xmlns:a16="http://schemas.microsoft.com/office/drawing/2014/main" id="{9B6150A0-70EB-41AC-81EB-003C3075441E}"/>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46576" y="5077618"/>
              <a:ext cx="469369" cy="469369"/>
            </a:xfrm>
            <a:prstGeom prst="rect">
              <a:avLst/>
            </a:prstGeom>
            <a:effectLst>
              <a:outerShdw blurRad="50800" dist="38100" algn="l" rotWithShape="0">
                <a:prstClr val="black">
                  <a:alpha val="40000"/>
                </a:prstClr>
              </a:outerShdw>
            </a:effectLst>
          </p:spPr>
        </p:pic>
      </p:grpSp>
      <p:grpSp>
        <p:nvGrpSpPr>
          <p:cNvPr id="26" name="Group 25">
            <a:extLst>
              <a:ext uri="{FF2B5EF4-FFF2-40B4-BE49-F238E27FC236}">
                <a16:creationId xmlns:a16="http://schemas.microsoft.com/office/drawing/2014/main" id="{56308411-97E2-4BC9-AB77-7D34B5DF570C}"/>
              </a:ext>
            </a:extLst>
          </p:cNvPr>
          <p:cNvGrpSpPr/>
          <p:nvPr/>
        </p:nvGrpSpPr>
        <p:grpSpPr>
          <a:xfrm>
            <a:off x="1601719" y="4729113"/>
            <a:ext cx="837973" cy="651543"/>
            <a:chOff x="1601719" y="5135508"/>
            <a:chExt cx="837973" cy="651543"/>
          </a:xfrm>
        </p:grpSpPr>
        <p:sp>
          <p:nvSpPr>
            <p:cNvPr id="131" name="object 22">
              <a:extLst>
                <a:ext uri="{FF2B5EF4-FFF2-40B4-BE49-F238E27FC236}">
                  <a16:creationId xmlns:a16="http://schemas.microsoft.com/office/drawing/2014/main" id="{21B1B39C-566A-4217-8EB8-59F78CB4C2A6}"/>
                </a:ext>
              </a:extLst>
            </p:cNvPr>
            <p:cNvSpPr txBox="1"/>
            <p:nvPr/>
          </p:nvSpPr>
          <p:spPr>
            <a:xfrm>
              <a:off x="1601719" y="5637865"/>
              <a:ext cx="837973" cy="149186"/>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Azure SQL</a:t>
              </a:r>
            </a:p>
          </p:txBody>
        </p:sp>
        <p:pic>
          <p:nvPicPr>
            <p:cNvPr id="133" name="Picture 132">
              <a:extLst>
                <a:ext uri="{FF2B5EF4-FFF2-40B4-BE49-F238E27FC236}">
                  <a16:creationId xmlns:a16="http://schemas.microsoft.com/office/drawing/2014/main" id="{87161C43-41F3-41D7-B2C3-90BD7AE74761}"/>
                </a:ext>
              </a:extLst>
            </p:cNvPr>
            <p:cNvPicPr>
              <a:picLocks noChangeAspect="1"/>
            </p:cNvPicPr>
            <p:nvPr/>
          </p:nvPicPr>
          <p:blipFill>
            <a:blip r:embed="rId2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787533" y="5135508"/>
              <a:ext cx="466344" cy="466344"/>
            </a:xfrm>
            <a:prstGeom prst="rect">
              <a:avLst/>
            </a:prstGeom>
            <a:effectLst>
              <a:outerShdw blurRad="50800" dist="38100" dir="10800000" algn="r" rotWithShape="0">
                <a:prstClr val="black">
                  <a:alpha val="40000"/>
                </a:prstClr>
              </a:outerShdw>
            </a:effectLst>
          </p:spPr>
        </p:pic>
      </p:grpSp>
      <p:grpSp>
        <p:nvGrpSpPr>
          <p:cNvPr id="22" name="Group 21">
            <a:extLst>
              <a:ext uri="{FF2B5EF4-FFF2-40B4-BE49-F238E27FC236}">
                <a16:creationId xmlns:a16="http://schemas.microsoft.com/office/drawing/2014/main" id="{4B709582-BB88-4A77-9574-545A6D179D2B}"/>
              </a:ext>
            </a:extLst>
          </p:cNvPr>
          <p:cNvGrpSpPr/>
          <p:nvPr/>
        </p:nvGrpSpPr>
        <p:grpSpPr>
          <a:xfrm>
            <a:off x="9212435" y="4697566"/>
            <a:ext cx="837973" cy="849717"/>
            <a:chOff x="9298216" y="5103961"/>
            <a:chExt cx="837973" cy="849717"/>
          </a:xfrm>
        </p:grpSpPr>
        <p:sp>
          <p:nvSpPr>
            <p:cNvPr id="137" name="object 22">
              <a:extLst>
                <a:ext uri="{FF2B5EF4-FFF2-40B4-BE49-F238E27FC236}">
                  <a16:creationId xmlns:a16="http://schemas.microsoft.com/office/drawing/2014/main" id="{869394B3-488F-4319-84C2-47A5524B94DD}"/>
                </a:ext>
              </a:extLst>
            </p:cNvPr>
            <p:cNvSpPr txBox="1"/>
            <p:nvPr/>
          </p:nvSpPr>
          <p:spPr>
            <a:xfrm>
              <a:off x="9298216" y="5665993"/>
              <a:ext cx="837973" cy="28768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API Management</a:t>
              </a:r>
            </a:p>
          </p:txBody>
        </p:sp>
        <p:pic>
          <p:nvPicPr>
            <p:cNvPr id="141" name="Picture 140">
              <a:extLst>
                <a:ext uri="{FF2B5EF4-FFF2-40B4-BE49-F238E27FC236}">
                  <a16:creationId xmlns:a16="http://schemas.microsoft.com/office/drawing/2014/main" id="{CC696E32-026E-420C-81BE-F805868747AB}"/>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9470689" y="5103961"/>
              <a:ext cx="493027" cy="493027"/>
            </a:xfrm>
            <a:prstGeom prst="rect">
              <a:avLst/>
            </a:prstGeom>
            <a:effectLst>
              <a:outerShdw blurRad="50800" dist="38100" dir="8100000" algn="tr" rotWithShape="0">
                <a:prstClr val="black">
                  <a:alpha val="40000"/>
                </a:prstClr>
              </a:outerShdw>
            </a:effectLst>
          </p:spPr>
        </p:pic>
      </p:grpSp>
      <p:grpSp>
        <p:nvGrpSpPr>
          <p:cNvPr id="23" name="Group 22">
            <a:extLst>
              <a:ext uri="{FF2B5EF4-FFF2-40B4-BE49-F238E27FC236}">
                <a16:creationId xmlns:a16="http://schemas.microsoft.com/office/drawing/2014/main" id="{9F7B5D4E-9743-417F-A4E4-BE1D98D059F3}"/>
              </a:ext>
            </a:extLst>
          </p:cNvPr>
          <p:cNvGrpSpPr/>
          <p:nvPr/>
        </p:nvGrpSpPr>
        <p:grpSpPr>
          <a:xfrm>
            <a:off x="10302361" y="4814389"/>
            <a:ext cx="493027" cy="595999"/>
            <a:chOff x="10267918" y="5220784"/>
            <a:chExt cx="493027" cy="595999"/>
          </a:xfrm>
        </p:grpSpPr>
        <p:sp>
          <p:nvSpPr>
            <p:cNvPr id="138" name="object 22">
              <a:extLst>
                <a:ext uri="{FF2B5EF4-FFF2-40B4-BE49-F238E27FC236}">
                  <a16:creationId xmlns:a16="http://schemas.microsoft.com/office/drawing/2014/main" id="{67340A17-0775-4E97-97D5-2BCD8F306401}"/>
                </a:ext>
              </a:extLst>
            </p:cNvPr>
            <p:cNvSpPr txBox="1"/>
            <p:nvPr/>
          </p:nvSpPr>
          <p:spPr>
            <a:xfrm>
              <a:off x="10355830" y="5667597"/>
              <a:ext cx="317202" cy="149186"/>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Flow</a:t>
              </a:r>
            </a:p>
          </p:txBody>
        </p:sp>
        <p:pic>
          <p:nvPicPr>
            <p:cNvPr id="142" name="Picture 26" descr="Image result for microsoft flow icon">
              <a:extLst>
                <a:ext uri="{FF2B5EF4-FFF2-40B4-BE49-F238E27FC236}">
                  <a16:creationId xmlns:a16="http://schemas.microsoft.com/office/drawing/2014/main" id="{377A3BDD-C13C-42E4-948D-084BD6F4673A}"/>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l="22981" t="8328" r="22920" b="5927"/>
            <a:stretch/>
          </p:blipFill>
          <p:spPr bwMode="auto">
            <a:xfrm>
              <a:off x="10267918" y="5220784"/>
              <a:ext cx="493027" cy="376204"/>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24" name="Group 23">
            <a:extLst>
              <a:ext uri="{FF2B5EF4-FFF2-40B4-BE49-F238E27FC236}">
                <a16:creationId xmlns:a16="http://schemas.microsoft.com/office/drawing/2014/main" id="{083A5DA2-7A31-4B16-A789-7DD1DE1B472C}"/>
              </a:ext>
            </a:extLst>
          </p:cNvPr>
          <p:cNvGrpSpPr/>
          <p:nvPr/>
        </p:nvGrpSpPr>
        <p:grpSpPr>
          <a:xfrm>
            <a:off x="11047342" y="4766030"/>
            <a:ext cx="576960" cy="621498"/>
            <a:chOff x="11047342" y="5172425"/>
            <a:chExt cx="576960" cy="621498"/>
          </a:xfrm>
        </p:grpSpPr>
        <p:sp>
          <p:nvSpPr>
            <p:cNvPr id="139" name="object 22">
              <a:extLst>
                <a:ext uri="{FF2B5EF4-FFF2-40B4-BE49-F238E27FC236}">
                  <a16:creationId xmlns:a16="http://schemas.microsoft.com/office/drawing/2014/main" id="{0B41E9EE-3B12-46E4-A06D-FAE82C204520}"/>
                </a:ext>
              </a:extLst>
            </p:cNvPr>
            <p:cNvSpPr txBox="1"/>
            <p:nvPr/>
          </p:nvSpPr>
          <p:spPr>
            <a:xfrm>
              <a:off x="11047342" y="5644737"/>
              <a:ext cx="576960" cy="149186"/>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Logic Apps</a:t>
              </a:r>
            </a:p>
          </p:txBody>
        </p:sp>
        <p:pic>
          <p:nvPicPr>
            <p:cNvPr id="143" name="Picture 28" descr="Image result for microsoft logic app icon">
              <a:extLst>
                <a:ext uri="{FF2B5EF4-FFF2-40B4-BE49-F238E27FC236}">
                  <a16:creationId xmlns:a16="http://schemas.microsoft.com/office/drawing/2014/main" id="{1EF299B4-D767-4B03-8EB5-DE7C4B5F3187}"/>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123541" y="5172425"/>
              <a:ext cx="424563" cy="383813"/>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21" name="Group 20">
            <a:extLst>
              <a:ext uri="{FF2B5EF4-FFF2-40B4-BE49-F238E27FC236}">
                <a16:creationId xmlns:a16="http://schemas.microsoft.com/office/drawing/2014/main" id="{9C9018B1-C3A3-45E5-96D1-51F66B207EA8}"/>
              </a:ext>
            </a:extLst>
          </p:cNvPr>
          <p:cNvGrpSpPr/>
          <p:nvPr/>
        </p:nvGrpSpPr>
        <p:grpSpPr>
          <a:xfrm>
            <a:off x="8333607" y="4802264"/>
            <a:ext cx="626875" cy="750941"/>
            <a:chOff x="8333607" y="5208659"/>
            <a:chExt cx="626875" cy="750941"/>
          </a:xfrm>
        </p:grpSpPr>
        <p:pic>
          <p:nvPicPr>
            <p:cNvPr id="140" name="Picture 139">
              <a:extLst>
                <a:ext uri="{FF2B5EF4-FFF2-40B4-BE49-F238E27FC236}">
                  <a16:creationId xmlns:a16="http://schemas.microsoft.com/office/drawing/2014/main" id="{D5051D28-7EE2-4793-9DFC-D565D658D858}"/>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452880" y="5208659"/>
              <a:ext cx="388329" cy="388329"/>
            </a:xfrm>
            <a:prstGeom prst="rect">
              <a:avLst/>
            </a:prstGeom>
            <a:effectLst>
              <a:outerShdw blurRad="50800" dist="38100" dir="8100000" algn="tr" rotWithShape="0">
                <a:prstClr val="black">
                  <a:alpha val="40000"/>
                </a:prstClr>
              </a:outerShdw>
            </a:effectLst>
          </p:spPr>
        </p:pic>
        <p:sp>
          <p:nvSpPr>
            <p:cNvPr id="144" name="object 22">
              <a:extLst>
                <a:ext uri="{FF2B5EF4-FFF2-40B4-BE49-F238E27FC236}">
                  <a16:creationId xmlns:a16="http://schemas.microsoft.com/office/drawing/2014/main" id="{3239CEB2-5152-4732-A74E-9C2878900F90}"/>
                </a:ext>
              </a:extLst>
            </p:cNvPr>
            <p:cNvSpPr txBox="1"/>
            <p:nvPr/>
          </p:nvSpPr>
          <p:spPr>
            <a:xfrm>
              <a:off x="8333607" y="5671915"/>
              <a:ext cx="626875" cy="287685"/>
            </a:xfrm>
            <a:prstGeom prst="rect">
              <a:avLst/>
            </a:prstGeom>
            <a:noFill/>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Azure Data Factory</a:t>
              </a:r>
            </a:p>
          </p:txBody>
        </p:sp>
      </p:grpSp>
      <p:grpSp>
        <p:nvGrpSpPr>
          <p:cNvPr id="18" name="Group 17">
            <a:extLst>
              <a:ext uri="{FF2B5EF4-FFF2-40B4-BE49-F238E27FC236}">
                <a16:creationId xmlns:a16="http://schemas.microsoft.com/office/drawing/2014/main" id="{4AB6F0E5-9CDC-4751-AECF-D5539B7EE4BE}"/>
              </a:ext>
            </a:extLst>
          </p:cNvPr>
          <p:cNvGrpSpPr/>
          <p:nvPr/>
        </p:nvGrpSpPr>
        <p:grpSpPr>
          <a:xfrm>
            <a:off x="6491534" y="4805090"/>
            <a:ext cx="464834" cy="562904"/>
            <a:chOff x="6506740" y="5211485"/>
            <a:chExt cx="464834" cy="562904"/>
          </a:xfrm>
        </p:grpSpPr>
        <p:sp>
          <p:nvSpPr>
            <p:cNvPr id="118" name="object 22">
              <a:extLst>
                <a:ext uri="{FF2B5EF4-FFF2-40B4-BE49-F238E27FC236}">
                  <a16:creationId xmlns:a16="http://schemas.microsoft.com/office/drawing/2014/main" id="{9C7F695F-D84C-4F27-8497-2F09E11073B9}"/>
                </a:ext>
              </a:extLst>
            </p:cNvPr>
            <p:cNvSpPr txBox="1"/>
            <p:nvPr/>
          </p:nvSpPr>
          <p:spPr>
            <a:xfrm>
              <a:off x="6566109" y="5625203"/>
              <a:ext cx="346096" cy="149186"/>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Intune</a:t>
              </a:r>
            </a:p>
          </p:txBody>
        </p:sp>
        <p:pic>
          <p:nvPicPr>
            <p:cNvPr id="145" name="Picture 144">
              <a:extLst>
                <a:ext uri="{FF2B5EF4-FFF2-40B4-BE49-F238E27FC236}">
                  <a16:creationId xmlns:a16="http://schemas.microsoft.com/office/drawing/2014/main" id="{B19ED952-62F8-42F4-9195-7A353E0F3421}"/>
                </a:ext>
              </a:extLst>
            </p:cNvPr>
            <p:cNvPicPr>
              <a:picLocks noChangeAspect="1"/>
            </p:cNvPicPr>
            <p:nvPr/>
          </p:nvPicPr>
          <p:blipFill>
            <a:blip r:embed="rId26"/>
            <a:stretch>
              <a:fillRect/>
            </a:stretch>
          </p:blipFill>
          <p:spPr>
            <a:xfrm>
              <a:off x="6506740" y="5211485"/>
              <a:ext cx="464834" cy="371283"/>
            </a:xfrm>
            <a:prstGeom prst="rect">
              <a:avLst/>
            </a:prstGeom>
            <a:effectLst>
              <a:outerShdw blurRad="50800" dist="38100" dir="10800000" algn="r" rotWithShape="0">
                <a:prstClr val="black">
                  <a:alpha val="40000"/>
                </a:prstClr>
              </a:outerShdw>
            </a:effectLst>
          </p:spPr>
        </p:pic>
      </p:grpSp>
      <p:grpSp>
        <p:nvGrpSpPr>
          <p:cNvPr id="17" name="Group 16">
            <a:extLst>
              <a:ext uri="{FF2B5EF4-FFF2-40B4-BE49-F238E27FC236}">
                <a16:creationId xmlns:a16="http://schemas.microsoft.com/office/drawing/2014/main" id="{B2280EC1-B05F-45A5-BC0A-8BB76CED858D}"/>
              </a:ext>
            </a:extLst>
          </p:cNvPr>
          <p:cNvGrpSpPr/>
          <p:nvPr/>
        </p:nvGrpSpPr>
        <p:grpSpPr>
          <a:xfrm>
            <a:off x="7281333" y="4805090"/>
            <a:ext cx="454960" cy="701403"/>
            <a:chOff x="7281333" y="5211485"/>
            <a:chExt cx="454960" cy="701403"/>
          </a:xfrm>
        </p:grpSpPr>
        <p:sp>
          <p:nvSpPr>
            <p:cNvPr id="119" name="object 22">
              <a:extLst>
                <a:ext uri="{FF2B5EF4-FFF2-40B4-BE49-F238E27FC236}">
                  <a16:creationId xmlns:a16="http://schemas.microsoft.com/office/drawing/2014/main" id="{03A9CB3A-2C3D-40C6-9FE9-F8029A0B6A89}"/>
                </a:ext>
              </a:extLst>
            </p:cNvPr>
            <p:cNvSpPr txBox="1"/>
            <p:nvPr/>
          </p:nvSpPr>
          <p:spPr>
            <a:xfrm>
              <a:off x="7281333" y="5625203"/>
              <a:ext cx="454960" cy="28768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Network Security</a:t>
              </a:r>
            </a:p>
          </p:txBody>
        </p:sp>
        <p:pic>
          <p:nvPicPr>
            <p:cNvPr id="146" name="Picture 145" descr="A close up of a logo&#10;&#10;Description automatically generated">
              <a:extLst>
                <a:ext uri="{FF2B5EF4-FFF2-40B4-BE49-F238E27FC236}">
                  <a16:creationId xmlns:a16="http://schemas.microsoft.com/office/drawing/2014/main" id="{5B4E5106-D3CB-41F8-9AFE-2500838712CD}"/>
                </a:ext>
              </a:extLst>
            </p:cNvPr>
            <p:cNvPicPr>
              <a:picLocks noChangeAspect="1"/>
            </p:cNvPicPr>
            <p:nvPr/>
          </p:nvPicPr>
          <p:blipFill>
            <a:blip r:embed="rId27"/>
            <a:stretch>
              <a:fillRect/>
            </a:stretch>
          </p:blipFill>
          <p:spPr>
            <a:xfrm>
              <a:off x="7323172" y="5211485"/>
              <a:ext cx="371283" cy="371283"/>
            </a:xfrm>
            <a:prstGeom prst="rect">
              <a:avLst/>
            </a:prstGeom>
            <a:effectLst>
              <a:outerShdw blurRad="50800" dist="38100" dir="8100000" algn="tr" rotWithShape="0">
                <a:prstClr val="black">
                  <a:alpha val="40000"/>
                </a:prstClr>
              </a:outerShdw>
            </a:effectLst>
          </p:spPr>
        </p:pic>
      </p:grpSp>
      <p:grpSp>
        <p:nvGrpSpPr>
          <p:cNvPr id="20" name="Group 19">
            <a:extLst>
              <a:ext uri="{FF2B5EF4-FFF2-40B4-BE49-F238E27FC236}">
                <a16:creationId xmlns:a16="http://schemas.microsoft.com/office/drawing/2014/main" id="{AF111AF6-CA0B-487B-A42E-DFA6C83D1050}"/>
              </a:ext>
            </a:extLst>
          </p:cNvPr>
          <p:cNvGrpSpPr/>
          <p:nvPr/>
        </p:nvGrpSpPr>
        <p:grpSpPr>
          <a:xfrm>
            <a:off x="4372937" y="4774797"/>
            <a:ext cx="784633" cy="731696"/>
            <a:chOff x="4372937" y="5181192"/>
            <a:chExt cx="784633" cy="731696"/>
          </a:xfrm>
        </p:grpSpPr>
        <p:sp>
          <p:nvSpPr>
            <p:cNvPr id="116" name="object 22">
              <a:extLst>
                <a:ext uri="{FF2B5EF4-FFF2-40B4-BE49-F238E27FC236}">
                  <a16:creationId xmlns:a16="http://schemas.microsoft.com/office/drawing/2014/main" id="{2CC39A48-161E-4734-8DF1-85B8A908DC52}"/>
                </a:ext>
              </a:extLst>
            </p:cNvPr>
            <p:cNvSpPr txBox="1"/>
            <p:nvPr/>
          </p:nvSpPr>
          <p:spPr>
            <a:xfrm>
              <a:off x="4372937" y="5625203"/>
              <a:ext cx="784633" cy="287685"/>
            </a:xfrm>
            <a:prstGeom prst="rect">
              <a:avLst/>
            </a:prstGeom>
            <a:noFill/>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Multi-Factor Authentication</a:t>
              </a:r>
            </a:p>
          </p:txBody>
        </p:sp>
        <p:pic>
          <p:nvPicPr>
            <p:cNvPr id="147" name="Picture 146" descr="A close up of a logo&#10;&#10;Description automatically generated">
              <a:extLst>
                <a:ext uri="{FF2B5EF4-FFF2-40B4-BE49-F238E27FC236}">
                  <a16:creationId xmlns:a16="http://schemas.microsoft.com/office/drawing/2014/main" id="{0E717D46-E679-4914-AFE0-25CCC2B7B4E6}"/>
                </a:ext>
              </a:extLst>
            </p:cNvPr>
            <p:cNvPicPr>
              <a:picLocks noChangeAspect="1"/>
            </p:cNvPicPr>
            <p:nvPr/>
          </p:nvPicPr>
          <p:blipFill>
            <a:blip r:embed="rId28"/>
            <a:stretch>
              <a:fillRect/>
            </a:stretch>
          </p:blipFill>
          <p:spPr>
            <a:xfrm>
              <a:off x="4564465" y="5181192"/>
              <a:ext cx="401576" cy="401576"/>
            </a:xfrm>
            <a:prstGeom prst="rect">
              <a:avLst/>
            </a:prstGeom>
          </p:spPr>
        </p:pic>
      </p:grpSp>
      <p:grpSp>
        <p:nvGrpSpPr>
          <p:cNvPr id="19" name="Group 18">
            <a:extLst>
              <a:ext uri="{FF2B5EF4-FFF2-40B4-BE49-F238E27FC236}">
                <a16:creationId xmlns:a16="http://schemas.microsoft.com/office/drawing/2014/main" id="{E558604A-23E0-423B-A3B9-A8828F480B88}"/>
              </a:ext>
            </a:extLst>
          </p:cNvPr>
          <p:cNvGrpSpPr/>
          <p:nvPr/>
        </p:nvGrpSpPr>
        <p:grpSpPr>
          <a:xfrm>
            <a:off x="5482534" y="4735551"/>
            <a:ext cx="684036" cy="770942"/>
            <a:chOff x="5522114" y="5141946"/>
            <a:chExt cx="684036" cy="770942"/>
          </a:xfrm>
        </p:grpSpPr>
        <p:sp>
          <p:nvSpPr>
            <p:cNvPr id="117" name="object 22">
              <a:extLst>
                <a:ext uri="{FF2B5EF4-FFF2-40B4-BE49-F238E27FC236}">
                  <a16:creationId xmlns:a16="http://schemas.microsoft.com/office/drawing/2014/main" id="{0076F8BF-9E5E-4507-9F21-AA640ADBCF92}"/>
                </a:ext>
              </a:extLst>
            </p:cNvPr>
            <p:cNvSpPr txBox="1"/>
            <p:nvPr/>
          </p:nvSpPr>
          <p:spPr>
            <a:xfrm>
              <a:off x="5522114" y="5625203"/>
              <a:ext cx="684036" cy="28768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Information Protection</a:t>
              </a:r>
            </a:p>
          </p:txBody>
        </p:sp>
        <p:pic>
          <p:nvPicPr>
            <p:cNvPr id="148" name="Picture 147" descr="A close up of a logo&#10;&#10;Description automatically generated">
              <a:extLst>
                <a:ext uri="{FF2B5EF4-FFF2-40B4-BE49-F238E27FC236}">
                  <a16:creationId xmlns:a16="http://schemas.microsoft.com/office/drawing/2014/main" id="{CEFCA552-1972-40B3-AC3D-90896BD6C943}"/>
                </a:ext>
              </a:extLst>
            </p:cNvPr>
            <p:cNvPicPr>
              <a:picLocks noChangeAspect="1"/>
            </p:cNvPicPr>
            <p:nvPr/>
          </p:nvPicPr>
          <p:blipFill>
            <a:blip r:embed="rId29"/>
            <a:stretch>
              <a:fillRect/>
            </a:stretch>
          </p:blipFill>
          <p:spPr>
            <a:xfrm>
              <a:off x="5643721" y="5141946"/>
              <a:ext cx="440822" cy="440822"/>
            </a:xfrm>
            <a:prstGeom prst="rect">
              <a:avLst/>
            </a:prstGeom>
            <a:effectLst>
              <a:outerShdw blurRad="50800" dist="38100" dir="10800000" algn="r" rotWithShape="0">
                <a:prstClr val="black">
                  <a:alpha val="40000"/>
                </a:prstClr>
              </a:outerShdw>
            </a:effectLst>
          </p:spPr>
        </p:pic>
      </p:grpSp>
      <p:grpSp>
        <p:nvGrpSpPr>
          <p:cNvPr id="25" name="Group 24">
            <a:extLst>
              <a:ext uri="{FF2B5EF4-FFF2-40B4-BE49-F238E27FC236}">
                <a16:creationId xmlns:a16="http://schemas.microsoft.com/office/drawing/2014/main" id="{FED466F5-FE79-4DC2-BF47-09DA4FB270F5}"/>
              </a:ext>
            </a:extLst>
          </p:cNvPr>
          <p:cNvGrpSpPr/>
          <p:nvPr/>
        </p:nvGrpSpPr>
        <p:grpSpPr>
          <a:xfrm>
            <a:off x="2824567" y="4692802"/>
            <a:ext cx="837973" cy="826353"/>
            <a:chOff x="2531359" y="5099197"/>
            <a:chExt cx="837973" cy="826353"/>
          </a:xfrm>
        </p:grpSpPr>
        <p:sp>
          <p:nvSpPr>
            <p:cNvPr id="135" name="object 22">
              <a:extLst>
                <a:ext uri="{FF2B5EF4-FFF2-40B4-BE49-F238E27FC236}">
                  <a16:creationId xmlns:a16="http://schemas.microsoft.com/office/drawing/2014/main" id="{1AE715E2-2FAB-4169-B4C0-2598911BC57F}"/>
                </a:ext>
              </a:extLst>
            </p:cNvPr>
            <p:cNvSpPr txBox="1"/>
            <p:nvPr/>
          </p:nvSpPr>
          <p:spPr>
            <a:xfrm>
              <a:off x="2531359" y="5637865"/>
              <a:ext cx="837973" cy="287685"/>
            </a:xfrm>
            <a:prstGeom prst="rect">
              <a:avLst/>
            </a:prstGeom>
            <a:ln>
              <a:noFill/>
            </a:ln>
          </p:spPr>
          <p:txBody>
            <a:bodyPr vert="horz" wrap="square" lIns="0" tIns="10583" rIns="0" bIns="0" rtlCol="0">
              <a:spAutoFit/>
            </a:bodyPr>
            <a:lstStyle/>
            <a:p>
              <a:pPr marL="10583" marR="0" lvl="0" indent="0" algn="ctr" defTabSz="914400" rtl="0" eaLnBrk="1" fontAlgn="auto" latinLnBrk="0" hangingPunct="1">
                <a:lnSpc>
                  <a:spcPct val="100000"/>
                </a:lnSpc>
                <a:spcBef>
                  <a:spcPts val="600"/>
                </a:spcBef>
                <a:spcAft>
                  <a:spcPts val="0"/>
                </a:spcAft>
                <a:buClrTx/>
                <a:buSzTx/>
                <a:buFontTx/>
                <a:buNone/>
                <a:tabLst/>
                <a:defRPr/>
              </a:pPr>
              <a:r>
                <a:rPr kumimoji="0" lang="en-US" sz="900" b="0" i="0" u="none" strike="noStrike" kern="0" cap="none" spc="0" normalizeH="0" baseline="0" noProof="0">
                  <a:ln>
                    <a:noFill/>
                  </a:ln>
                  <a:solidFill>
                    <a:srgbClr val="FFFFFF"/>
                  </a:solidFill>
                  <a:effectLst/>
                  <a:uLnTx/>
                  <a:uFillTx/>
                  <a:latin typeface="Segoe UI"/>
                  <a:ea typeface="+mn-ea"/>
                  <a:cs typeface="+mn-cs"/>
                </a:rPr>
                <a:t>School Data Sync</a:t>
              </a:r>
            </a:p>
          </p:txBody>
        </p:sp>
        <p:pic>
          <p:nvPicPr>
            <p:cNvPr id="149" name="Picture 148" descr="A close up of a logo&#10;&#10;Description automatically generated">
              <a:extLst>
                <a:ext uri="{FF2B5EF4-FFF2-40B4-BE49-F238E27FC236}">
                  <a16:creationId xmlns:a16="http://schemas.microsoft.com/office/drawing/2014/main" id="{84F16EB1-A848-4BBB-9278-8C66D5B4A4B0}"/>
                </a:ext>
              </a:extLst>
            </p:cNvPr>
            <p:cNvPicPr>
              <a:picLocks noChangeAspect="1"/>
            </p:cNvPicPr>
            <p:nvPr/>
          </p:nvPicPr>
          <p:blipFill>
            <a:blip r:embed="rId30">
              <a:duotone>
                <a:schemeClr val="accent1">
                  <a:shade val="45000"/>
                  <a:satMod val="135000"/>
                </a:schemeClr>
                <a:prstClr val="white"/>
              </a:duotone>
              <a:extLst>
                <a:ext uri="{BEBA8EAE-BF5A-486C-A8C5-ECC9F3942E4B}">
                  <a14:imgProps xmlns:a14="http://schemas.microsoft.com/office/drawing/2010/main">
                    <a14:imgLayer r:embed="rId31">
                      <a14:imgEffect>
                        <a14:brightnessContrast contrast="-40000"/>
                      </a14:imgEffect>
                    </a14:imgLayer>
                  </a14:imgProps>
                </a:ext>
              </a:extLst>
            </a:blip>
            <a:stretch>
              <a:fillRect/>
            </a:stretch>
          </p:blipFill>
          <p:spPr>
            <a:xfrm>
              <a:off x="2678300" y="5099197"/>
              <a:ext cx="544091" cy="544091"/>
            </a:xfrm>
            <a:prstGeom prst="rect">
              <a:avLst/>
            </a:prstGeom>
            <a:effectLst>
              <a:outerShdw blurRad="50800" dist="38100" dir="10800000" algn="r" rotWithShape="0">
                <a:prstClr val="black">
                  <a:alpha val="40000"/>
                </a:prstClr>
              </a:outerShdw>
            </a:effectLst>
          </p:spPr>
        </p:pic>
      </p:grpSp>
      <p:sp>
        <p:nvSpPr>
          <p:cNvPr id="105" name="TextBox 104">
            <a:extLst>
              <a:ext uri="{FF2B5EF4-FFF2-40B4-BE49-F238E27FC236}">
                <a16:creationId xmlns:a16="http://schemas.microsoft.com/office/drawing/2014/main" id="{DA5D03AB-D037-43B9-9978-104A121DB8FE}"/>
              </a:ext>
            </a:extLst>
          </p:cNvPr>
          <p:cNvSpPr txBox="1"/>
          <p:nvPr/>
        </p:nvSpPr>
        <p:spPr>
          <a:xfrm>
            <a:off x="455646" y="273036"/>
            <a:ext cx="11117793"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8AD1"/>
                </a:solidFill>
                <a:effectLst/>
                <a:uLnTx/>
                <a:uFillTx/>
                <a:latin typeface="Segoe UI Light"/>
                <a:ea typeface="+mn-ea"/>
                <a:cs typeface="+mn-cs"/>
              </a:rPr>
              <a:t>ETF</a:t>
            </a:r>
            <a:r>
              <a:rPr kumimoji="0" lang="en-US" sz="4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Light"/>
                <a:ea typeface="+mn-ea"/>
                <a:cs typeface="+mn-cs"/>
              </a:rPr>
              <a:t> Technology</a:t>
            </a:r>
            <a:endParaRPr kumimoji="0" lang="en-US" sz="4000" b="0" i="0" u="none" strike="noStrike" kern="1200" cap="none" spc="0" normalizeH="0" baseline="0" noProof="0" dirty="0">
              <a:ln>
                <a:noFill/>
              </a:ln>
              <a:solidFill>
                <a:srgbClr val="4CB1FF"/>
              </a:solidFill>
              <a:effectLst/>
              <a:uLnTx/>
              <a:uFillTx/>
              <a:latin typeface="Segoe UI Light"/>
              <a:ea typeface="+mn-ea"/>
              <a:cs typeface="+mn-cs"/>
            </a:endParaRPr>
          </a:p>
        </p:txBody>
      </p:sp>
    </p:spTree>
    <p:extLst>
      <p:ext uri="{BB962C8B-B14F-4D97-AF65-F5344CB8AC3E}">
        <p14:creationId xmlns:p14="http://schemas.microsoft.com/office/powerpoint/2010/main" val="21819509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cxnSp>
        <p:nvCxnSpPr>
          <p:cNvPr id="62" name="Straight Connector 61"/>
          <p:cNvCxnSpPr/>
          <p:nvPr/>
        </p:nvCxnSpPr>
        <p:spPr>
          <a:xfrm flipH="1" flipV="1">
            <a:off x="3122579" y="3570050"/>
            <a:ext cx="6031149" cy="3153"/>
          </a:xfrm>
          <a:prstGeom prst="line">
            <a:avLst/>
          </a:prstGeom>
          <a:ln w="63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53" name="Picture 5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12893" y="313951"/>
            <a:ext cx="1964143" cy="1116927"/>
          </a:xfrm>
          <a:prstGeom prst="rect">
            <a:avLst/>
          </a:prstGeom>
        </p:spPr>
      </p:pic>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58191" y="313951"/>
            <a:ext cx="1964143" cy="1116927"/>
          </a:xfrm>
          <a:prstGeom prst="rect">
            <a:avLst/>
          </a:prstGeom>
        </p:spPr>
      </p:pic>
      <p:pic>
        <p:nvPicPr>
          <p:cNvPr id="55" name="Picture 5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3255" y="313951"/>
            <a:ext cx="1964143" cy="1116927"/>
          </a:xfrm>
          <a:prstGeom prst="rect">
            <a:avLst/>
          </a:prstGeom>
        </p:spPr>
      </p:pic>
      <p:sp>
        <p:nvSpPr>
          <p:cNvPr id="8" name="Rectangle 7"/>
          <p:cNvSpPr/>
          <p:nvPr/>
        </p:nvSpPr>
        <p:spPr>
          <a:xfrm>
            <a:off x="446863" y="4820461"/>
            <a:ext cx="5253545" cy="175432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113A63"/>
                </a:solidFill>
                <a:effectLst/>
                <a:uLnTx/>
                <a:uFillTx/>
                <a:latin typeface="Segoe UI"/>
                <a:ea typeface="+mn-ea"/>
                <a:cs typeface="Segoe UI Semilight" panose="020B0402040204020203" pitchFamily="34" charset="0"/>
              </a:rPr>
              <a:t>Microsof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113A63"/>
                </a:solidFill>
                <a:effectLst/>
                <a:uLnTx/>
                <a:uFillTx/>
                <a:latin typeface="Segoe UI"/>
                <a:ea typeface="+mn-ea"/>
                <a:cs typeface="Segoe UI Semilight" panose="020B0402040204020203" pitchFamily="34" charset="0"/>
              </a:rPr>
              <a:t>School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113A63"/>
                </a:solidFill>
                <a:effectLst/>
                <a:uLnTx/>
                <a:uFillTx/>
                <a:latin typeface="Segoe UI"/>
                <a:ea typeface="+mn-ea"/>
                <a:cs typeface="Segoe UI Semilight" panose="020B0402040204020203" pitchFamily="34" charset="0"/>
              </a:rPr>
              <a:t>Platform</a:t>
            </a:r>
            <a:endParaRPr kumimoji="0" lang="en-US" sz="3600" b="0" i="0" u="none" strike="noStrike" kern="1200" cap="none" spc="0" normalizeH="0" baseline="0" noProof="0" dirty="0">
              <a:ln>
                <a:noFill/>
              </a:ln>
              <a:solidFill>
                <a:srgbClr val="113A63"/>
              </a:solidFill>
              <a:effectLst/>
              <a:uLnTx/>
              <a:uFillTx/>
              <a:latin typeface="Segoe UI"/>
              <a:ea typeface="+mn-ea"/>
              <a:cs typeface="+mn-cs"/>
            </a:endParaRP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9119" y="314981"/>
            <a:ext cx="1964143" cy="111692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60829" y="-26827"/>
            <a:ext cx="2629118" cy="1495071"/>
          </a:xfrm>
          <a:prstGeom prst="rect">
            <a:avLst/>
          </a:prstGeom>
        </p:spPr>
      </p:pic>
      <p:sp>
        <p:nvSpPr>
          <p:cNvPr id="15" name="Text Placeholder 6"/>
          <p:cNvSpPr txBox="1">
            <a:spLocks/>
          </p:cNvSpPr>
          <p:nvPr/>
        </p:nvSpPr>
        <p:spPr>
          <a:xfrm>
            <a:off x="521258" y="863899"/>
            <a:ext cx="1548592" cy="43088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3863"/>
                </a:solidFill>
                <a:effectLst/>
                <a:uLnTx/>
                <a:uFillTx/>
                <a:latin typeface="Segoe UI Semibold"/>
                <a:ea typeface="+mn-ea"/>
                <a:cs typeface="Segoe UI Semilight" panose="020B0402040204020203" pitchFamily="34" charset="0"/>
              </a:rPr>
              <a:t>School specific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3863"/>
                </a:solidFill>
                <a:effectLst/>
                <a:uLnTx/>
                <a:uFillTx/>
                <a:latin typeface="Segoe UI Semibold"/>
                <a:ea typeface="+mn-ea"/>
                <a:cs typeface="Segoe UI Semilight" panose="020B0402040204020203" pitchFamily="34" charset="0"/>
              </a:rPr>
              <a:t>software</a:t>
            </a:r>
            <a:endParaRPr kumimoji="0" lang="en-US" sz="1400" b="0" i="0" u="none" strike="noStrike" kern="1200" cap="none" spc="0" normalizeH="0" baseline="0" noProof="0">
              <a:ln>
                <a:noFill/>
              </a:ln>
              <a:solidFill>
                <a:srgbClr val="003863"/>
              </a:solidFill>
              <a:effectLst/>
              <a:uLnTx/>
              <a:uFillTx/>
              <a:latin typeface="Segoe UI Semilight" panose="020B0402040204020203" pitchFamily="34" charset="0"/>
              <a:ea typeface="+mn-ea"/>
              <a:cs typeface="Segoe UI Semilight" panose="020B0402040204020203" pitchFamily="34" charset="0"/>
            </a:endParaRPr>
          </a:p>
        </p:txBody>
      </p:sp>
      <p:sp>
        <p:nvSpPr>
          <p:cNvPr id="17" name="Text Placeholder 6"/>
          <p:cNvSpPr txBox="1">
            <a:spLocks/>
          </p:cNvSpPr>
          <p:nvPr/>
        </p:nvSpPr>
        <p:spPr>
          <a:xfrm>
            <a:off x="2838268" y="432890"/>
            <a:ext cx="2250942" cy="110799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3863"/>
                </a:solidFill>
                <a:effectLst/>
                <a:uLnTx/>
                <a:uFillTx/>
                <a:latin typeface="Segoe UI Semibold"/>
                <a:ea typeface="+mn-ea"/>
                <a:cs typeface="Segoe UI Semilight" panose="020B0402040204020203" pitchFamily="34" charset="0"/>
              </a:rPr>
              <a:t>Office 365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3863"/>
                </a:solidFill>
                <a:effectLst/>
                <a:uLnTx/>
                <a:uFillTx/>
                <a:latin typeface="Segoe UI Semibold"/>
                <a:ea typeface="+mn-ea"/>
                <a:cs typeface="Segoe UI Semilight" panose="020B0402040204020203" pitchFamily="34" charset="0"/>
              </a:rPr>
              <a:t>Adobe</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3863"/>
                </a:solidFill>
                <a:effectLst/>
                <a:uLnTx/>
                <a:uFillTx/>
                <a:latin typeface="Segoe UI Semibold"/>
                <a:ea typeface="+mn-ea"/>
                <a:cs typeface="Segoe UI Semilight" panose="020B0402040204020203" pitchFamily="34" charset="0"/>
              </a:rPr>
              <a:t>Blackboard   Moodle</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3863"/>
                </a:solidFill>
                <a:effectLst/>
                <a:uLnTx/>
                <a:uFillTx/>
                <a:latin typeface="Segoe UI Semibold"/>
                <a:ea typeface="+mn-ea"/>
                <a:cs typeface="Segoe UI Semilight" panose="020B0402040204020203" pitchFamily="34" charset="0"/>
              </a:rPr>
              <a:t>Minecraft    G Suite</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dirty="0">
              <a:ln>
                <a:noFill/>
              </a:ln>
              <a:solidFill>
                <a:srgbClr val="003863"/>
              </a:solidFill>
              <a:effectLst/>
              <a:uLnTx/>
              <a:uFillTx/>
              <a:latin typeface="Segoe UI Semilight" panose="020B0402040204020203" pitchFamily="34" charset="0"/>
              <a:ea typeface="+mn-ea"/>
              <a:cs typeface="Segoe UI Semilight" panose="020B0402040204020203" pitchFamily="34" charset="0"/>
            </a:endParaRPr>
          </a:p>
        </p:txBody>
      </p:sp>
      <p:sp>
        <p:nvSpPr>
          <p:cNvPr id="18" name="Text Placeholder 6"/>
          <p:cNvSpPr txBox="1">
            <a:spLocks/>
          </p:cNvSpPr>
          <p:nvPr/>
        </p:nvSpPr>
        <p:spPr>
          <a:xfrm>
            <a:off x="5523948" y="945565"/>
            <a:ext cx="1720914" cy="21544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3863"/>
                </a:solidFill>
                <a:effectLst/>
                <a:uLnTx/>
                <a:uFillTx/>
                <a:latin typeface="Segoe UI Semibold"/>
                <a:ea typeface="+mn-ea"/>
                <a:cs typeface="Segoe UI Semilight" panose="020B0402040204020203" pitchFamily="34" charset="0"/>
              </a:rPr>
              <a:t>Office 365</a:t>
            </a:r>
            <a:endParaRPr kumimoji="0" lang="en-US" sz="1400" b="0" i="0" u="none" strike="noStrike" kern="1200" cap="none" spc="0" normalizeH="0" baseline="0" noProof="0">
              <a:ln>
                <a:noFill/>
              </a:ln>
              <a:solidFill>
                <a:srgbClr val="003863"/>
              </a:solidFill>
              <a:effectLst/>
              <a:uLnTx/>
              <a:uFillTx/>
              <a:latin typeface="Segoe UI Semilight" panose="020B0402040204020203" pitchFamily="34" charset="0"/>
              <a:ea typeface="+mn-ea"/>
              <a:cs typeface="Segoe UI Semilight" panose="020B0402040204020203" pitchFamily="34" charset="0"/>
            </a:endParaRPr>
          </a:p>
        </p:txBody>
      </p:sp>
      <p:sp>
        <p:nvSpPr>
          <p:cNvPr id="19" name="Text Placeholder 6"/>
          <p:cNvSpPr txBox="1">
            <a:spLocks/>
          </p:cNvSpPr>
          <p:nvPr/>
        </p:nvSpPr>
        <p:spPr>
          <a:xfrm>
            <a:off x="7798483" y="926449"/>
            <a:ext cx="1670832" cy="21544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3863"/>
                </a:solidFill>
                <a:effectLst/>
                <a:uLnTx/>
                <a:uFillTx/>
                <a:latin typeface="Segoe UI Semibold"/>
                <a:ea typeface="+mn-ea"/>
                <a:cs typeface="Segoe UI Semilight" panose="020B0402040204020203" pitchFamily="34" charset="0"/>
              </a:rPr>
              <a:t>Power BI</a:t>
            </a:r>
            <a:endParaRPr kumimoji="0" lang="en-US" sz="1400" b="0" i="0" u="none" strike="noStrike" kern="1200" cap="none" spc="0" normalizeH="0" baseline="0" noProof="0" dirty="0">
              <a:ln>
                <a:noFill/>
              </a:ln>
              <a:solidFill>
                <a:srgbClr val="003863"/>
              </a:solidFill>
              <a:effectLst/>
              <a:uLnTx/>
              <a:uFillTx/>
              <a:latin typeface="Segoe UI Semilight" panose="020B0402040204020203" pitchFamily="34" charset="0"/>
              <a:ea typeface="+mn-ea"/>
              <a:cs typeface="Segoe UI Semilight" panose="020B0402040204020203" pitchFamily="34" charset="0"/>
            </a:endParaRPr>
          </a:p>
        </p:txBody>
      </p:sp>
      <p:sp>
        <p:nvSpPr>
          <p:cNvPr id="20" name="Text Placeholder 6"/>
          <p:cNvSpPr txBox="1">
            <a:spLocks/>
          </p:cNvSpPr>
          <p:nvPr/>
        </p:nvSpPr>
        <p:spPr>
          <a:xfrm>
            <a:off x="10065965" y="818729"/>
            <a:ext cx="1619011" cy="43088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3863"/>
                </a:solidFill>
                <a:effectLst/>
                <a:uLnTx/>
                <a:uFillTx/>
                <a:latin typeface="Segoe UI Semibold"/>
                <a:ea typeface="+mn-ea"/>
                <a:cs typeface="Segoe UI Semilight" panose="020B0402040204020203" pitchFamily="34" charset="0"/>
              </a:rPr>
              <a:t>OneDrive</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3863"/>
                </a:solidFill>
                <a:effectLst/>
                <a:uLnTx/>
                <a:uFillTx/>
                <a:latin typeface="Segoe UI Semibold"/>
                <a:ea typeface="+mn-ea"/>
                <a:cs typeface="Segoe UI Semilight" panose="020B0402040204020203" pitchFamily="34" charset="0"/>
              </a:rPr>
              <a:t>Azure</a:t>
            </a:r>
            <a:endParaRPr kumimoji="0" lang="en-US" sz="1400" b="0" i="0" u="none" strike="noStrike" kern="1200" cap="none" spc="0" normalizeH="0" baseline="0" noProof="0">
              <a:ln>
                <a:noFill/>
              </a:ln>
              <a:solidFill>
                <a:srgbClr val="003863"/>
              </a:solidFill>
              <a:effectLst/>
              <a:uLnTx/>
              <a:uFillTx/>
              <a:latin typeface="Segoe UI Semilight" panose="020B0402040204020203" pitchFamily="34" charset="0"/>
              <a:ea typeface="+mn-ea"/>
              <a:cs typeface="Segoe UI Semilight" panose="020B0402040204020203" pitchFamily="34" charset="0"/>
            </a:endParaRPr>
          </a:p>
        </p:txBody>
      </p:sp>
      <p:sp>
        <p:nvSpPr>
          <p:cNvPr id="21" name="Text Placeholder 6"/>
          <p:cNvSpPr txBox="1">
            <a:spLocks/>
          </p:cNvSpPr>
          <p:nvPr/>
        </p:nvSpPr>
        <p:spPr>
          <a:xfrm>
            <a:off x="320402" y="1433072"/>
            <a:ext cx="2372860" cy="86177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Student Management System</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endParaRP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Teachers and admin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staff can easily manage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classes and rosters.</a:t>
            </a:r>
          </a:p>
        </p:txBody>
      </p:sp>
      <p:sp>
        <p:nvSpPr>
          <p:cNvPr id="23" name="Text Placeholder 6"/>
          <p:cNvSpPr txBox="1">
            <a:spLocks/>
          </p:cNvSpPr>
          <p:nvPr/>
        </p:nvSpPr>
        <p:spPr>
          <a:xfrm>
            <a:off x="2859638" y="1425511"/>
            <a:ext cx="1992445" cy="86177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Learning Software</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Students and staff have a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choice of world-class learning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tools and technologies.</a:t>
            </a:r>
            <a:endPar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25" name="Text Placeholder 6"/>
          <p:cNvSpPr txBox="1">
            <a:spLocks/>
          </p:cNvSpPr>
          <p:nvPr/>
        </p:nvSpPr>
        <p:spPr>
          <a:xfrm>
            <a:off x="5149634" y="1425511"/>
            <a:ext cx="2356661" cy="86177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Collaboration Tools</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Students and staff can collaborate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using email, text, online, chat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and video, as appropriate.</a:t>
            </a:r>
            <a:endPar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26" name="Text Placeholder 6"/>
          <p:cNvSpPr txBox="1">
            <a:spLocks/>
          </p:cNvSpPr>
          <p:nvPr/>
        </p:nvSpPr>
        <p:spPr>
          <a:xfrm>
            <a:off x="7653255" y="1436806"/>
            <a:ext cx="2204936" cy="104644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Powerful Insights</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School leaders and teachers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can make accurate, informed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decisions with the help of real time analytics and reporting.</a:t>
            </a:r>
            <a:endPar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sp>
        <p:nvSpPr>
          <p:cNvPr id="29" name="Text Placeholder 6"/>
          <p:cNvSpPr txBox="1">
            <a:spLocks/>
          </p:cNvSpPr>
          <p:nvPr/>
        </p:nvSpPr>
        <p:spPr>
          <a:xfrm>
            <a:off x="9911983" y="1425511"/>
            <a:ext cx="2140591" cy="86177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Data back up and storage</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8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Student data and school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resources are protected with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secure, scalable online storage</a:t>
            </a:r>
            <a:endPar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endParaRPr>
          </a:p>
        </p:txBody>
      </p:sp>
      <p:cxnSp>
        <p:nvCxnSpPr>
          <p:cNvPr id="14" name="Straight Connector 13"/>
          <p:cNvCxnSpPr/>
          <p:nvPr/>
        </p:nvCxnSpPr>
        <p:spPr>
          <a:xfrm>
            <a:off x="1429966" y="2420461"/>
            <a:ext cx="0" cy="17384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3877158" y="2408796"/>
            <a:ext cx="0" cy="19758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6040955" y="2396161"/>
            <a:ext cx="8216" cy="1932648"/>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429966" y="2602299"/>
            <a:ext cx="9583616"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11013582" y="2389318"/>
            <a:ext cx="0" cy="207844"/>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5" name="Text Placeholder 6"/>
          <p:cNvSpPr txBox="1">
            <a:spLocks/>
          </p:cNvSpPr>
          <p:nvPr/>
        </p:nvSpPr>
        <p:spPr>
          <a:xfrm>
            <a:off x="4930894" y="4689387"/>
            <a:ext cx="2220122" cy="55399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Student Centred</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Learning Approaches</a:t>
            </a:r>
            <a:endParaRPr kumimoji="0" lang="en-US"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pic>
        <p:nvPicPr>
          <p:cNvPr id="61" name="Picture 6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86226" y="2745065"/>
            <a:ext cx="2264790" cy="1287893"/>
          </a:xfrm>
          <a:prstGeom prst="rect">
            <a:avLst/>
          </a:prstGeom>
        </p:spPr>
      </p:pic>
      <p:sp>
        <p:nvSpPr>
          <p:cNvPr id="52" name="Text Placeholder 6"/>
          <p:cNvSpPr txBox="1">
            <a:spLocks/>
          </p:cNvSpPr>
          <p:nvPr/>
        </p:nvSpPr>
        <p:spPr>
          <a:xfrm>
            <a:off x="4910451" y="3329242"/>
            <a:ext cx="2220122" cy="430887"/>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3863"/>
                </a:solidFill>
                <a:effectLst/>
                <a:uLnTx/>
                <a:uFillTx/>
                <a:latin typeface="Segoe UI Semibold"/>
                <a:ea typeface="+mn-ea"/>
                <a:cs typeface="Segoe UI Semilight" panose="020B0402040204020203" pitchFamily="34" charset="0"/>
              </a:rPr>
              <a:t>Secure</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3863"/>
                </a:solidFill>
                <a:effectLst/>
                <a:uLnTx/>
                <a:uFillTx/>
                <a:latin typeface="Segoe UI Semibold"/>
                <a:ea typeface="+mn-ea"/>
                <a:cs typeface="Segoe UI Semilight" panose="020B0402040204020203" pitchFamily="34" charset="0"/>
              </a:rPr>
              <a:t> identity management</a:t>
            </a:r>
            <a:endParaRPr kumimoji="0" lang="en-US" sz="1400" b="0" i="0" u="none" strike="noStrike" kern="1200" cap="none" spc="0" normalizeH="0" baseline="0" noProof="0">
              <a:ln>
                <a:noFill/>
              </a:ln>
              <a:solidFill>
                <a:srgbClr val="003863"/>
              </a:solidFill>
              <a:effectLst/>
              <a:uLnTx/>
              <a:uFillTx/>
              <a:latin typeface="Segoe UI Semilight" panose="020B0402040204020203" pitchFamily="34" charset="0"/>
              <a:ea typeface="+mn-ea"/>
              <a:cs typeface="Segoe UI Semilight" panose="020B0402040204020203" pitchFamily="34" charset="0"/>
            </a:endParaRPr>
          </a:p>
        </p:txBody>
      </p:sp>
      <p:cxnSp>
        <p:nvCxnSpPr>
          <p:cNvPr id="67" name="Straight Connector 66"/>
          <p:cNvCxnSpPr/>
          <p:nvPr/>
        </p:nvCxnSpPr>
        <p:spPr>
          <a:xfrm>
            <a:off x="8764621" y="2594310"/>
            <a:ext cx="2307" cy="7989"/>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4" name="Text Placeholder 6"/>
          <p:cNvSpPr txBox="1">
            <a:spLocks/>
          </p:cNvSpPr>
          <p:nvPr/>
        </p:nvSpPr>
        <p:spPr>
          <a:xfrm>
            <a:off x="472801" y="3304360"/>
            <a:ext cx="4060287" cy="861774"/>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Semibold"/>
                <a:ea typeface="+mn-ea"/>
                <a:cs typeface="Segoe UI Semilight" panose="020B0402040204020203" pitchFamily="34" charset="0"/>
              </a:rPr>
              <a:t>Automated device management</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8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endParaRP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Modern device management and deployment means updates, and device management are simpler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dirty="0">
                <a:ln>
                  <a:noFill/>
                </a:ln>
                <a:solidFill>
                  <a:srgbClr val="FFFFFF"/>
                </a:solidFill>
                <a:effectLst/>
                <a:uLnTx/>
                <a:uFillTx/>
                <a:latin typeface="Segoe UI"/>
                <a:ea typeface="+mn-ea"/>
                <a:cs typeface="Segoe UI Semilight" panose="020B0402040204020203" pitchFamily="34" charset="0"/>
              </a:rPr>
              <a:t>than ever. A simple, central dashboard controls everything.</a:t>
            </a:r>
          </a:p>
        </p:txBody>
      </p:sp>
      <p:sp>
        <p:nvSpPr>
          <p:cNvPr id="76" name="Text Placeholder 6"/>
          <p:cNvSpPr txBox="1">
            <a:spLocks/>
          </p:cNvSpPr>
          <p:nvPr/>
        </p:nvSpPr>
        <p:spPr>
          <a:xfrm>
            <a:off x="7881839" y="3329203"/>
            <a:ext cx="4060287" cy="67710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Support for biometric and dual factor security</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8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endParaRP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Every staff member and student has their own secure identity to safeguard their privacy. </a:t>
            </a:r>
          </a:p>
        </p:txBody>
      </p:sp>
      <p:pic>
        <p:nvPicPr>
          <p:cNvPr id="77" name="Picture 7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10967" y="2726735"/>
            <a:ext cx="765412" cy="614413"/>
          </a:xfrm>
          <a:prstGeom prst="rect">
            <a:avLst/>
          </a:prstGeom>
        </p:spPr>
      </p:pic>
      <p:pic>
        <p:nvPicPr>
          <p:cNvPr id="78" name="Picture 7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80355" y="2755372"/>
            <a:ext cx="765412" cy="614412"/>
          </a:xfrm>
          <a:prstGeom prst="rect">
            <a:avLst/>
          </a:prstGeom>
        </p:spPr>
      </p:pic>
      <p:sp>
        <p:nvSpPr>
          <p:cNvPr id="80" name="Text Placeholder 6"/>
          <p:cNvSpPr txBox="1">
            <a:spLocks/>
          </p:cNvSpPr>
          <p:nvPr/>
        </p:nvSpPr>
        <p:spPr>
          <a:xfrm>
            <a:off x="9536521" y="2950048"/>
            <a:ext cx="2140590" cy="246221"/>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Microsoft Hello / FIDO 2</a:t>
            </a:r>
          </a:p>
        </p:txBody>
      </p:sp>
      <p:sp>
        <p:nvSpPr>
          <p:cNvPr id="81" name="Text Placeholder 6"/>
          <p:cNvSpPr txBox="1">
            <a:spLocks/>
          </p:cNvSpPr>
          <p:nvPr/>
        </p:nvSpPr>
        <p:spPr>
          <a:xfrm>
            <a:off x="2178155" y="2950048"/>
            <a:ext cx="1548592" cy="246221"/>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Microsoft Intune</a:t>
            </a:r>
          </a:p>
        </p:txBody>
      </p:sp>
      <p:pic>
        <p:nvPicPr>
          <p:cNvPr id="84" name="Picture 8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82260" y="3741098"/>
            <a:ext cx="517389" cy="512000"/>
          </a:xfrm>
          <a:prstGeom prst="rect">
            <a:avLst/>
          </a:prstGeom>
        </p:spPr>
      </p:pic>
    </p:spTree>
    <p:extLst>
      <p:ext uri="{BB962C8B-B14F-4D97-AF65-F5344CB8AC3E}">
        <p14:creationId xmlns:p14="http://schemas.microsoft.com/office/powerpoint/2010/main" val="2794257281"/>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p:nvSpPr>
        <p:spPr>
          <a:xfrm>
            <a:off x="446863" y="345734"/>
            <a:ext cx="5253545" cy="1754326"/>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Microsoft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School </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Segoe UI"/>
                <a:ea typeface="+mn-ea"/>
                <a:cs typeface="Segoe UI Semilight" panose="020B0402040204020203" pitchFamily="34" charset="0"/>
              </a:rPr>
              <a:t>Platform</a:t>
            </a:r>
            <a:endParaRPr kumimoji="0" lang="en-US" sz="3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6" name="Text Placeholder 6"/>
          <p:cNvSpPr txBox="1">
            <a:spLocks/>
          </p:cNvSpPr>
          <p:nvPr/>
        </p:nvSpPr>
        <p:spPr>
          <a:xfrm>
            <a:off x="735449" y="4763509"/>
            <a:ext cx="3155616" cy="1446550"/>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3863"/>
                </a:solidFill>
                <a:effectLst/>
                <a:uLnTx/>
                <a:uFillTx/>
                <a:latin typeface="Segoe UI Semibold"/>
                <a:ea typeface="+mn-ea"/>
                <a:cs typeface="Segoe UI Semilight" panose="020B0402040204020203" pitchFamily="34" charset="0"/>
              </a:rPr>
              <a:t>School oversight</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800" b="0" i="0" u="none" strike="noStrike" kern="1200" cap="none" spc="0" normalizeH="0" baseline="0" noProof="0">
              <a:ln>
                <a:noFill/>
              </a:ln>
              <a:solidFill>
                <a:srgbClr val="003863"/>
              </a:solidFill>
              <a:effectLst/>
              <a:uLnTx/>
              <a:uFillTx/>
              <a:latin typeface="Segoe UI"/>
              <a:ea typeface="+mn-ea"/>
              <a:cs typeface="Segoe UI Semilight" panose="020B0402040204020203" pitchFamily="34" charset="0"/>
            </a:endParaRP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lumMod val="85000"/>
                    <a:lumOff val="15000"/>
                  </a:srgbClr>
                </a:solidFill>
                <a:effectLst/>
                <a:uLnTx/>
                <a:uFillTx/>
                <a:latin typeface="Segoe UI"/>
                <a:ea typeface="+mn-ea"/>
                <a:cs typeface="Segoe UI Semilight" panose="020B0402040204020203" pitchFamily="34" charset="0"/>
              </a:rPr>
              <a:t>See patterns, issues and opportunities quickly and easily.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a:ln>
                  <a:noFill/>
                </a:ln>
                <a:solidFill>
                  <a:srgbClr val="000000">
                    <a:lumMod val="85000"/>
                    <a:lumOff val="15000"/>
                  </a:srgbClr>
                </a:solidFill>
                <a:effectLst/>
                <a:uLnTx/>
                <a:uFillTx/>
                <a:latin typeface="Segoe UI"/>
                <a:ea typeface="+mn-ea"/>
                <a:cs typeface="Segoe UI Semilight" panose="020B0402040204020203" pitchFamily="34" charset="0"/>
              </a:rPr>
              <a:t>Integrated analytics enable you to benchmark performance, attendance and wellbeing across your school.</a:t>
            </a:r>
          </a:p>
        </p:txBody>
      </p:sp>
      <p:sp>
        <p:nvSpPr>
          <p:cNvPr id="37" name="Text Placeholder 6"/>
          <p:cNvSpPr txBox="1">
            <a:spLocks/>
          </p:cNvSpPr>
          <p:nvPr/>
        </p:nvSpPr>
        <p:spPr>
          <a:xfrm>
            <a:off x="4535721" y="4760465"/>
            <a:ext cx="3155616" cy="1231106"/>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3863"/>
                </a:solidFill>
                <a:effectLst/>
                <a:uLnTx/>
                <a:uFillTx/>
                <a:latin typeface="Segoe UI Semibold"/>
                <a:ea typeface="+mn-ea"/>
                <a:cs typeface="Segoe UI Semilight" panose="020B0402040204020203" pitchFamily="34" charset="0"/>
              </a:rPr>
              <a:t>Student analytics</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800" b="0" i="0" u="none" strike="noStrike" kern="1200" cap="none" spc="0" normalizeH="0" baseline="0" noProof="0" dirty="0">
              <a:ln>
                <a:noFill/>
              </a:ln>
              <a:solidFill>
                <a:srgbClr val="003863"/>
              </a:solidFill>
              <a:effectLst/>
              <a:uLnTx/>
              <a:uFillTx/>
              <a:latin typeface="Segoe UI"/>
              <a:ea typeface="+mn-ea"/>
              <a:cs typeface="Segoe UI Semilight" panose="020B0402040204020203" pitchFamily="34" charset="0"/>
            </a:endParaRP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Segoe UI Semilight" panose="020B0402040204020203" pitchFamily="34" charset="0"/>
              </a:rPr>
              <a:t>Students can track their own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Segoe UI Semilight" panose="020B0402040204020203" pitchFamily="34" charset="0"/>
              </a:rPr>
              <a:t>performance securely, ensuring they can focus on the areas that matter most. </a:t>
            </a:r>
          </a:p>
        </p:txBody>
      </p:sp>
      <p:sp>
        <p:nvSpPr>
          <p:cNvPr id="38" name="Text Placeholder 6"/>
          <p:cNvSpPr txBox="1">
            <a:spLocks/>
          </p:cNvSpPr>
          <p:nvPr/>
        </p:nvSpPr>
        <p:spPr>
          <a:xfrm>
            <a:off x="8335994" y="4760465"/>
            <a:ext cx="3155616" cy="1015663"/>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solidFill>
                  <a:srgbClr val="003863"/>
                </a:solidFill>
                <a:effectLst/>
                <a:uLnTx/>
                <a:uFillTx/>
                <a:latin typeface="Segoe UI Semibold"/>
                <a:ea typeface="+mn-ea"/>
                <a:cs typeface="Segoe UI" panose="020B0502040204020203" pitchFamily="34" charset="0"/>
              </a:rPr>
              <a:t>Teacher analytics</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800" b="0" i="0" u="none" strike="noStrike" kern="1200" cap="none" spc="0" normalizeH="0" baseline="0" noProof="0" dirty="0">
              <a:ln>
                <a:noFill/>
              </a:ln>
              <a:solidFill>
                <a:srgbClr val="003863"/>
              </a:solidFill>
              <a:effectLst/>
              <a:uLnTx/>
              <a:uFillTx/>
              <a:latin typeface="Segoe UI"/>
              <a:ea typeface="+mn-ea"/>
              <a:cs typeface="Segoe UI Semilight" panose="020B0402040204020203" pitchFamily="34" charset="0"/>
            </a:endParaRP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Segoe UI Semilight" panose="020B0402040204020203" pitchFamily="34" charset="0"/>
              </a:rPr>
              <a:t>Teachers can monitor their class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Segoe UI Semilight" panose="020B0402040204020203" pitchFamily="34" charset="0"/>
              </a:rPr>
              <a:t>performance and wellbeing and quickly </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Segoe UI Semilight" panose="020B0402040204020203" pitchFamily="34" charset="0"/>
              </a:rPr>
              <a:t>adjust programs to </a:t>
            </a:r>
            <a:r>
              <a:rPr kumimoji="0" lang="en-US" sz="1400" b="0" i="0" u="none" strike="noStrike" kern="1200" cap="none" spc="0" normalizeH="0" baseline="0" noProof="0" dirty="0" err="1">
                <a:ln>
                  <a:noFill/>
                </a:ln>
                <a:solidFill>
                  <a:srgbClr val="000000">
                    <a:lumMod val="85000"/>
                    <a:lumOff val="15000"/>
                  </a:srgbClr>
                </a:solidFill>
                <a:effectLst/>
                <a:uLnTx/>
                <a:uFillTx/>
                <a:latin typeface="Segoe UI"/>
                <a:ea typeface="+mn-ea"/>
                <a:cs typeface="Segoe UI Semilight" panose="020B0402040204020203" pitchFamily="34" charset="0"/>
              </a:rPr>
              <a:t>optimise</a:t>
            </a:r>
            <a:r>
              <a:rPr kumimoji="0" lang="en-US" sz="1400" b="0" i="0" u="none" strike="noStrike" kern="1200" cap="none" spc="0" normalizeH="0" baseline="0" noProof="0" dirty="0">
                <a:ln>
                  <a:noFill/>
                </a:ln>
                <a:solidFill>
                  <a:srgbClr val="000000">
                    <a:lumMod val="85000"/>
                    <a:lumOff val="15000"/>
                  </a:srgbClr>
                </a:solidFill>
                <a:effectLst/>
                <a:uLnTx/>
                <a:uFillTx/>
                <a:latin typeface="Segoe UI"/>
                <a:ea typeface="+mn-ea"/>
                <a:cs typeface="Segoe UI Semilight" panose="020B0402040204020203" pitchFamily="34" charset="0"/>
              </a:rPr>
              <a:t> results.</a:t>
            </a:r>
          </a:p>
        </p:txBody>
      </p:sp>
      <p:sp>
        <p:nvSpPr>
          <p:cNvPr id="39" name="Text Placeholder 6"/>
          <p:cNvSpPr txBox="1">
            <a:spLocks/>
          </p:cNvSpPr>
          <p:nvPr/>
        </p:nvSpPr>
        <p:spPr>
          <a:xfrm>
            <a:off x="4930894" y="1004266"/>
            <a:ext cx="2220122" cy="553998"/>
          </a:xfrm>
          <a:prstGeom prst="rect">
            <a:avLst/>
          </a:prstGeom>
        </p:spPr>
        <p:txBody>
          <a:bodyPr vert="horz" wrap="square" lIns="0" tIns="0" rIns="0" bIns="0" rtlCol="0" anchor="t">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2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61988"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55663"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Student Centred</a:t>
            </a:r>
          </a:p>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Segoe UI Semilight" panose="020B0402040204020203" pitchFamily="34" charset="0"/>
              </a:rPr>
              <a:t>Learning Approaches</a:t>
            </a:r>
            <a:endParaRPr kumimoji="0" lang="en-US" sz="1800" b="0" i="0" u="none" strike="noStrike" kern="120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endParaRPr>
          </a:p>
        </p:txBody>
      </p:sp>
    </p:spTree>
    <p:extLst>
      <p:ext uri="{BB962C8B-B14F-4D97-AF65-F5344CB8AC3E}">
        <p14:creationId xmlns:p14="http://schemas.microsoft.com/office/powerpoint/2010/main" val="339438585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262626"/>
        </a:solidFill>
        <a:effectLst/>
      </p:bgPr>
    </p:bg>
    <p:spTree>
      <p:nvGrpSpPr>
        <p:cNvPr id="1" name=""/>
        <p:cNvGrpSpPr/>
        <p:nvPr/>
      </p:nvGrpSpPr>
      <p:grpSpPr>
        <a:xfrm>
          <a:off x="0" y="0"/>
          <a:ext cx="0" cy="0"/>
          <a:chOff x="0" y="0"/>
          <a:chExt cx="0" cy="0"/>
        </a:xfrm>
      </p:grpSpPr>
      <p:grpSp>
        <p:nvGrpSpPr>
          <p:cNvPr id="15" name="Group 14"/>
          <p:cNvGrpSpPr/>
          <p:nvPr/>
        </p:nvGrpSpPr>
        <p:grpSpPr>
          <a:xfrm>
            <a:off x="308296" y="97902"/>
            <a:ext cx="11575408" cy="6662196"/>
            <a:chOff x="148507" y="81048"/>
            <a:chExt cx="11575408" cy="6662196"/>
          </a:xfrm>
        </p:grpSpPr>
        <p:pic>
          <p:nvPicPr>
            <p:cNvPr id="3" name="Picture 2"/>
            <p:cNvPicPr>
              <a:picLocks noChangeAspect="1"/>
            </p:cNvPicPr>
            <p:nvPr/>
          </p:nvPicPr>
          <p:blipFill>
            <a:blip r:embed="rId2"/>
            <a:stretch>
              <a:fillRect/>
            </a:stretch>
          </p:blipFill>
          <p:spPr>
            <a:xfrm>
              <a:off x="148510" y="81048"/>
              <a:ext cx="3738879" cy="2103120"/>
            </a:xfrm>
            <a:prstGeom prst="rect">
              <a:avLst/>
            </a:prstGeom>
            <a:effectLst>
              <a:outerShdw blurRad="63500" sx="102000" sy="102000" algn="ctr" rotWithShape="0">
                <a:prstClr val="black">
                  <a:alpha val="40000"/>
                </a:prstClr>
              </a:outerShdw>
            </a:effectLst>
          </p:spPr>
        </p:pic>
        <p:pic>
          <p:nvPicPr>
            <p:cNvPr id="4" name="Picture 3"/>
            <p:cNvPicPr>
              <a:picLocks noChangeAspect="1"/>
            </p:cNvPicPr>
            <p:nvPr/>
          </p:nvPicPr>
          <p:blipFill>
            <a:blip r:embed="rId3"/>
            <a:stretch>
              <a:fillRect/>
            </a:stretch>
          </p:blipFill>
          <p:spPr>
            <a:xfrm>
              <a:off x="4066773" y="81048"/>
              <a:ext cx="3738879" cy="2103120"/>
            </a:xfrm>
            <a:prstGeom prst="rect">
              <a:avLst/>
            </a:prstGeom>
            <a:effectLst>
              <a:outerShdw blurRad="63500" sx="102000" sy="102000" algn="ctr" rotWithShape="0">
                <a:prstClr val="black">
                  <a:alpha val="40000"/>
                </a:prstClr>
              </a:outerShdw>
            </a:effectLst>
          </p:spPr>
        </p:pic>
        <p:pic>
          <p:nvPicPr>
            <p:cNvPr id="5" name="Picture 4"/>
            <p:cNvPicPr>
              <a:picLocks noChangeAspect="1"/>
            </p:cNvPicPr>
            <p:nvPr/>
          </p:nvPicPr>
          <p:blipFill>
            <a:blip r:embed="rId4"/>
            <a:stretch>
              <a:fillRect/>
            </a:stretch>
          </p:blipFill>
          <p:spPr>
            <a:xfrm>
              <a:off x="7985036" y="81048"/>
              <a:ext cx="3738879" cy="2103120"/>
            </a:xfrm>
            <a:prstGeom prst="rect">
              <a:avLst/>
            </a:prstGeom>
            <a:effectLst>
              <a:outerShdw blurRad="63500" sx="102000" sy="102000" algn="ctr" rotWithShape="0">
                <a:prstClr val="black">
                  <a:alpha val="40000"/>
                </a:prstClr>
              </a:outerShdw>
            </a:effectLst>
          </p:spPr>
        </p:pic>
        <p:pic>
          <p:nvPicPr>
            <p:cNvPr id="6" name="Picture 5"/>
            <p:cNvPicPr>
              <a:picLocks noChangeAspect="1"/>
            </p:cNvPicPr>
            <p:nvPr/>
          </p:nvPicPr>
          <p:blipFill>
            <a:blip r:embed="rId5"/>
            <a:stretch>
              <a:fillRect/>
            </a:stretch>
          </p:blipFill>
          <p:spPr>
            <a:xfrm>
              <a:off x="148507" y="2360586"/>
              <a:ext cx="3738879" cy="2103120"/>
            </a:xfrm>
            <a:prstGeom prst="rect">
              <a:avLst/>
            </a:prstGeom>
            <a:effectLst>
              <a:outerShdw blurRad="63500" sx="102000" sy="102000" algn="ctr" rotWithShape="0">
                <a:prstClr val="black">
                  <a:alpha val="40000"/>
                </a:prstClr>
              </a:outerShdw>
            </a:effectLst>
          </p:spPr>
        </p:pic>
        <p:pic>
          <p:nvPicPr>
            <p:cNvPr id="7" name="Picture 6"/>
            <p:cNvPicPr>
              <a:picLocks noChangeAspect="1"/>
            </p:cNvPicPr>
            <p:nvPr/>
          </p:nvPicPr>
          <p:blipFill>
            <a:blip r:embed="rId6"/>
            <a:stretch>
              <a:fillRect/>
            </a:stretch>
          </p:blipFill>
          <p:spPr>
            <a:xfrm>
              <a:off x="4066773" y="2360586"/>
              <a:ext cx="3738879" cy="2103120"/>
            </a:xfrm>
            <a:prstGeom prst="rect">
              <a:avLst/>
            </a:prstGeom>
            <a:effectLst>
              <a:outerShdw blurRad="63500" sx="102000" sy="102000" algn="ctr" rotWithShape="0">
                <a:prstClr val="black">
                  <a:alpha val="40000"/>
                </a:prstClr>
              </a:outerShdw>
            </a:effectLst>
          </p:spPr>
        </p:pic>
        <p:pic>
          <p:nvPicPr>
            <p:cNvPr id="8" name="Picture 7"/>
            <p:cNvPicPr>
              <a:picLocks noChangeAspect="1"/>
            </p:cNvPicPr>
            <p:nvPr/>
          </p:nvPicPr>
          <p:blipFill>
            <a:blip r:embed="rId7"/>
            <a:stretch>
              <a:fillRect/>
            </a:stretch>
          </p:blipFill>
          <p:spPr>
            <a:xfrm>
              <a:off x="7985036" y="2360586"/>
              <a:ext cx="3738879" cy="2103120"/>
            </a:xfrm>
            <a:prstGeom prst="rect">
              <a:avLst/>
            </a:prstGeom>
            <a:effectLst>
              <a:outerShdw blurRad="63500" sx="102000" sy="102000" algn="ctr" rotWithShape="0">
                <a:prstClr val="black">
                  <a:alpha val="40000"/>
                </a:prstClr>
              </a:outerShdw>
            </a:effectLst>
          </p:spPr>
        </p:pic>
        <p:pic>
          <p:nvPicPr>
            <p:cNvPr id="9" name="Picture 8"/>
            <p:cNvPicPr>
              <a:picLocks noChangeAspect="1"/>
            </p:cNvPicPr>
            <p:nvPr/>
          </p:nvPicPr>
          <p:blipFill>
            <a:blip r:embed="rId8"/>
            <a:stretch>
              <a:fillRect/>
            </a:stretch>
          </p:blipFill>
          <p:spPr>
            <a:xfrm>
              <a:off x="148507" y="4640124"/>
              <a:ext cx="3738879" cy="2103120"/>
            </a:xfrm>
            <a:prstGeom prst="rect">
              <a:avLst/>
            </a:prstGeom>
            <a:effectLst>
              <a:outerShdw blurRad="63500" sx="102000" sy="102000" algn="ctr" rotWithShape="0">
                <a:prstClr val="black">
                  <a:alpha val="40000"/>
                </a:prstClr>
              </a:outerShdw>
            </a:effectLst>
          </p:spPr>
        </p:pic>
        <p:pic>
          <p:nvPicPr>
            <p:cNvPr id="10" name="Picture 9"/>
            <p:cNvPicPr>
              <a:picLocks noChangeAspect="1"/>
            </p:cNvPicPr>
            <p:nvPr/>
          </p:nvPicPr>
          <p:blipFill>
            <a:blip r:embed="rId9"/>
            <a:stretch>
              <a:fillRect/>
            </a:stretch>
          </p:blipFill>
          <p:spPr>
            <a:xfrm>
              <a:off x="4066773" y="4640124"/>
              <a:ext cx="3738879" cy="2103120"/>
            </a:xfrm>
            <a:prstGeom prst="rect">
              <a:avLst/>
            </a:prstGeom>
            <a:effectLst>
              <a:outerShdw blurRad="63500" sx="102000" sy="102000" algn="ctr" rotWithShape="0">
                <a:prstClr val="black">
                  <a:alpha val="40000"/>
                </a:prstClr>
              </a:outerShdw>
            </a:effectLst>
          </p:spPr>
        </p:pic>
        <p:pic>
          <p:nvPicPr>
            <p:cNvPr id="11" name="Picture 10"/>
            <p:cNvPicPr>
              <a:picLocks noChangeAspect="1"/>
            </p:cNvPicPr>
            <p:nvPr/>
          </p:nvPicPr>
          <p:blipFill>
            <a:blip r:embed="rId10"/>
            <a:stretch>
              <a:fillRect/>
            </a:stretch>
          </p:blipFill>
          <p:spPr>
            <a:xfrm>
              <a:off x="7985035" y="4640124"/>
              <a:ext cx="3738879" cy="2103120"/>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75133594"/>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8EDC6D-E610-1C77-5EA2-4141E9FD8736}"/>
              </a:ext>
            </a:extLst>
          </p:cNvPr>
          <p:cNvSpPr>
            <a:spLocks noGrp="1"/>
          </p:cNvSpPr>
          <p:nvPr>
            <p:ph type="title"/>
          </p:nvPr>
        </p:nvSpPr>
        <p:spPr>
          <a:xfrm>
            <a:off x="585216" y="3035808"/>
            <a:ext cx="9144000" cy="498598"/>
          </a:xfrm>
        </p:spPr>
        <p:txBody>
          <a:bodyPr/>
          <a:lstStyle/>
          <a:p>
            <a:r>
              <a:rPr lang="en-US" dirty="0" err="1"/>
              <a:t>Najlepša</a:t>
            </a:r>
            <a:r>
              <a:rPr lang="en-US" dirty="0"/>
              <a:t> Hvala!</a:t>
            </a:r>
            <a:endParaRPr lang="en-SI" dirty="0"/>
          </a:p>
        </p:txBody>
      </p:sp>
    </p:spTree>
    <p:extLst>
      <p:ext uri="{BB962C8B-B14F-4D97-AF65-F5344CB8AC3E}">
        <p14:creationId xmlns:p14="http://schemas.microsoft.com/office/powerpoint/2010/main" val="2233339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sitting on stairs using a computer&#10;&#10;Description automatically generated with medium confidence">
            <a:extLst>
              <a:ext uri="{FF2B5EF4-FFF2-40B4-BE49-F238E27FC236}">
                <a16:creationId xmlns:a16="http://schemas.microsoft.com/office/drawing/2014/main" id="{0E1115F7-0B9A-4BE1-A113-019D03C99568}"/>
              </a:ext>
            </a:extLst>
          </p:cNvPr>
          <p:cNvPicPr>
            <a:picLocks noChangeAspect="1"/>
          </p:cNvPicPr>
          <p:nvPr/>
        </p:nvPicPr>
        <p:blipFill rotWithShape="1">
          <a:blip r:embed="rId3">
            <a:extLst>
              <a:ext uri="{28A0092B-C50C-407E-A947-70E740481C1C}">
                <a14:useLocalDpi xmlns:a14="http://schemas.microsoft.com/office/drawing/2010/main" val="0"/>
              </a:ext>
            </a:extLst>
          </a:blip>
          <a:srcRect t="7812" b="17187"/>
          <a:stretch/>
        </p:blipFill>
        <p:spPr>
          <a:xfrm>
            <a:off x="0" y="-1"/>
            <a:ext cx="12192000" cy="6858001"/>
          </a:xfrm>
          <a:prstGeom prst="rect">
            <a:avLst/>
          </a:prstGeom>
        </p:spPr>
      </p:pic>
      <p:sp>
        <p:nvSpPr>
          <p:cNvPr id="4" name="Rectangle 3">
            <a:extLst>
              <a:ext uri="{FF2B5EF4-FFF2-40B4-BE49-F238E27FC236}">
                <a16:creationId xmlns:a16="http://schemas.microsoft.com/office/drawing/2014/main" id="{ADD13DB7-01D5-43A8-A4D0-8BE8BC5828B1}"/>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0">
                <a:srgbClr val="0D0D0D">
                  <a:alpha val="0"/>
                </a:srgbClr>
              </a:gs>
              <a:gs pos="66000">
                <a:srgbClr val="0D0D0D">
                  <a:alpha val="70000"/>
                </a:srgbClr>
              </a:gs>
              <a:gs pos="83000">
                <a:srgbClr val="0D0D0D"/>
              </a:gs>
              <a:gs pos="100000">
                <a:srgbClr val="0D0D0D"/>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9" name="TextBox 8">
            <a:extLst>
              <a:ext uri="{FF2B5EF4-FFF2-40B4-BE49-F238E27FC236}">
                <a16:creationId xmlns:a16="http://schemas.microsoft.com/office/drawing/2014/main" id="{633C8BFA-9E2D-4D68-B109-BAA64DFBB3CB}"/>
              </a:ext>
            </a:extLst>
          </p:cNvPr>
          <p:cNvSpPr txBox="1"/>
          <p:nvPr/>
        </p:nvSpPr>
        <p:spPr>
          <a:xfrm>
            <a:off x="1341122" y="3772830"/>
            <a:ext cx="4754879" cy="584775"/>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a:ea typeface="+mn-ea"/>
                <a:cs typeface="+mn-cs"/>
              </a:rPr>
              <a:t>From learning </a:t>
            </a:r>
            <a:r>
              <a:rPr kumimoji="0" lang="en-US" sz="3200" b="1" i="0" u="none" strike="noStrike" kern="1200" cap="none" spc="0" normalizeH="0" baseline="0" noProof="0">
                <a:ln>
                  <a:noFill/>
                </a:ln>
                <a:solidFill>
                  <a:prstClr val="white"/>
                </a:solidFill>
                <a:effectLst/>
                <a:uLnTx/>
                <a:uFillTx/>
                <a:latin typeface="Segoe UI"/>
                <a:ea typeface="+mn-ea"/>
                <a:cs typeface="+mn-cs"/>
              </a:rPr>
              <a:t>crisis</a:t>
            </a:r>
            <a:endParaRPr kumimoji="0" lang="en-US" sz="3200" b="0" i="0" u="none" strike="noStrike" kern="1200" cap="none" spc="0" normalizeH="0" baseline="0" noProof="0">
              <a:ln>
                <a:noFill/>
              </a:ln>
              <a:solidFill>
                <a:prstClr val="white"/>
              </a:solidFill>
              <a:effectLst/>
              <a:uLnTx/>
              <a:uFillTx/>
              <a:latin typeface="Segoe UI"/>
              <a:ea typeface="+mn-ea"/>
              <a:cs typeface="+mn-cs"/>
            </a:endParaRPr>
          </a:p>
        </p:txBody>
      </p:sp>
      <p:sp>
        <p:nvSpPr>
          <p:cNvPr id="11" name="Title 10">
            <a:extLst>
              <a:ext uri="{FF2B5EF4-FFF2-40B4-BE49-F238E27FC236}">
                <a16:creationId xmlns:a16="http://schemas.microsoft.com/office/drawing/2014/main" id="{E9477671-1CEB-41C9-B67D-86C580F3345D}"/>
              </a:ext>
            </a:extLst>
          </p:cNvPr>
          <p:cNvSpPr txBox="1">
            <a:spLocks noGrp="1"/>
          </p:cNvSpPr>
          <p:nvPr>
            <p:ph type="title" idx="4294967295"/>
          </p:nvPr>
        </p:nvSpPr>
        <p:spPr>
          <a:xfrm>
            <a:off x="4935274" y="5325856"/>
            <a:ext cx="6400800"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367">
              <a:lnSpc>
                <a:spcPct val="100000"/>
              </a:lnSpc>
              <a:defRPr/>
            </a:pPr>
            <a:r>
              <a:rPr lang="en-US" sz="4000">
                <a:solidFill>
                  <a:schemeClr val="bg1"/>
                </a:solidFill>
                <a:latin typeface="Segoe UI"/>
                <a:cs typeface="+mn-cs"/>
              </a:rPr>
              <a:t>To learning </a:t>
            </a:r>
            <a:r>
              <a:rPr lang="en-US" sz="4000" b="1">
                <a:solidFill>
                  <a:schemeClr val="bg1"/>
                </a:solidFill>
                <a:latin typeface="Segoe UI"/>
                <a:cs typeface="+mn-cs"/>
              </a:rPr>
              <a:t>continuity</a:t>
            </a:r>
          </a:p>
        </p:txBody>
      </p:sp>
      <p:sp>
        <p:nvSpPr>
          <p:cNvPr id="12" name="Oval 11">
            <a:extLst>
              <a:ext uri="{FF2B5EF4-FFF2-40B4-BE49-F238E27FC236}">
                <a16:creationId xmlns:a16="http://schemas.microsoft.com/office/drawing/2014/main" id="{914EFB4D-2C32-47AB-BB0C-3E678C606F63}"/>
              </a:ext>
              <a:ext uri="{C183D7F6-B498-43B3-948B-1728B52AA6E4}">
                <adec:decorative xmlns:adec="http://schemas.microsoft.com/office/drawing/2017/decorative" val="1"/>
              </a:ext>
            </a:extLst>
          </p:cNvPr>
          <p:cNvSpPr/>
          <p:nvPr/>
        </p:nvSpPr>
        <p:spPr>
          <a:xfrm>
            <a:off x="629092" y="3828355"/>
            <a:ext cx="548640" cy="5486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Oval 12">
            <a:extLst>
              <a:ext uri="{FF2B5EF4-FFF2-40B4-BE49-F238E27FC236}">
                <a16:creationId xmlns:a16="http://schemas.microsoft.com/office/drawing/2014/main" id="{F37DB45A-B6B1-42EB-969A-A232DBAC9335}"/>
              </a:ext>
              <a:ext uri="{C183D7F6-B498-43B3-948B-1728B52AA6E4}">
                <adec:decorative xmlns:adec="http://schemas.microsoft.com/office/drawing/2017/decorative" val="1"/>
              </a:ext>
            </a:extLst>
          </p:cNvPr>
          <p:cNvSpPr/>
          <p:nvPr/>
        </p:nvSpPr>
        <p:spPr>
          <a:xfrm>
            <a:off x="4245223" y="5405478"/>
            <a:ext cx="548640" cy="5486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cxnSp>
        <p:nvCxnSpPr>
          <p:cNvPr id="15" name="Connector: Curved 14">
            <a:extLst>
              <a:ext uri="{FF2B5EF4-FFF2-40B4-BE49-F238E27FC236}">
                <a16:creationId xmlns:a16="http://schemas.microsoft.com/office/drawing/2014/main" id="{C7443F55-6FBA-4B2E-AACA-7047BE6FF9CF}"/>
              </a:ext>
              <a:ext uri="{C183D7F6-B498-43B3-948B-1728B52AA6E4}">
                <adec:decorative xmlns:adec="http://schemas.microsoft.com/office/drawing/2017/decorative" val="1"/>
              </a:ext>
            </a:extLst>
          </p:cNvPr>
          <p:cNvCxnSpPr>
            <a:cxnSpLocks/>
            <a:stCxn id="12" idx="4"/>
            <a:endCxn id="13" idx="0"/>
          </p:cNvCxnSpPr>
          <p:nvPr/>
        </p:nvCxnSpPr>
        <p:spPr>
          <a:xfrm rot="16200000" flipH="1">
            <a:off x="2197237" y="3083171"/>
            <a:ext cx="1028483" cy="3616131"/>
          </a:xfrm>
          <a:prstGeom prst="curvedConnector3">
            <a:avLst>
              <a:gd name="adj1" fmla="val 50000"/>
            </a:avLst>
          </a:prstGeom>
          <a:ln w="76200">
            <a:gradFill>
              <a:gsLst>
                <a:gs pos="0">
                  <a:schemeClr val="accent1">
                    <a:lumMod val="5000"/>
                    <a:lumOff val="95000"/>
                  </a:schemeClr>
                </a:gs>
                <a:gs pos="33000">
                  <a:schemeClr val="accent1"/>
                </a:gs>
                <a:gs pos="100000">
                  <a:schemeClr val="accent1"/>
                </a:gs>
              </a:gsLst>
              <a:lin ang="5400000" scaled="1"/>
            </a:gra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29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500" fill="hold"/>
                                        <p:tgtEl>
                                          <p:spTgt spid="12"/>
                                        </p:tgtEl>
                                        <p:attrNameLst>
                                          <p:attrName>ppt_w</p:attrName>
                                        </p:attrNameLst>
                                      </p:cBhvr>
                                      <p:tavLst>
                                        <p:tav tm="0">
                                          <p:val>
                                            <p:fltVal val="0"/>
                                          </p:val>
                                        </p:tav>
                                        <p:tav tm="100000">
                                          <p:val>
                                            <p:strVal val="#ppt_w"/>
                                          </p:val>
                                        </p:tav>
                                      </p:tavLst>
                                    </p:anim>
                                    <p:anim calcmode="lin" valueType="num">
                                      <p:cBhvr>
                                        <p:cTn id="8" dur="500" fill="hold"/>
                                        <p:tgtEl>
                                          <p:spTgt spid="12"/>
                                        </p:tgtEl>
                                        <p:attrNameLst>
                                          <p:attrName>ppt_h</p:attrName>
                                        </p:attrNameLst>
                                      </p:cBhvr>
                                      <p:tavLst>
                                        <p:tav tm="0">
                                          <p:val>
                                            <p:fltVal val="0"/>
                                          </p:val>
                                        </p:tav>
                                        <p:tav tm="100000">
                                          <p:val>
                                            <p:strVal val="#ppt_h"/>
                                          </p:val>
                                        </p:tav>
                                      </p:tavLst>
                                    </p:anim>
                                    <p:animEffect transition="in" filter="fade">
                                      <p:cBhvr>
                                        <p:cTn id="9" dur="500"/>
                                        <p:tgtEl>
                                          <p:spTgt spid="12"/>
                                        </p:tgtEl>
                                      </p:cBhvr>
                                    </p:animEffect>
                                  </p:childTnLst>
                                </p:cTn>
                              </p:par>
                            </p:childTnLst>
                          </p:cTn>
                        </p:par>
                        <p:par>
                          <p:cTn id="10" fill="hold">
                            <p:stCondLst>
                              <p:cond delay="500"/>
                            </p:stCondLst>
                            <p:childTnLst>
                              <p:par>
                                <p:cTn id="11" presetID="22" presetClass="entr" presetSubtype="8"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wipe(left)">
                                      <p:cBhvr>
                                        <p:cTn id="13" dur="500"/>
                                        <p:tgtEl>
                                          <p:spTgt spid="9"/>
                                        </p:tgtEl>
                                      </p:cBhvr>
                                    </p:animEffec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up)">
                                      <p:cBhvr>
                                        <p:cTn id="17" dur="500"/>
                                        <p:tgtEl>
                                          <p:spTgt spid="15"/>
                                        </p:tgtEl>
                                      </p:cBhvr>
                                    </p:animEffect>
                                  </p:childTnLst>
                                </p:cTn>
                              </p:par>
                            </p:childTnLst>
                          </p:cTn>
                        </p:par>
                        <p:par>
                          <p:cTn id="18" fill="hold">
                            <p:stCondLst>
                              <p:cond delay="1500"/>
                            </p:stCondLst>
                            <p:childTnLst>
                              <p:par>
                                <p:cTn id="19" presetID="53" presetClass="entr" presetSubtype="16"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p:cTn id="21" dur="500" fill="hold"/>
                                        <p:tgtEl>
                                          <p:spTgt spid="13"/>
                                        </p:tgtEl>
                                        <p:attrNameLst>
                                          <p:attrName>ppt_w</p:attrName>
                                        </p:attrNameLst>
                                      </p:cBhvr>
                                      <p:tavLst>
                                        <p:tav tm="0">
                                          <p:val>
                                            <p:fltVal val="0"/>
                                          </p:val>
                                        </p:tav>
                                        <p:tav tm="100000">
                                          <p:val>
                                            <p:strVal val="#ppt_w"/>
                                          </p:val>
                                        </p:tav>
                                      </p:tavLst>
                                    </p:anim>
                                    <p:anim calcmode="lin" valueType="num">
                                      <p:cBhvr>
                                        <p:cTn id="22" dur="500" fill="hold"/>
                                        <p:tgtEl>
                                          <p:spTgt spid="13"/>
                                        </p:tgtEl>
                                        <p:attrNameLst>
                                          <p:attrName>ppt_h</p:attrName>
                                        </p:attrNameLst>
                                      </p:cBhvr>
                                      <p:tavLst>
                                        <p:tav tm="0">
                                          <p:val>
                                            <p:fltVal val="0"/>
                                          </p:val>
                                        </p:tav>
                                        <p:tav tm="100000">
                                          <p:val>
                                            <p:strVal val="#ppt_h"/>
                                          </p:val>
                                        </p:tav>
                                      </p:tavLst>
                                    </p:anim>
                                    <p:animEffect transition="in" filter="fade">
                                      <p:cBhvr>
                                        <p:cTn id="23" dur="500"/>
                                        <p:tgtEl>
                                          <p:spTgt spid="13"/>
                                        </p:tgtEl>
                                      </p:cBhvr>
                                    </p:animEffect>
                                  </p:childTnLst>
                                </p:cTn>
                              </p:par>
                            </p:childTnLst>
                          </p:cTn>
                        </p:par>
                        <p:par>
                          <p:cTn id="24" fill="hold">
                            <p:stCondLst>
                              <p:cond delay="2000"/>
                            </p:stCondLst>
                            <p:childTnLst>
                              <p:par>
                                <p:cTn id="25" presetID="22" presetClass="entr" presetSubtype="8"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left)">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animBg="1"/>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ollage of people&#10;&#10;Description automatically generated with medium confidence">
            <a:extLst>
              <a:ext uri="{FF2B5EF4-FFF2-40B4-BE49-F238E27FC236}">
                <a16:creationId xmlns:a16="http://schemas.microsoft.com/office/drawing/2014/main" id="{373CC262-C903-44CB-B3A9-80EF24A5905D}"/>
              </a:ext>
            </a:extLst>
          </p:cNvPr>
          <p:cNvPicPr>
            <a:picLocks noChangeAspect="1"/>
          </p:cNvPicPr>
          <p:nvPr/>
        </p:nvPicPr>
        <p:blipFill>
          <a:blip r:embed="rId3">
            <a:alphaModFix amt="35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CF89A72C-1918-4909-AD94-6C5CF4F54806}"/>
              </a:ext>
            </a:extLst>
          </p:cNvPr>
          <p:cNvSpPr txBox="1"/>
          <p:nvPr/>
        </p:nvSpPr>
        <p:spPr>
          <a:xfrm>
            <a:off x="766572" y="3105834"/>
            <a:ext cx="1065885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FFFFFF"/>
                </a:solidFill>
                <a:effectLst/>
                <a:uLnTx/>
                <a:uFillTx/>
                <a:latin typeface="Segoe UI"/>
                <a:ea typeface="+mn-ea"/>
                <a:cs typeface="+mn-cs"/>
              </a:rPr>
              <a:t>TRANSFORMATION IS ABOUT PEOPLE</a:t>
            </a:r>
          </a:p>
        </p:txBody>
      </p:sp>
    </p:spTree>
    <p:extLst>
      <p:ext uri="{BB962C8B-B14F-4D97-AF65-F5344CB8AC3E}">
        <p14:creationId xmlns:p14="http://schemas.microsoft.com/office/powerpoint/2010/main" val="3974904516"/>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50FDB38-C2D7-45DD-A1BE-14D2521AF0CE}"/>
              </a:ext>
            </a:extLst>
          </p:cNvPr>
          <p:cNvSpPr txBox="1"/>
          <p:nvPr/>
        </p:nvSpPr>
        <p:spPr>
          <a:xfrm>
            <a:off x="5766693" y="3562350"/>
            <a:ext cx="4889711"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4472C4">
                    <a:lumMod val="60000"/>
                    <a:lumOff val="40000"/>
                  </a:srgbClr>
                </a:solidFill>
                <a:effectLst/>
                <a:uLnTx/>
                <a:uFillTx/>
                <a:latin typeface="Calibri" panose="020F0502020204030204"/>
                <a:ea typeface="+mn-ea"/>
                <a:cs typeface="+mn-cs"/>
              </a:rPr>
              <a:t>Projected losses in terms of affected children’s future earnings.</a:t>
            </a:r>
          </a:p>
        </p:txBody>
      </p:sp>
      <p:sp>
        <p:nvSpPr>
          <p:cNvPr id="7" name="Title 7">
            <a:extLst>
              <a:ext uri="{FF2B5EF4-FFF2-40B4-BE49-F238E27FC236}">
                <a16:creationId xmlns:a16="http://schemas.microsoft.com/office/drawing/2014/main" id="{C08005FC-A7FF-4997-9629-63B99EAC38CD}"/>
              </a:ext>
            </a:extLst>
          </p:cNvPr>
          <p:cNvSpPr txBox="1">
            <a:spLocks noGrp="1"/>
          </p:cNvSpPr>
          <p:nvPr>
            <p:ph type="title" idx="4294967295"/>
          </p:nvPr>
        </p:nvSpPr>
        <p:spPr>
          <a:xfrm>
            <a:off x="3866030" y="610121"/>
            <a:ext cx="8325970"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a:defRPr/>
            </a:pPr>
            <a:r>
              <a:rPr lang="en-US">
                <a:solidFill>
                  <a:schemeClr val="accent1"/>
                </a:solidFill>
                <a:latin typeface="Segoe UI Semibold"/>
              </a:rPr>
              <a:t>Learning loss = earning loss.</a:t>
            </a:r>
          </a:p>
        </p:txBody>
      </p:sp>
      <p:sp>
        <p:nvSpPr>
          <p:cNvPr id="15" name="TextBox 14">
            <a:extLst>
              <a:ext uri="{FF2B5EF4-FFF2-40B4-BE49-F238E27FC236}">
                <a16:creationId xmlns:a16="http://schemas.microsoft.com/office/drawing/2014/main" id="{DDCDF131-6E63-4EF5-BCEE-2C6C67FA9A01}"/>
              </a:ext>
            </a:extLst>
          </p:cNvPr>
          <p:cNvSpPr txBox="1"/>
          <p:nvPr/>
        </p:nvSpPr>
        <p:spPr>
          <a:xfrm>
            <a:off x="3866030" y="2381071"/>
            <a:ext cx="8325971"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4472C4"/>
                </a:solidFill>
                <a:effectLst/>
                <a:uLnTx/>
                <a:uFillTx/>
                <a:latin typeface="Calibri" panose="020F0502020204030204"/>
                <a:ea typeface="+mn-ea"/>
                <a:cs typeface="+mn-cs"/>
              </a:rPr>
              <a:t>10 trillion $</a:t>
            </a:r>
          </a:p>
        </p:txBody>
      </p:sp>
      <p:sp>
        <p:nvSpPr>
          <p:cNvPr id="33" name="object 5">
            <a:extLst>
              <a:ext uri="{FF2B5EF4-FFF2-40B4-BE49-F238E27FC236}">
                <a16:creationId xmlns:a16="http://schemas.microsoft.com/office/drawing/2014/main" id="{05B48AA8-ED8B-49FB-8C36-09AED674882C}"/>
              </a:ext>
            </a:extLst>
          </p:cNvPr>
          <p:cNvSpPr txBox="1"/>
          <p:nvPr/>
        </p:nvSpPr>
        <p:spPr>
          <a:xfrm>
            <a:off x="6801317" y="5282238"/>
            <a:ext cx="4109623" cy="584775"/>
          </a:xfrm>
          <a:prstGeom prst="rect">
            <a:avLst/>
          </a:prstGeom>
        </p:spPr>
        <p:txBody>
          <a:bodyPr vert="horz" wrap="square" lIns="0" tIns="0" rIns="0" bIns="0" rtlCol="0">
            <a:spAutoFit/>
          </a:bodyPr>
          <a:lstStyle/>
          <a:p>
            <a:pPr marL="0" marR="0" lvl="0" indent="0" algn="r" defTabSz="914400" rtl="0" eaLnBrk="1" fontAlgn="auto" latinLnBrk="0" hangingPunct="1">
              <a:lnSpc>
                <a:spcPct val="100000"/>
              </a:lnSpc>
              <a:spcBef>
                <a:spcPts val="0"/>
              </a:spcBef>
              <a:spcAft>
                <a:spcPts val="600"/>
              </a:spcAft>
              <a:buClrTx/>
              <a:buSzPct val="80000"/>
              <a:buFontTx/>
              <a:buNone/>
              <a:tabLst/>
              <a:defRPr/>
            </a:pPr>
            <a:r>
              <a:rPr kumimoji="0" lang="en-US" sz="1100" b="0" i="0" u="none" strike="noStrike" kern="1200" cap="none" spc="0" normalizeH="0" baseline="0" noProof="0">
                <a:ln>
                  <a:noFill/>
                </a:ln>
                <a:solidFill>
                  <a:prstClr val="white">
                    <a:lumMod val="75000"/>
                  </a:prstClr>
                </a:solidFill>
                <a:effectLst/>
                <a:uLnTx/>
                <a:uFillTx/>
                <a:latin typeface="Calibri" panose="020F0502020204030204"/>
                <a:ea typeface="Segoe UI" panose="020B0502040204020203" pitchFamily="34" charset="0"/>
                <a:cs typeface="Segoe UI Semilight" panose="020B0402040204020203" pitchFamily="34" charset="0"/>
              </a:rPr>
              <a:t>Simulating the Potential Impacts of the COVID-19 School Closures on Schooling and Learning Outcomes: A set of Global Estimates</a:t>
            </a:r>
          </a:p>
          <a:p>
            <a:pPr marL="0" marR="0" lvl="0" indent="0" algn="r" defTabSz="914400" rtl="0" eaLnBrk="1" fontAlgn="auto" latinLnBrk="0" hangingPunct="1">
              <a:lnSpc>
                <a:spcPct val="100000"/>
              </a:lnSpc>
              <a:spcBef>
                <a:spcPts val="0"/>
              </a:spcBef>
              <a:spcAft>
                <a:spcPts val="600"/>
              </a:spcAft>
              <a:buClrTx/>
              <a:buSzPct val="80000"/>
              <a:buFontTx/>
              <a:buNone/>
              <a:tabLst/>
              <a:defRPr/>
            </a:pPr>
            <a:r>
              <a:rPr kumimoji="0" lang="en-US" sz="1100" b="0" i="0" u="none" strike="noStrike" kern="1200" cap="none" spc="0" normalizeH="0" baseline="0" noProof="0">
                <a:ln>
                  <a:noFill/>
                </a:ln>
                <a:solidFill>
                  <a:prstClr val="white">
                    <a:lumMod val="75000"/>
                  </a:prstClr>
                </a:solidFill>
                <a:effectLst/>
                <a:uLnTx/>
                <a:uFillTx/>
                <a:latin typeface="Calibri" panose="020F0502020204030204"/>
                <a:ea typeface="Segoe UI" panose="020B0502040204020203" pitchFamily="34" charset="0"/>
                <a:cs typeface="Segoe UI Semilight" panose="020B0402040204020203" pitchFamily="34" charset="0"/>
              </a:rPr>
              <a:t>The World Bank</a:t>
            </a:r>
          </a:p>
        </p:txBody>
      </p:sp>
      <p:pic>
        <p:nvPicPr>
          <p:cNvPr id="4" name="Picture 3" descr="A picture containing person&#10;&#10;Description automatically generated">
            <a:extLst>
              <a:ext uri="{FF2B5EF4-FFF2-40B4-BE49-F238E27FC236}">
                <a16:creationId xmlns:a16="http://schemas.microsoft.com/office/drawing/2014/main" id="{B3030BB6-F786-49A2-9A61-7EEC0928DA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3866029" cy="6858000"/>
          </a:xfrm>
          <a:prstGeom prst="rect">
            <a:avLst/>
          </a:prstGeom>
        </p:spPr>
      </p:pic>
    </p:spTree>
    <p:extLst>
      <p:ext uri="{BB962C8B-B14F-4D97-AF65-F5344CB8AC3E}">
        <p14:creationId xmlns:p14="http://schemas.microsoft.com/office/powerpoint/2010/main" val="186308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r="9157"/>
          <a:stretch/>
        </p:blipFill>
        <p:spPr>
          <a:xfrm>
            <a:off x="1" y="1659636"/>
            <a:ext cx="12191999" cy="3538728"/>
          </a:xfrm>
          <a:prstGeom prst="rect">
            <a:avLst/>
          </a:prstGeom>
        </p:spPr>
      </p:pic>
      <p:sp>
        <p:nvSpPr>
          <p:cNvPr id="3" name="Rectangle 2"/>
          <p:cNvSpPr/>
          <p:nvPr/>
        </p:nvSpPr>
        <p:spPr>
          <a:xfrm rot="16200000">
            <a:off x="5941982" y="-1051068"/>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 name="Rectangle 3"/>
          <p:cNvSpPr/>
          <p:nvPr/>
        </p:nvSpPr>
        <p:spPr>
          <a:xfrm rot="16200000">
            <a:off x="5940659" y="-4281607"/>
            <a:ext cx="309359" cy="12190676"/>
          </a:xfrm>
          <a:prstGeom prst="rect">
            <a:avLst/>
          </a:prstGeom>
          <a:solidFill>
            <a:srgbClr val="3B3838">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5" name="Rectangle 4"/>
          <p:cNvSpPr/>
          <p:nvPr/>
        </p:nvSpPr>
        <p:spPr>
          <a:xfrm>
            <a:off x="661" y="1968411"/>
            <a:ext cx="12191339" cy="2921177"/>
          </a:xfrm>
          <a:prstGeom prst="rect">
            <a:avLst/>
          </a:prstGeom>
          <a:solidFill>
            <a:srgbClr val="000000">
              <a:alpha val="3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6" name="TextBox 5"/>
          <p:cNvSpPr txBox="1"/>
          <p:nvPr/>
        </p:nvSpPr>
        <p:spPr>
          <a:xfrm>
            <a:off x="16241" y="504597"/>
            <a:ext cx="1217575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THE POWER OF </a:t>
            </a:r>
            <a:r>
              <a:rPr kumimoji="0" lang="en-US" sz="4400" b="1" i="0" u="none" strike="noStrike" kern="1200" cap="none" spc="0" normalizeH="0" baseline="0" noProof="0">
                <a:ln>
                  <a:noFill/>
                </a:ln>
                <a:solidFill>
                  <a:srgbClr val="008AD1"/>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EDUCATION</a:t>
            </a:r>
            <a:r>
              <a:rPr kumimoji="0" lang="en-US" sz="44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Light" panose="020B0502040204020203" pitchFamily="34" charset="0"/>
              </a:rPr>
              <a:t> </a:t>
            </a:r>
            <a:r>
              <a:rPr kumimoji="0" lang="en-US" sz="4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TO TRANSFORM</a:t>
            </a:r>
          </a:p>
        </p:txBody>
      </p:sp>
      <p:sp>
        <p:nvSpPr>
          <p:cNvPr id="7" name="TextBox 6"/>
          <p:cNvSpPr txBox="1"/>
          <p:nvPr/>
        </p:nvSpPr>
        <p:spPr>
          <a:xfrm>
            <a:off x="207830" y="5249012"/>
            <a:ext cx="225158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sym typeface="Segoe UI Light" panose="020B0502040204020203" pitchFamily="34" charset="0"/>
              </a:rPr>
              <a:t>1965</a:t>
            </a:r>
          </a:p>
        </p:txBody>
      </p:sp>
      <p:sp>
        <p:nvSpPr>
          <p:cNvPr id="8" name="TextBox 7"/>
          <p:cNvSpPr txBox="1"/>
          <p:nvPr/>
        </p:nvSpPr>
        <p:spPr>
          <a:xfrm>
            <a:off x="9731259" y="5249012"/>
            <a:ext cx="2251587"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sym typeface="Segoe UI Light" panose="020B0502040204020203" pitchFamily="34" charset="0"/>
              </a:rPr>
              <a:t>2015</a:t>
            </a:r>
          </a:p>
        </p:txBody>
      </p:sp>
      <p:sp>
        <p:nvSpPr>
          <p:cNvPr id="9" name="TextBox 8"/>
          <p:cNvSpPr txBox="1"/>
          <p:nvPr/>
        </p:nvSpPr>
        <p:spPr>
          <a:xfrm>
            <a:off x="4622957" y="5276824"/>
            <a:ext cx="29447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mn-cs"/>
                <a:sym typeface="Segoe UI Light" panose="020B0502040204020203" pitchFamily="34" charset="0"/>
              </a:rPr>
              <a:t>SEOUL, SOUTH KOREA</a:t>
            </a:r>
          </a:p>
        </p:txBody>
      </p:sp>
    </p:spTree>
    <p:extLst>
      <p:ext uri="{BB962C8B-B14F-4D97-AF65-F5344CB8AC3E}">
        <p14:creationId xmlns:p14="http://schemas.microsoft.com/office/powerpoint/2010/main" val="42114518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ree, ground, outdoor, dirt&#10;&#10;Description automatically generated">
            <a:extLst>
              <a:ext uri="{FF2B5EF4-FFF2-40B4-BE49-F238E27FC236}">
                <a16:creationId xmlns:a16="http://schemas.microsoft.com/office/drawing/2014/main" id="{9A88CB5D-D372-4E1F-8712-D6247920F0E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5"/>
          <a:stretch/>
        </p:blipFill>
        <p:spPr>
          <a:xfrm>
            <a:off x="3048" y="1"/>
            <a:ext cx="12188952" cy="4087807"/>
          </a:xfrm>
          <a:prstGeom prst="rect">
            <a:avLst/>
          </a:prstGeom>
        </p:spPr>
      </p:pic>
      <p:sp>
        <p:nvSpPr>
          <p:cNvPr id="31" name="Rectangle 30">
            <a:extLst>
              <a:ext uri="{FF2B5EF4-FFF2-40B4-BE49-F238E27FC236}">
                <a16:creationId xmlns:a16="http://schemas.microsoft.com/office/drawing/2014/main" id="{1957BCF7-0E01-4607-A0EC-34EB3B330849}"/>
              </a:ext>
            </a:extLst>
          </p:cNvPr>
          <p:cNvSpPr/>
          <p:nvPr/>
        </p:nvSpPr>
        <p:spPr>
          <a:xfrm>
            <a:off x="0" y="-1"/>
            <a:ext cx="12192000" cy="6858001"/>
          </a:xfrm>
          <a:prstGeom prst="rect">
            <a:avLst/>
          </a:prstGeom>
          <a:solidFill>
            <a:srgbClr val="262626">
              <a:alpha val="6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0" name="Group 29">
            <a:extLst>
              <a:ext uri="{FF2B5EF4-FFF2-40B4-BE49-F238E27FC236}">
                <a16:creationId xmlns:a16="http://schemas.microsoft.com/office/drawing/2014/main" id="{D4589B72-1884-416A-A214-C7519BEF274F}"/>
              </a:ext>
            </a:extLst>
          </p:cNvPr>
          <p:cNvGrpSpPr/>
          <p:nvPr/>
        </p:nvGrpSpPr>
        <p:grpSpPr>
          <a:xfrm>
            <a:off x="1" y="3640668"/>
            <a:ext cx="12188951" cy="3217333"/>
            <a:chOff x="0" y="211667"/>
            <a:chExt cx="12188951" cy="3217333"/>
          </a:xfrm>
        </p:grpSpPr>
        <p:sp>
          <p:nvSpPr>
            <p:cNvPr id="10" name="Freeform: Shape 9">
              <a:extLst>
                <a:ext uri="{FF2B5EF4-FFF2-40B4-BE49-F238E27FC236}">
                  <a16:creationId xmlns:a16="http://schemas.microsoft.com/office/drawing/2014/main" id="{D3387757-B7DC-449F-A869-C76802618939}"/>
                </a:ext>
              </a:extLst>
            </p:cNvPr>
            <p:cNvSpPr/>
            <p:nvPr/>
          </p:nvSpPr>
          <p:spPr>
            <a:xfrm>
              <a:off x="0" y="211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Isosceles Triangle 5">
              <a:extLst>
                <a:ext uri="{FF2B5EF4-FFF2-40B4-BE49-F238E27FC236}">
                  <a16:creationId xmlns:a16="http://schemas.microsoft.com/office/drawing/2014/main" id="{779D79D4-87D7-4D9B-8D7A-6E32224CB248}"/>
                </a:ext>
              </a:extLst>
            </p:cNvPr>
            <p:cNvSpPr/>
            <p:nvPr/>
          </p:nvSpPr>
          <p:spPr>
            <a:xfrm>
              <a:off x="3993306" y="856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BD917FDB-BDFC-4A66-8119-1445C3A8DE5D}"/>
                </a:ext>
              </a:extLst>
            </p:cNvPr>
            <p:cNvSpPr/>
            <p:nvPr/>
          </p:nvSpPr>
          <p:spPr>
            <a:xfrm>
              <a:off x="4062984" y="211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1509CB4A-6826-447B-AB0A-A8001F6A6C7F}"/>
                </a:ext>
              </a:extLst>
            </p:cNvPr>
            <p:cNvSpPr/>
            <p:nvPr/>
          </p:nvSpPr>
          <p:spPr>
            <a:xfrm>
              <a:off x="8125967" y="211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Isosceles Triangle 18">
              <a:extLst>
                <a:ext uri="{FF2B5EF4-FFF2-40B4-BE49-F238E27FC236}">
                  <a16:creationId xmlns:a16="http://schemas.microsoft.com/office/drawing/2014/main" id="{6ADE40BC-670C-446B-A980-995D95C9A020}"/>
                </a:ext>
              </a:extLst>
            </p:cNvPr>
            <p:cNvSpPr/>
            <p:nvPr/>
          </p:nvSpPr>
          <p:spPr>
            <a:xfrm>
              <a:off x="8056289" y="856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Isosceles Triangle 19">
              <a:extLst>
                <a:ext uri="{FF2B5EF4-FFF2-40B4-BE49-F238E27FC236}">
                  <a16:creationId xmlns:a16="http://schemas.microsoft.com/office/drawing/2014/main" id="{7F857FB7-4030-4434-AAD3-D3F81BEBA7C6}"/>
                </a:ext>
              </a:extLst>
            </p:cNvPr>
            <p:cNvSpPr/>
            <p:nvPr/>
          </p:nvSpPr>
          <p:spPr>
            <a:xfrm>
              <a:off x="12119272" y="856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3" name="Group 22">
              <a:extLst>
                <a:ext uri="{FF2B5EF4-FFF2-40B4-BE49-F238E27FC236}">
                  <a16:creationId xmlns:a16="http://schemas.microsoft.com/office/drawing/2014/main" id="{3C2CD78E-0D2E-4CFF-BB05-4BE9BC23405D}"/>
                </a:ext>
              </a:extLst>
            </p:cNvPr>
            <p:cNvGrpSpPr/>
            <p:nvPr/>
          </p:nvGrpSpPr>
          <p:grpSpPr>
            <a:xfrm>
              <a:off x="32963" y="463196"/>
              <a:ext cx="3960343" cy="195612"/>
              <a:chOff x="32963" y="463196"/>
              <a:chExt cx="3960343" cy="195612"/>
            </a:xfrm>
          </p:grpSpPr>
          <p:sp>
            <p:nvSpPr>
              <p:cNvPr id="21" name="Isosceles Triangle 20">
                <a:extLst>
                  <a:ext uri="{FF2B5EF4-FFF2-40B4-BE49-F238E27FC236}">
                    <a16:creationId xmlns:a16="http://schemas.microsoft.com/office/drawing/2014/main" id="{EF412553-C5FC-4840-AB0E-9E123FD5E47A}"/>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Isosceles Triangle 21">
                <a:extLst>
                  <a:ext uri="{FF2B5EF4-FFF2-40B4-BE49-F238E27FC236}">
                    <a16:creationId xmlns:a16="http://schemas.microsoft.com/office/drawing/2014/main" id="{0ADC183C-8141-464F-B169-C67382872D57}"/>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92430A68-3C30-40A0-B41C-A315AC9300CE}"/>
                </a:ext>
              </a:extLst>
            </p:cNvPr>
            <p:cNvGrpSpPr/>
            <p:nvPr/>
          </p:nvGrpSpPr>
          <p:grpSpPr>
            <a:xfrm>
              <a:off x="4115829" y="463196"/>
              <a:ext cx="3960343" cy="195612"/>
              <a:chOff x="32963" y="463196"/>
              <a:chExt cx="3960343" cy="195612"/>
            </a:xfrm>
          </p:grpSpPr>
          <p:sp>
            <p:nvSpPr>
              <p:cNvPr id="25" name="Isosceles Triangle 24">
                <a:extLst>
                  <a:ext uri="{FF2B5EF4-FFF2-40B4-BE49-F238E27FC236}">
                    <a16:creationId xmlns:a16="http://schemas.microsoft.com/office/drawing/2014/main" id="{D033CB06-76BF-4474-94FF-0931D9DD6EC9}"/>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Isosceles Triangle 25">
                <a:extLst>
                  <a:ext uri="{FF2B5EF4-FFF2-40B4-BE49-F238E27FC236}">
                    <a16:creationId xmlns:a16="http://schemas.microsoft.com/office/drawing/2014/main" id="{0CA53F7D-AC96-4AA4-BA5D-F51B83BBFDE6}"/>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328DB9CA-809F-4A9C-88F6-80C8DE611B7D}"/>
                </a:ext>
              </a:extLst>
            </p:cNvPr>
            <p:cNvGrpSpPr/>
            <p:nvPr/>
          </p:nvGrpSpPr>
          <p:grpSpPr>
            <a:xfrm>
              <a:off x="8177287" y="463196"/>
              <a:ext cx="3960343" cy="195612"/>
              <a:chOff x="32963" y="463196"/>
              <a:chExt cx="3960343" cy="195612"/>
            </a:xfrm>
          </p:grpSpPr>
          <p:sp>
            <p:nvSpPr>
              <p:cNvPr id="28" name="Isosceles Triangle 27">
                <a:extLst>
                  <a:ext uri="{FF2B5EF4-FFF2-40B4-BE49-F238E27FC236}">
                    <a16:creationId xmlns:a16="http://schemas.microsoft.com/office/drawing/2014/main" id="{59E3D266-5411-4FE6-A72C-36B4B06C904C}"/>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Isosceles Triangle 28">
                <a:extLst>
                  <a:ext uri="{FF2B5EF4-FFF2-40B4-BE49-F238E27FC236}">
                    <a16:creationId xmlns:a16="http://schemas.microsoft.com/office/drawing/2014/main" id="{477117DA-1D1F-4BF3-9008-8461DC2F2DDB}"/>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2" name="TextBox 31">
            <a:extLst>
              <a:ext uri="{FF2B5EF4-FFF2-40B4-BE49-F238E27FC236}">
                <a16:creationId xmlns:a16="http://schemas.microsoft.com/office/drawing/2014/main" id="{FCFD5A07-09AB-41CA-8C29-CD4DBE5E9C3A}"/>
              </a:ext>
            </a:extLst>
          </p:cNvPr>
          <p:cNvSpPr txBox="1"/>
          <p:nvPr/>
        </p:nvSpPr>
        <p:spPr>
          <a:xfrm>
            <a:off x="576278" y="2151726"/>
            <a:ext cx="11039445"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FFFFFF"/>
                </a:solidFill>
                <a:effectLst/>
                <a:uLnTx/>
                <a:uFillTx/>
                <a:latin typeface="Segoe UI"/>
                <a:ea typeface="+mn-ea"/>
                <a:cs typeface="+mn-cs"/>
              </a:rPr>
              <a:t>THE ROAD AHEAD</a:t>
            </a:r>
          </a:p>
        </p:txBody>
      </p:sp>
      <p:sp>
        <p:nvSpPr>
          <p:cNvPr id="39" name="TextBox 38">
            <a:extLst>
              <a:ext uri="{FF2B5EF4-FFF2-40B4-BE49-F238E27FC236}">
                <a16:creationId xmlns:a16="http://schemas.microsoft.com/office/drawing/2014/main" id="{9CF45A8D-5CB5-4CCA-8D40-B883DD5DEBB1}"/>
              </a:ext>
            </a:extLst>
          </p:cNvPr>
          <p:cNvSpPr txBox="1"/>
          <p:nvPr/>
        </p:nvSpPr>
        <p:spPr>
          <a:xfrm>
            <a:off x="0" y="5021681"/>
            <a:ext cx="4057650"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SPOND</a:t>
            </a:r>
          </a:p>
        </p:txBody>
      </p:sp>
      <p:sp>
        <p:nvSpPr>
          <p:cNvPr id="40" name="TextBox 39">
            <a:extLst>
              <a:ext uri="{FF2B5EF4-FFF2-40B4-BE49-F238E27FC236}">
                <a16:creationId xmlns:a16="http://schemas.microsoft.com/office/drawing/2014/main" id="{6F288345-815F-481E-8BFA-0AF5B7C31A8F}"/>
              </a:ext>
            </a:extLst>
          </p:cNvPr>
          <p:cNvSpPr txBox="1"/>
          <p:nvPr/>
        </p:nvSpPr>
        <p:spPr>
          <a:xfrm>
            <a:off x="4076702" y="5021680"/>
            <a:ext cx="4057650"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COVER</a:t>
            </a:r>
          </a:p>
        </p:txBody>
      </p:sp>
      <p:sp>
        <p:nvSpPr>
          <p:cNvPr id="41" name="TextBox 40">
            <a:extLst>
              <a:ext uri="{FF2B5EF4-FFF2-40B4-BE49-F238E27FC236}">
                <a16:creationId xmlns:a16="http://schemas.microsoft.com/office/drawing/2014/main" id="{8818B310-F2D7-4FE4-B308-3B5046C61A67}"/>
              </a:ext>
            </a:extLst>
          </p:cNvPr>
          <p:cNvSpPr txBox="1"/>
          <p:nvPr/>
        </p:nvSpPr>
        <p:spPr>
          <a:xfrm>
            <a:off x="8153404" y="5021681"/>
            <a:ext cx="4057650" cy="584775"/>
          </a:xfrm>
          <a:prstGeom prst="rect">
            <a:avLst/>
          </a:prstGeom>
          <a:noFill/>
        </p:spPr>
        <p:txBody>
          <a:bodyPr wrap="square"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IMAGINE</a:t>
            </a:r>
          </a:p>
        </p:txBody>
      </p:sp>
    </p:spTree>
    <p:extLst>
      <p:ext uri="{BB962C8B-B14F-4D97-AF65-F5344CB8AC3E}">
        <p14:creationId xmlns:p14="http://schemas.microsoft.com/office/powerpoint/2010/main" val="211917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Cha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0 4.81481E-6 L 0 -0.13542 " pathEditMode="relative" rAng="0" ptsTypes="AA">
                                      <p:cBhvr>
                                        <p:cTn id="6" dur="2000" fill="hold"/>
                                        <p:tgtEl>
                                          <p:spTgt spid="32"/>
                                        </p:tgtEl>
                                        <p:attrNameLst>
                                          <p:attrName>ppt_x</p:attrName>
                                          <p:attrName>ppt_y</p:attrName>
                                        </p:attrNameLst>
                                      </p:cBhvr>
                                      <p:rCtr x="0" y="-6782"/>
                                    </p:animMotion>
                                  </p:childTnLst>
                                </p:cTn>
                              </p:par>
                              <p:par>
                                <p:cTn id="7" presetID="42" presetClass="entr" presetSubtype="0" fill="hold" grpId="0" nodeType="withEffect">
                                  <p:stCondLst>
                                    <p:cond delay="700"/>
                                  </p:stCondLst>
                                  <p:childTnLst>
                                    <p:set>
                                      <p:cBhvr>
                                        <p:cTn id="8" dur="1" fill="hold">
                                          <p:stCondLst>
                                            <p:cond delay="0"/>
                                          </p:stCondLst>
                                        </p:cTn>
                                        <p:tgtEl>
                                          <p:spTgt spid="39"/>
                                        </p:tgtEl>
                                        <p:attrNameLst>
                                          <p:attrName>style.visibility</p:attrName>
                                        </p:attrNameLst>
                                      </p:cBhvr>
                                      <p:to>
                                        <p:strVal val="visible"/>
                                      </p:to>
                                    </p:set>
                                    <p:animEffect transition="in" filter="fade">
                                      <p:cBhvr>
                                        <p:cTn id="9" dur="1000"/>
                                        <p:tgtEl>
                                          <p:spTgt spid="39"/>
                                        </p:tgtEl>
                                      </p:cBhvr>
                                    </p:animEffect>
                                    <p:anim calcmode="lin" valueType="num">
                                      <p:cBhvr>
                                        <p:cTn id="10" dur="1000" fill="hold"/>
                                        <p:tgtEl>
                                          <p:spTgt spid="39"/>
                                        </p:tgtEl>
                                        <p:attrNameLst>
                                          <p:attrName>ppt_x</p:attrName>
                                        </p:attrNameLst>
                                      </p:cBhvr>
                                      <p:tavLst>
                                        <p:tav tm="0">
                                          <p:val>
                                            <p:strVal val="#ppt_x"/>
                                          </p:val>
                                        </p:tav>
                                        <p:tav tm="100000">
                                          <p:val>
                                            <p:strVal val="#ppt_x"/>
                                          </p:val>
                                        </p:tav>
                                      </p:tavLst>
                                    </p:anim>
                                    <p:anim calcmode="lin" valueType="num">
                                      <p:cBhvr>
                                        <p:cTn id="11" dur="1000" fill="hold"/>
                                        <p:tgtEl>
                                          <p:spTgt spid="39"/>
                                        </p:tgtEl>
                                        <p:attrNameLst>
                                          <p:attrName>ppt_y</p:attrName>
                                        </p:attrNameLst>
                                      </p:cBhvr>
                                      <p:tavLst>
                                        <p:tav tm="0">
                                          <p:val>
                                            <p:strVal val="#ppt_y+.1"/>
                                          </p:val>
                                        </p:tav>
                                        <p:tav tm="100000">
                                          <p:val>
                                            <p:strVal val="#ppt_y"/>
                                          </p:val>
                                        </p:tav>
                                      </p:tavLst>
                                    </p:anim>
                                  </p:childTnLst>
                                </p:cTn>
                              </p:par>
                              <p:par>
                                <p:cTn id="12" presetID="42" presetClass="entr" presetSubtype="0" fill="hold" grpId="0" nodeType="withEffect">
                                  <p:stCondLst>
                                    <p:cond delay="700"/>
                                  </p:stCondLst>
                                  <p:childTnLst>
                                    <p:set>
                                      <p:cBhvr>
                                        <p:cTn id="13" dur="1" fill="hold">
                                          <p:stCondLst>
                                            <p:cond delay="0"/>
                                          </p:stCondLst>
                                        </p:cTn>
                                        <p:tgtEl>
                                          <p:spTgt spid="40"/>
                                        </p:tgtEl>
                                        <p:attrNameLst>
                                          <p:attrName>style.visibility</p:attrName>
                                        </p:attrNameLst>
                                      </p:cBhvr>
                                      <p:to>
                                        <p:strVal val="visible"/>
                                      </p:to>
                                    </p:set>
                                    <p:animEffect transition="in" filter="fade">
                                      <p:cBhvr>
                                        <p:cTn id="14" dur="1000"/>
                                        <p:tgtEl>
                                          <p:spTgt spid="40"/>
                                        </p:tgtEl>
                                      </p:cBhvr>
                                    </p:animEffect>
                                    <p:anim calcmode="lin" valueType="num">
                                      <p:cBhvr>
                                        <p:cTn id="15" dur="1000" fill="hold"/>
                                        <p:tgtEl>
                                          <p:spTgt spid="40"/>
                                        </p:tgtEl>
                                        <p:attrNameLst>
                                          <p:attrName>ppt_x</p:attrName>
                                        </p:attrNameLst>
                                      </p:cBhvr>
                                      <p:tavLst>
                                        <p:tav tm="0">
                                          <p:val>
                                            <p:strVal val="#ppt_x"/>
                                          </p:val>
                                        </p:tav>
                                        <p:tav tm="100000">
                                          <p:val>
                                            <p:strVal val="#ppt_x"/>
                                          </p:val>
                                        </p:tav>
                                      </p:tavLst>
                                    </p:anim>
                                    <p:anim calcmode="lin" valueType="num">
                                      <p:cBhvr>
                                        <p:cTn id="16" dur="1000" fill="hold"/>
                                        <p:tgtEl>
                                          <p:spTgt spid="40"/>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70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1000"/>
                                        <p:tgtEl>
                                          <p:spTgt spid="41"/>
                                        </p:tgtEl>
                                      </p:cBhvr>
                                    </p:animEffect>
                                    <p:anim calcmode="lin" valueType="num">
                                      <p:cBhvr>
                                        <p:cTn id="20" dur="1000" fill="hold"/>
                                        <p:tgtEl>
                                          <p:spTgt spid="41"/>
                                        </p:tgtEl>
                                        <p:attrNameLst>
                                          <p:attrName>ppt_x</p:attrName>
                                        </p:attrNameLst>
                                      </p:cBhvr>
                                      <p:tavLst>
                                        <p:tav tm="0">
                                          <p:val>
                                            <p:strVal val="#ppt_x"/>
                                          </p:val>
                                        </p:tav>
                                        <p:tav tm="100000">
                                          <p:val>
                                            <p:strVal val="#ppt_x"/>
                                          </p:val>
                                        </p:tav>
                                      </p:tavLst>
                                    </p:anim>
                                    <p:anim calcmode="lin" valueType="num">
                                      <p:cBhvr>
                                        <p:cTn id="21"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9" grpId="0"/>
      <p:bldP spid="40" grpId="0"/>
      <p:bldP spid="4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D649013-159B-4E06-BA54-23C49757992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3892195"/>
          </a:xfrm>
          <a:prstGeom prst="rect">
            <a:avLst/>
          </a:prstGeom>
        </p:spPr>
      </p:pic>
      <p:pic>
        <p:nvPicPr>
          <p:cNvPr id="3" name="Picture 2" descr="A picture containing tree, ground, outdoor, dirt&#10;&#10;Description automatically generated">
            <a:extLst>
              <a:ext uri="{FF2B5EF4-FFF2-40B4-BE49-F238E27FC236}">
                <a16:creationId xmlns:a16="http://schemas.microsoft.com/office/drawing/2014/main" id="{9A88CB5D-D372-4E1F-8712-D6247920F0E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25" b="-15613"/>
          <a:stretch/>
        </p:blipFill>
        <p:spPr>
          <a:xfrm>
            <a:off x="3048" y="0"/>
            <a:ext cx="12188952" cy="6858000"/>
          </a:xfrm>
          <a:prstGeom prst="rect">
            <a:avLst/>
          </a:prstGeom>
        </p:spPr>
      </p:pic>
      <p:sp>
        <p:nvSpPr>
          <p:cNvPr id="31" name="Rectangle 30">
            <a:extLst>
              <a:ext uri="{FF2B5EF4-FFF2-40B4-BE49-F238E27FC236}">
                <a16:creationId xmlns:a16="http://schemas.microsoft.com/office/drawing/2014/main" id="{1957BCF7-0E01-4607-A0EC-34EB3B330849}"/>
              </a:ext>
            </a:extLst>
          </p:cNvPr>
          <p:cNvSpPr/>
          <p:nvPr/>
        </p:nvSpPr>
        <p:spPr>
          <a:xfrm>
            <a:off x="0" y="-1"/>
            <a:ext cx="12192000" cy="6858001"/>
          </a:xfrm>
          <a:prstGeom prst="rect">
            <a:avLst/>
          </a:prstGeom>
          <a:solidFill>
            <a:srgbClr val="262626">
              <a:alpha val="6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D3387757-B7DC-449F-A869-C76802618939}"/>
              </a:ext>
            </a:extLst>
          </p:cNvPr>
          <p:cNvSpPr/>
          <p:nvPr/>
        </p:nvSpPr>
        <p:spPr>
          <a:xfrm>
            <a:off x="0"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Isosceles Triangle 5">
            <a:extLst>
              <a:ext uri="{FF2B5EF4-FFF2-40B4-BE49-F238E27FC236}">
                <a16:creationId xmlns:a16="http://schemas.microsoft.com/office/drawing/2014/main" id="{779D79D4-87D7-4D9B-8D7A-6E32224CB248}"/>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BD917FDB-BDFC-4A66-8119-1445C3A8DE5D}"/>
              </a:ext>
            </a:extLst>
          </p:cNvPr>
          <p:cNvSpPr/>
          <p:nvPr/>
        </p:nvSpPr>
        <p:spPr>
          <a:xfrm>
            <a:off x="4062984"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1509CB4A-6826-447B-AB0A-A8001F6A6C7F}"/>
              </a:ext>
            </a:extLst>
          </p:cNvPr>
          <p:cNvSpPr/>
          <p:nvPr/>
        </p:nvSpPr>
        <p:spPr>
          <a:xfrm>
            <a:off x="8125967"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Isosceles Triangle 18">
            <a:extLst>
              <a:ext uri="{FF2B5EF4-FFF2-40B4-BE49-F238E27FC236}">
                <a16:creationId xmlns:a16="http://schemas.microsoft.com/office/drawing/2014/main" id="{6ADE40BC-670C-446B-A980-995D95C9A020}"/>
              </a:ext>
            </a:extLst>
          </p:cNvPr>
          <p:cNvSpPr/>
          <p:nvPr/>
        </p:nvSpPr>
        <p:spPr>
          <a:xfrm>
            <a:off x="8056289"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Isosceles Triangle 19">
            <a:extLst>
              <a:ext uri="{FF2B5EF4-FFF2-40B4-BE49-F238E27FC236}">
                <a16:creationId xmlns:a16="http://schemas.microsoft.com/office/drawing/2014/main" id="{7F857FB7-4030-4434-AAD3-D3F81BEBA7C6}"/>
              </a:ext>
            </a:extLst>
          </p:cNvPr>
          <p:cNvSpPr/>
          <p:nvPr/>
        </p:nvSpPr>
        <p:spPr>
          <a:xfrm>
            <a:off x="12119272"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3" name="Group 22">
            <a:extLst>
              <a:ext uri="{FF2B5EF4-FFF2-40B4-BE49-F238E27FC236}">
                <a16:creationId xmlns:a16="http://schemas.microsoft.com/office/drawing/2014/main" id="{3C2CD78E-0D2E-4CFF-BB05-4BE9BC23405D}"/>
              </a:ext>
            </a:extLst>
          </p:cNvPr>
          <p:cNvGrpSpPr/>
          <p:nvPr/>
        </p:nvGrpSpPr>
        <p:grpSpPr>
          <a:xfrm>
            <a:off x="32963" y="3892196"/>
            <a:ext cx="3960343" cy="195612"/>
            <a:chOff x="32963" y="463196"/>
            <a:chExt cx="3960343" cy="195612"/>
          </a:xfrm>
        </p:grpSpPr>
        <p:sp>
          <p:nvSpPr>
            <p:cNvPr id="21" name="Isosceles Triangle 20">
              <a:extLst>
                <a:ext uri="{FF2B5EF4-FFF2-40B4-BE49-F238E27FC236}">
                  <a16:creationId xmlns:a16="http://schemas.microsoft.com/office/drawing/2014/main" id="{EF412553-C5FC-4840-AB0E-9E123FD5E47A}"/>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Isosceles Triangle 21">
              <a:extLst>
                <a:ext uri="{FF2B5EF4-FFF2-40B4-BE49-F238E27FC236}">
                  <a16:creationId xmlns:a16="http://schemas.microsoft.com/office/drawing/2014/main" id="{0ADC183C-8141-464F-B169-C67382872D57}"/>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92430A68-3C30-40A0-B41C-A315AC9300CE}"/>
              </a:ext>
            </a:extLst>
          </p:cNvPr>
          <p:cNvGrpSpPr/>
          <p:nvPr/>
        </p:nvGrpSpPr>
        <p:grpSpPr>
          <a:xfrm>
            <a:off x="4115829" y="3892196"/>
            <a:ext cx="3960343" cy="195612"/>
            <a:chOff x="32963" y="463196"/>
            <a:chExt cx="3960343" cy="195612"/>
          </a:xfrm>
        </p:grpSpPr>
        <p:sp>
          <p:nvSpPr>
            <p:cNvPr id="25" name="Isosceles Triangle 24">
              <a:extLst>
                <a:ext uri="{FF2B5EF4-FFF2-40B4-BE49-F238E27FC236}">
                  <a16:creationId xmlns:a16="http://schemas.microsoft.com/office/drawing/2014/main" id="{D033CB06-76BF-4474-94FF-0931D9DD6EC9}"/>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Isosceles Triangle 25">
              <a:extLst>
                <a:ext uri="{FF2B5EF4-FFF2-40B4-BE49-F238E27FC236}">
                  <a16:creationId xmlns:a16="http://schemas.microsoft.com/office/drawing/2014/main" id="{0CA53F7D-AC96-4AA4-BA5D-F51B83BBFDE6}"/>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328DB9CA-809F-4A9C-88F6-80C8DE611B7D}"/>
              </a:ext>
            </a:extLst>
          </p:cNvPr>
          <p:cNvGrpSpPr/>
          <p:nvPr/>
        </p:nvGrpSpPr>
        <p:grpSpPr>
          <a:xfrm>
            <a:off x="8177287" y="3892196"/>
            <a:ext cx="3960343" cy="195612"/>
            <a:chOff x="32963" y="463196"/>
            <a:chExt cx="3960343" cy="195612"/>
          </a:xfrm>
        </p:grpSpPr>
        <p:sp>
          <p:nvSpPr>
            <p:cNvPr id="28" name="Isosceles Triangle 27">
              <a:extLst>
                <a:ext uri="{FF2B5EF4-FFF2-40B4-BE49-F238E27FC236}">
                  <a16:creationId xmlns:a16="http://schemas.microsoft.com/office/drawing/2014/main" id="{59E3D266-5411-4FE6-A72C-36B4B06C904C}"/>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Isosceles Triangle 28">
              <a:extLst>
                <a:ext uri="{FF2B5EF4-FFF2-40B4-BE49-F238E27FC236}">
                  <a16:creationId xmlns:a16="http://schemas.microsoft.com/office/drawing/2014/main" id="{477117DA-1D1F-4BF3-9008-8461DC2F2DDB}"/>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9" name="TextBox 38">
            <a:extLst>
              <a:ext uri="{FF2B5EF4-FFF2-40B4-BE49-F238E27FC236}">
                <a16:creationId xmlns:a16="http://schemas.microsoft.com/office/drawing/2014/main" id="{9CF45A8D-5CB5-4CCA-8D40-B883DD5DEBB1}"/>
              </a:ext>
            </a:extLst>
          </p:cNvPr>
          <p:cNvSpPr txBox="1"/>
          <p:nvPr/>
        </p:nvSpPr>
        <p:spPr>
          <a:xfrm>
            <a:off x="0" y="5021681"/>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767171"/>
                </a:solidFill>
                <a:effectLst/>
                <a:uLnTx/>
                <a:uFillTx/>
                <a:latin typeface="Segoe UI Light" panose="020B0502040204020203" pitchFamily="34" charset="0"/>
                <a:ea typeface="+mn-ea"/>
                <a:cs typeface="Segoe UI Light" panose="020B0502040204020203" pitchFamily="34" charset="0"/>
              </a:rPr>
              <a:t>RESPOND</a:t>
            </a:r>
          </a:p>
        </p:txBody>
      </p:sp>
      <p:sp>
        <p:nvSpPr>
          <p:cNvPr id="40" name="TextBox 39">
            <a:extLst>
              <a:ext uri="{FF2B5EF4-FFF2-40B4-BE49-F238E27FC236}">
                <a16:creationId xmlns:a16="http://schemas.microsoft.com/office/drawing/2014/main" id="{6F288345-815F-481E-8BFA-0AF5B7C31A8F}"/>
              </a:ext>
            </a:extLst>
          </p:cNvPr>
          <p:cNvSpPr txBox="1"/>
          <p:nvPr/>
        </p:nvSpPr>
        <p:spPr>
          <a:xfrm>
            <a:off x="4076702" y="5021680"/>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COVER</a:t>
            </a:r>
          </a:p>
        </p:txBody>
      </p:sp>
      <p:sp>
        <p:nvSpPr>
          <p:cNvPr id="41" name="TextBox 40">
            <a:extLst>
              <a:ext uri="{FF2B5EF4-FFF2-40B4-BE49-F238E27FC236}">
                <a16:creationId xmlns:a16="http://schemas.microsoft.com/office/drawing/2014/main" id="{8818B310-F2D7-4FE4-B308-3B5046C61A67}"/>
              </a:ext>
            </a:extLst>
          </p:cNvPr>
          <p:cNvSpPr txBox="1"/>
          <p:nvPr/>
        </p:nvSpPr>
        <p:spPr>
          <a:xfrm>
            <a:off x="8153404" y="5021680"/>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IMAGINE</a:t>
            </a:r>
          </a:p>
        </p:txBody>
      </p:sp>
      <p:sp>
        <p:nvSpPr>
          <p:cNvPr id="33" name="TextBox 32">
            <a:extLst>
              <a:ext uri="{FF2B5EF4-FFF2-40B4-BE49-F238E27FC236}">
                <a16:creationId xmlns:a16="http://schemas.microsoft.com/office/drawing/2014/main" id="{6E7C9666-042D-44FD-9BB7-8C0D7E937FCB}"/>
              </a:ext>
            </a:extLst>
          </p:cNvPr>
          <p:cNvSpPr txBox="1"/>
          <p:nvPr/>
        </p:nvSpPr>
        <p:spPr>
          <a:xfrm>
            <a:off x="576277" y="1223016"/>
            <a:ext cx="11039445"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a:ln>
                  <a:noFill/>
                </a:ln>
                <a:solidFill>
                  <a:srgbClr val="FFFFFF"/>
                </a:solidFill>
                <a:effectLst/>
                <a:uLnTx/>
                <a:uFillTx/>
                <a:latin typeface="Segoe UI"/>
                <a:ea typeface="+mn-ea"/>
                <a:cs typeface="+mn-cs"/>
              </a:rPr>
              <a:t>THE ROAD AHEAD</a:t>
            </a:r>
          </a:p>
        </p:txBody>
      </p:sp>
      <p:sp>
        <p:nvSpPr>
          <p:cNvPr id="36" name="Freeform: Shape 35">
            <a:extLst>
              <a:ext uri="{FF2B5EF4-FFF2-40B4-BE49-F238E27FC236}">
                <a16:creationId xmlns:a16="http://schemas.microsoft.com/office/drawing/2014/main" id="{A52B8C24-FBEF-4362-AD2C-DED02C11D7C3}"/>
              </a:ext>
            </a:extLst>
          </p:cNvPr>
          <p:cNvSpPr/>
          <p:nvPr/>
        </p:nvSpPr>
        <p:spPr>
          <a:xfrm>
            <a:off x="0"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Isosceles Triangle 36">
            <a:extLst>
              <a:ext uri="{FF2B5EF4-FFF2-40B4-BE49-F238E27FC236}">
                <a16:creationId xmlns:a16="http://schemas.microsoft.com/office/drawing/2014/main" id="{1784D459-F9FC-4D44-9F3E-3A64D7ACFD9D}"/>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27277784-14C9-47A6-82B5-A7C149D84515}"/>
              </a:ext>
            </a:extLst>
          </p:cNvPr>
          <p:cNvGrpSpPr/>
          <p:nvPr/>
        </p:nvGrpSpPr>
        <p:grpSpPr>
          <a:xfrm>
            <a:off x="32963" y="3892196"/>
            <a:ext cx="3960343" cy="195612"/>
            <a:chOff x="32963" y="463196"/>
            <a:chExt cx="3960343" cy="195612"/>
          </a:xfrm>
        </p:grpSpPr>
        <p:sp>
          <p:nvSpPr>
            <p:cNvPr id="42" name="Isosceles Triangle 41">
              <a:extLst>
                <a:ext uri="{FF2B5EF4-FFF2-40B4-BE49-F238E27FC236}">
                  <a16:creationId xmlns:a16="http://schemas.microsoft.com/office/drawing/2014/main" id="{9CEBD325-8D26-4F62-8437-FBB424F01382}"/>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Isosceles Triangle 42">
              <a:extLst>
                <a:ext uri="{FF2B5EF4-FFF2-40B4-BE49-F238E27FC236}">
                  <a16:creationId xmlns:a16="http://schemas.microsoft.com/office/drawing/2014/main" id="{62D6A620-38EC-4B8F-868E-F1CE775B5546}"/>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4" name="RESPOND WHITE">
            <a:extLst>
              <a:ext uri="{FF2B5EF4-FFF2-40B4-BE49-F238E27FC236}">
                <a16:creationId xmlns:a16="http://schemas.microsoft.com/office/drawing/2014/main" id="{94C47C50-1FD2-43B1-8472-87689A89816A}"/>
              </a:ext>
            </a:extLst>
          </p:cNvPr>
          <p:cNvSpPr txBox="1"/>
          <p:nvPr/>
        </p:nvSpPr>
        <p:spPr>
          <a:xfrm>
            <a:off x="0" y="5021681"/>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Light" panose="020B0502040204020203" pitchFamily="34" charset="0"/>
                <a:ea typeface="+mn-ea"/>
                <a:cs typeface="Segoe UI Light" panose="020B0502040204020203" pitchFamily="34" charset="0"/>
              </a:rPr>
              <a:t>RESPOND</a:t>
            </a:r>
          </a:p>
        </p:txBody>
      </p:sp>
      <p:sp>
        <p:nvSpPr>
          <p:cNvPr id="45" name="TextBox 44">
            <a:extLst>
              <a:ext uri="{FF2B5EF4-FFF2-40B4-BE49-F238E27FC236}">
                <a16:creationId xmlns:a16="http://schemas.microsoft.com/office/drawing/2014/main" id="{DC285052-11B4-4094-A1AF-C4948CE5FFE1}"/>
              </a:ext>
            </a:extLst>
          </p:cNvPr>
          <p:cNvSpPr txBox="1"/>
          <p:nvPr/>
        </p:nvSpPr>
        <p:spPr>
          <a:xfrm>
            <a:off x="140017" y="4821625"/>
            <a:ext cx="3782951"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Safety of students, faculty and staff. Priority to keep essential services and operations running</a:t>
            </a:r>
          </a:p>
        </p:txBody>
      </p:sp>
      <p:grpSp>
        <p:nvGrpSpPr>
          <p:cNvPr id="61" name="HIDE AT START">
            <a:extLst>
              <a:ext uri="{FF2B5EF4-FFF2-40B4-BE49-F238E27FC236}">
                <a16:creationId xmlns:a16="http://schemas.microsoft.com/office/drawing/2014/main" id="{720EB0CE-B85A-419C-82F3-69407FD62D81}"/>
              </a:ext>
            </a:extLst>
          </p:cNvPr>
          <p:cNvGrpSpPr/>
          <p:nvPr/>
        </p:nvGrpSpPr>
        <p:grpSpPr>
          <a:xfrm>
            <a:off x="0" y="0"/>
            <a:ext cx="12192000" cy="6858001"/>
            <a:chOff x="0" y="-1"/>
            <a:chExt cx="12192000" cy="6858001"/>
          </a:xfrm>
        </p:grpSpPr>
        <p:pic>
          <p:nvPicPr>
            <p:cNvPr id="62" name="Picture 61">
              <a:extLst>
                <a:ext uri="{FF2B5EF4-FFF2-40B4-BE49-F238E27FC236}">
                  <a16:creationId xmlns:a16="http://schemas.microsoft.com/office/drawing/2014/main" id="{65381F36-8E5F-43B6-8623-45CB83DDA9F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1020" y="0"/>
              <a:ext cx="12186911" cy="3892195"/>
            </a:xfrm>
            <a:prstGeom prst="rect">
              <a:avLst/>
            </a:prstGeom>
          </p:spPr>
        </p:pic>
        <p:sp>
          <p:nvSpPr>
            <p:cNvPr id="63" name="Rectangle 62">
              <a:extLst>
                <a:ext uri="{FF2B5EF4-FFF2-40B4-BE49-F238E27FC236}">
                  <a16:creationId xmlns:a16="http://schemas.microsoft.com/office/drawing/2014/main" id="{BDFADE0B-95F6-462D-90AE-D552153DD18E}"/>
                </a:ext>
              </a:extLst>
            </p:cNvPr>
            <p:cNvSpPr/>
            <p:nvPr/>
          </p:nvSpPr>
          <p:spPr>
            <a:xfrm>
              <a:off x="0" y="-1"/>
              <a:ext cx="12192000" cy="6858001"/>
            </a:xfrm>
            <a:prstGeom prst="rect">
              <a:avLst/>
            </a:prstGeom>
            <a:solidFill>
              <a:srgbClr val="262626">
                <a:alpha val="6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4" name="Group 63">
              <a:extLst>
                <a:ext uri="{FF2B5EF4-FFF2-40B4-BE49-F238E27FC236}">
                  <a16:creationId xmlns:a16="http://schemas.microsoft.com/office/drawing/2014/main" id="{81BAE6F0-F61E-45F1-84F7-5C49737245F0}"/>
                </a:ext>
              </a:extLst>
            </p:cNvPr>
            <p:cNvGrpSpPr/>
            <p:nvPr/>
          </p:nvGrpSpPr>
          <p:grpSpPr>
            <a:xfrm>
              <a:off x="0" y="3640667"/>
              <a:ext cx="4062985" cy="3217333"/>
              <a:chOff x="0" y="3640667"/>
              <a:chExt cx="4062985" cy="3217333"/>
            </a:xfrm>
          </p:grpSpPr>
          <p:sp>
            <p:nvSpPr>
              <p:cNvPr id="65" name="Freeform: Shape 64">
                <a:extLst>
                  <a:ext uri="{FF2B5EF4-FFF2-40B4-BE49-F238E27FC236}">
                    <a16:creationId xmlns:a16="http://schemas.microsoft.com/office/drawing/2014/main" id="{5CA537A4-6CA7-4708-B238-A0345A588706}"/>
                  </a:ext>
                </a:extLst>
              </p:cNvPr>
              <p:cNvSpPr/>
              <p:nvPr/>
            </p:nvSpPr>
            <p:spPr>
              <a:xfrm>
                <a:off x="0"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Isosceles Triangle 65">
                <a:extLst>
                  <a:ext uri="{FF2B5EF4-FFF2-40B4-BE49-F238E27FC236}">
                    <a16:creationId xmlns:a16="http://schemas.microsoft.com/office/drawing/2014/main" id="{B8C5F7C3-12C3-49FA-BFF6-4BB67E30916C}"/>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67" name="Group 66">
                <a:extLst>
                  <a:ext uri="{FF2B5EF4-FFF2-40B4-BE49-F238E27FC236}">
                    <a16:creationId xmlns:a16="http://schemas.microsoft.com/office/drawing/2014/main" id="{4CCDE30E-8BB6-4F2A-B449-42CE0D2FD415}"/>
                  </a:ext>
                </a:extLst>
              </p:cNvPr>
              <p:cNvGrpSpPr/>
              <p:nvPr/>
            </p:nvGrpSpPr>
            <p:grpSpPr>
              <a:xfrm>
                <a:off x="32963" y="3892196"/>
                <a:ext cx="3960343" cy="195612"/>
                <a:chOff x="32963" y="463196"/>
                <a:chExt cx="3960343" cy="195612"/>
              </a:xfrm>
            </p:grpSpPr>
            <p:sp>
              <p:nvSpPr>
                <p:cNvPr id="76" name="Isosceles Triangle 75">
                  <a:extLst>
                    <a:ext uri="{FF2B5EF4-FFF2-40B4-BE49-F238E27FC236}">
                      <a16:creationId xmlns:a16="http://schemas.microsoft.com/office/drawing/2014/main" id="{35EC2986-BD1B-44E9-8C49-E7EFD62AF91A}"/>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Isosceles Triangle 76">
                  <a:extLst>
                    <a:ext uri="{FF2B5EF4-FFF2-40B4-BE49-F238E27FC236}">
                      <a16:creationId xmlns:a16="http://schemas.microsoft.com/office/drawing/2014/main" id="{44221936-D2B7-4200-855D-F3EA687D66AF}"/>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8" name="TextBox 67">
                <a:extLst>
                  <a:ext uri="{FF2B5EF4-FFF2-40B4-BE49-F238E27FC236}">
                    <a16:creationId xmlns:a16="http://schemas.microsoft.com/office/drawing/2014/main" id="{9EF2632D-9494-4277-8405-31622FE2ED27}"/>
                  </a:ext>
                </a:extLst>
              </p:cNvPr>
              <p:cNvSpPr txBox="1"/>
              <p:nvPr/>
            </p:nvSpPr>
            <p:spPr>
              <a:xfrm>
                <a:off x="0" y="5021681"/>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767171"/>
                    </a:solidFill>
                    <a:effectLst/>
                    <a:uLnTx/>
                    <a:uFillTx/>
                    <a:latin typeface="Segoe UI Light" panose="020B0502040204020203" pitchFamily="34" charset="0"/>
                    <a:ea typeface="+mn-ea"/>
                    <a:cs typeface="Segoe UI Light" panose="020B0502040204020203" pitchFamily="34" charset="0"/>
                  </a:rPr>
                  <a:t>RESPOND</a:t>
                </a:r>
              </a:p>
            </p:txBody>
          </p:sp>
          <p:sp>
            <p:nvSpPr>
              <p:cNvPr id="69" name="Freeform: Shape 68">
                <a:extLst>
                  <a:ext uri="{FF2B5EF4-FFF2-40B4-BE49-F238E27FC236}">
                    <a16:creationId xmlns:a16="http://schemas.microsoft.com/office/drawing/2014/main" id="{EDECE9F9-4A82-4A8C-962A-BC91E9BFB7A0}"/>
                  </a:ext>
                </a:extLst>
              </p:cNvPr>
              <p:cNvSpPr/>
              <p:nvPr/>
            </p:nvSpPr>
            <p:spPr>
              <a:xfrm>
                <a:off x="0"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Isosceles Triangle 69">
                <a:extLst>
                  <a:ext uri="{FF2B5EF4-FFF2-40B4-BE49-F238E27FC236}">
                    <a16:creationId xmlns:a16="http://schemas.microsoft.com/office/drawing/2014/main" id="{C2B2C7E6-E07C-4666-A432-C7A35BC5CC85}"/>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71" name="Group 70">
                <a:extLst>
                  <a:ext uri="{FF2B5EF4-FFF2-40B4-BE49-F238E27FC236}">
                    <a16:creationId xmlns:a16="http://schemas.microsoft.com/office/drawing/2014/main" id="{3966E307-C178-4F12-AD43-3B6AEF7DD15A}"/>
                  </a:ext>
                </a:extLst>
              </p:cNvPr>
              <p:cNvGrpSpPr/>
              <p:nvPr/>
            </p:nvGrpSpPr>
            <p:grpSpPr>
              <a:xfrm>
                <a:off x="32963" y="3892196"/>
                <a:ext cx="3960343" cy="195612"/>
                <a:chOff x="32963" y="463196"/>
                <a:chExt cx="3960343" cy="195612"/>
              </a:xfrm>
            </p:grpSpPr>
            <p:sp>
              <p:nvSpPr>
                <p:cNvPr id="74" name="Isosceles Triangle 73">
                  <a:extLst>
                    <a:ext uri="{FF2B5EF4-FFF2-40B4-BE49-F238E27FC236}">
                      <a16:creationId xmlns:a16="http://schemas.microsoft.com/office/drawing/2014/main" id="{2F16650F-531C-4FDD-AFD6-3B13B437833C}"/>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Isosceles Triangle 74">
                  <a:extLst>
                    <a:ext uri="{FF2B5EF4-FFF2-40B4-BE49-F238E27FC236}">
                      <a16:creationId xmlns:a16="http://schemas.microsoft.com/office/drawing/2014/main" id="{EA2A597E-7ABB-4072-9A8F-698B13CC1646}"/>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72" name="TextBox 71">
                <a:extLst>
                  <a:ext uri="{FF2B5EF4-FFF2-40B4-BE49-F238E27FC236}">
                    <a16:creationId xmlns:a16="http://schemas.microsoft.com/office/drawing/2014/main" id="{025C2D6F-859D-4277-9D58-C15653866D2F}"/>
                  </a:ext>
                </a:extLst>
              </p:cNvPr>
              <p:cNvSpPr txBox="1"/>
              <p:nvPr/>
            </p:nvSpPr>
            <p:spPr>
              <a:xfrm>
                <a:off x="140017" y="4821625"/>
                <a:ext cx="3782951"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Safety of students, teachers and staff. Priority to keep essential services and operations running</a:t>
                </a:r>
              </a:p>
            </p:txBody>
          </p:sp>
          <p:sp>
            <p:nvSpPr>
              <p:cNvPr id="73" name="RESPOND WHITE">
                <a:extLst>
                  <a:ext uri="{FF2B5EF4-FFF2-40B4-BE49-F238E27FC236}">
                    <a16:creationId xmlns:a16="http://schemas.microsoft.com/office/drawing/2014/main" id="{43899EC8-A5D0-40F9-B399-9C20AA6812D1}"/>
                  </a:ext>
                </a:extLst>
              </p:cNvPr>
              <p:cNvSpPr txBox="1"/>
              <p:nvPr/>
            </p:nvSpPr>
            <p:spPr>
              <a:xfrm>
                <a:off x="46" y="4091393"/>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Light" panose="020B0502040204020203" pitchFamily="34" charset="0"/>
                    <a:ea typeface="+mn-ea"/>
                    <a:cs typeface="Segoe UI Light" panose="020B0502040204020203" pitchFamily="34" charset="0"/>
                  </a:rPr>
                  <a:t>RESPOND</a:t>
                </a:r>
              </a:p>
            </p:txBody>
          </p:sp>
        </p:grpSp>
      </p:grpSp>
    </p:spTree>
    <p:extLst>
      <p:ext uri="{BB962C8B-B14F-4D97-AF65-F5344CB8AC3E}">
        <p14:creationId xmlns:p14="http://schemas.microsoft.com/office/powerpoint/2010/main" val="2725013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1"/>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61"/>
                                        </p:tgtEl>
                                        <p:attrNameLst>
                                          <p:attrName>style.visibility</p:attrName>
                                        </p:attrNameLst>
                                      </p:cBhvr>
                                      <p:to>
                                        <p:strVal val="hidden"/>
                                      </p:to>
                                    </p:set>
                                  </p:childTnLst>
                                </p:cTn>
                              </p:par>
                              <p:par>
                                <p:cTn id="9" presetID="10" presetClass="exit" presetSubtype="0" fill="hold" nodeType="withEffect">
                                  <p:stCondLst>
                                    <p:cond delay="0"/>
                                  </p:stCondLst>
                                  <p:childTnLst>
                                    <p:animEffect transition="out" filter="fade">
                                      <p:cBhvr>
                                        <p:cTn id="10" dur="1000"/>
                                        <p:tgtEl>
                                          <p:spTgt spid="3"/>
                                        </p:tgtEl>
                                      </p:cBhvr>
                                    </p:animEffect>
                                    <p:set>
                                      <p:cBhvr>
                                        <p:cTn id="11" dur="1" fill="hold">
                                          <p:stCondLst>
                                            <p:cond delay="999"/>
                                          </p:stCondLst>
                                        </p:cTn>
                                        <p:tgtEl>
                                          <p:spTgt spid="3"/>
                                        </p:tgtEl>
                                        <p:attrNameLst>
                                          <p:attrName>style.visibility</p:attrName>
                                        </p:attrNameLst>
                                      </p:cBhvr>
                                      <p:to>
                                        <p:strVal val="hidden"/>
                                      </p:to>
                                    </p:set>
                                  </p:childTnLst>
                                </p:cTn>
                              </p:par>
                              <p:par>
                                <p:cTn id="12" presetID="10" presetClass="exit" presetSubtype="0" fill="hold" grpId="0" nodeType="withEffect">
                                  <p:stCondLst>
                                    <p:cond delay="0"/>
                                  </p:stCondLst>
                                  <p:childTnLst>
                                    <p:animEffect transition="out" filter="fade">
                                      <p:cBhvr>
                                        <p:cTn id="13" dur="1000"/>
                                        <p:tgtEl>
                                          <p:spTgt spid="33"/>
                                        </p:tgtEl>
                                      </p:cBhvr>
                                    </p:animEffect>
                                    <p:set>
                                      <p:cBhvr>
                                        <p:cTn id="14" dur="1" fill="hold">
                                          <p:stCondLst>
                                            <p:cond delay="999"/>
                                          </p:stCondLst>
                                        </p:cTn>
                                        <p:tgtEl>
                                          <p:spTgt spid="33"/>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39"/>
                                        </p:tgtEl>
                                        <p:attrNameLst>
                                          <p:attrName>style.visibility</p:attrName>
                                        </p:attrNameLst>
                                      </p:cBhvr>
                                      <p:to>
                                        <p:strVal val="hidden"/>
                                      </p:to>
                                    </p:set>
                                  </p:childTnLst>
                                </p:cTn>
                              </p:par>
                              <p:par>
                                <p:cTn id="17" presetID="22" presetClass="entr" presetSubtype="4" fill="hold" grpId="0"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wipe(down)">
                                      <p:cBhvr>
                                        <p:cTn id="19" dur="1000"/>
                                        <p:tgtEl>
                                          <p:spTgt spid="36"/>
                                        </p:tgtEl>
                                      </p:cBhvr>
                                    </p:animEffect>
                                  </p:childTnLst>
                                </p:cTn>
                              </p:par>
                              <p:par>
                                <p:cTn id="20" presetID="64" presetClass="path" presetSubtype="0" accel="50000" decel="50000" fill="hold" grpId="0" nodeType="withEffect">
                                  <p:stCondLst>
                                    <p:cond delay="0"/>
                                  </p:stCondLst>
                                  <p:childTnLst>
                                    <p:animMotion origin="layout" path="M 3.75E-6 1.48148E-6 L 3.75E-6 -0.13565 " pathEditMode="relative" rAng="0" ptsTypes="AA">
                                      <p:cBhvr>
                                        <p:cTn id="21" dur="2000" fill="hold"/>
                                        <p:tgtEl>
                                          <p:spTgt spid="44"/>
                                        </p:tgtEl>
                                        <p:attrNameLst>
                                          <p:attrName>ppt_x</p:attrName>
                                          <p:attrName>ppt_y</p:attrName>
                                        </p:attrNameLst>
                                      </p:cBhvr>
                                      <p:rCtr x="0" y="-6782"/>
                                    </p:animMotion>
                                  </p:childTnLst>
                                </p:cTn>
                              </p:par>
                              <p:par>
                                <p:cTn id="22" presetID="10" presetClass="entr" presetSubtype="0" fill="hold" grpId="0" nodeType="withEffect">
                                  <p:stCondLst>
                                    <p:cond delay="1300"/>
                                  </p:stCondLst>
                                  <p:childTnLst>
                                    <p:set>
                                      <p:cBhvr>
                                        <p:cTn id="23" dur="1" fill="hold">
                                          <p:stCondLst>
                                            <p:cond delay="0"/>
                                          </p:stCondLst>
                                        </p:cTn>
                                        <p:tgtEl>
                                          <p:spTgt spid="45"/>
                                        </p:tgtEl>
                                        <p:attrNameLst>
                                          <p:attrName>style.visibility</p:attrName>
                                        </p:attrNameLst>
                                      </p:cBhvr>
                                      <p:to>
                                        <p:strVal val="visible"/>
                                      </p:to>
                                    </p:set>
                                    <p:animEffect transition="in" filter="fade">
                                      <p:cBhvr>
                                        <p:cTn id="24" dur="75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33" grpId="0"/>
      <p:bldP spid="36" grpId="0" animBg="1"/>
      <p:bldP spid="44" grpId="0"/>
      <p:bldP spid="4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D649013-159B-4E06-BA54-23C49757992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020" y="0"/>
            <a:ext cx="12186911" cy="3892195"/>
          </a:xfrm>
          <a:prstGeom prst="rect">
            <a:avLst/>
          </a:prstGeom>
        </p:spPr>
      </p:pic>
      <p:pic>
        <p:nvPicPr>
          <p:cNvPr id="4" name="RECOVER PICTURE">
            <a:extLst>
              <a:ext uri="{FF2B5EF4-FFF2-40B4-BE49-F238E27FC236}">
                <a16:creationId xmlns:a16="http://schemas.microsoft.com/office/drawing/2014/main" id="{F657EAE6-0396-4395-8C28-75FD3F36AAC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 y="5327"/>
            <a:ext cx="12188951" cy="3877956"/>
          </a:xfrm>
          <a:prstGeom prst="rect">
            <a:avLst/>
          </a:prstGeom>
        </p:spPr>
      </p:pic>
      <p:sp>
        <p:nvSpPr>
          <p:cNvPr id="31" name="Rectangle 30">
            <a:extLst>
              <a:ext uri="{FF2B5EF4-FFF2-40B4-BE49-F238E27FC236}">
                <a16:creationId xmlns:a16="http://schemas.microsoft.com/office/drawing/2014/main" id="{1957BCF7-0E01-4607-A0EC-34EB3B330849}"/>
              </a:ext>
            </a:extLst>
          </p:cNvPr>
          <p:cNvSpPr/>
          <p:nvPr/>
        </p:nvSpPr>
        <p:spPr>
          <a:xfrm>
            <a:off x="0" y="-1"/>
            <a:ext cx="12192000" cy="6858001"/>
          </a:xfrm>
          <a:prstGeom prst="rect">
            <a:avLst/>
          </a:prstGeom>
          <a:solidFill>
            <a:srgbClr val="262626">
              <a:alpha val="6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D3387757-B7DC-449F-A869-C76802618939}"/>
              </a:ext>
            </a:extLst>
          </p:cNvPr>
          <p:cNvSpPr/>
          <p:nvPr/>
        </p:nvSpPr>
        <p:spPr>
          <a:xfrm>
            <a:off x="0"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Isosceles Triangle 5">
            <a:extLst>
              <a:ext uri="{FF2B5EF4-FFF2-40B4-BE49-F238E27FC236}">
                <a16:creationId xmlns:a16="http://schemas.microsoft.com/office/drawing/2014/main" id="{779D79D4-87D7-4D9B-8D7A-6E32224CB248}"/>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Shape 12">
            <a:extLst>
              <a:ext uri="{FF2B5EF4-FFF2-40B4-BE49-F238E27FC236}">
                <a16:creationId xmlns:a16="http://schemas.microsoft.com/office/drawing/2014/main" id="{BD917FDB-BDFC-4A66-8119-1445C3A8DE5D}"/>
              </a:ext>
            </a:extLst>
          </p:cNvPr>
          <p:cNvSpPr/>
          <p:nvPr/>
        </p:nvSpPr>
        <p:spPr>
          <a:xfrm>
            <a:off x="4062984"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6" name="Freeform: Shape 15">
            <a:extLst>
              <a:ext uri="{FF2B5EF4-FFF2-40B4-BE49-F238E27FC236}">
                <a16:creationId xmlns:a16="http://schemas.microsoft.com/office/drawing/2014/main" id="{1509CB4A-6826-447B-AB0A-A8001F6A6C7F}"/>
              </a:ext>
            </a:extLst>
          </p:cNvPr>
          <p:cNvSpPr/>
          <p:nvPr/>
        </p:nvSpPr>
        <p:spPr>
          <a:xfrm>
            <a:off x="8125967"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9" name="Isosceles Triangle 18">
            <a:extLst>
              <a:ext uri="{FF2B5EF4-FFF2-40B4-BE49-F238E27FC236}">
                <a16:creationId xmlns:a16="http://schemas.microsoft.com/office/drawing/2014/main" id="{6ADE40BC-670C-446B-A980-995D95C9A020}"/>
              </a:ext>
            </a:extLst>
          </p:cNvPr>
          <p:cNvSpPr/>
          <p:nvPr/>
        </p:nvSpPr>
        <p:spPr>
          <a:xfrm>
            <a:off x="8056289"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Isosceles Triangle 19">
            <a:extLst>
              <a:ext uri="{FF2B5EF4-FFF2-40B4-BE49-F238E27FC236}">
                <a16:creationId xmlns:a16="http://schemas.microsoft.com/office/drawing/2014/main" id="{7F857FB7-4030-4434-AAD3-D3F81BEBA7C6}"/>
              </a:ext>
            </a:extLst>
          </p:cNvPr>
          <p:cNvSpPr/>
          <p:nvPr/>
        </p:nvSpPr>
        <p:spPr>
          <a:xfrm>
            <a:off x="12119272"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23" name="Group 22">
            <a:extLst>
              <a:ext uri="{FF2B5EF4-FFF2-40B4-BE49-F238E27FC236}">
                <a16:creationId xmlns:a16="http://schemas.microsoft.com/office/drawing/2014/main" id="{3C2CD78E-0D2E-4CFF-BB05-4BE9BC23405D}"/>
              </a:ext>
            </a:extLst>
          </p:cNvPr>
          <p:cNvGrpSpPr/>
          <p:nvPr/>
        </p:nvGrpSpPr>
        <p:grpSpPr>
          <a:xfrm>
            <a:off x="32963" y="3892196"/>
            <a:ext cx="3960343" cy="195612"/>
            <a:chOff x="32963" y="463196"/>
            <a:chExt cx="3960343" cy="195612"/>
          </a:xfrm>
        </p:grpSpPr>
        <p:sp>
          <p:nvSpPr>
            <p:cNvPr id="21" name="Isosceles Triangle 20">
              <a:extLst>
                <a:ext uri="{FF2B5EF4-FFF2-40B4-BE49-F238E27FC236}">
                  <a16:creationId xmlns:a16="http://schemas.microsoft.com/office/drawing/2014/main" id="{EF412553-C5FC-4840-AB0E-9E123FD5E47A}"/>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Isosceles Triangle 21">
              <a:extLst>
                <a:ext uri="{FF2B5EF4-FFF2-40B4-BE49-F238E27FC236}">
                  <a16:creationId xmlns:a16="http://schemas.microsoft.com/office/drawing/2014/main" id="{0ADC183C-8141-464F-B169-C67382872D57}"/>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4" name="Group 23">
            <a:extLst>
              <a:ext uri="{FF2B5EF4-FFF2-40B4-BE49-F238E27FC236}">
                <a16:creationId xmlns:a16="http://schemas.microsoft.com/office/drawing/2014/main" id="{92430A68-3C30-40A0-B41C-A315AC9300CE}"/>
              </a:ext>
            </a:extLst>
          </p:cNvPr>
          <p:cNvGrpSpPr/>
          <p:nvPr/>
        </p:nvGrpSpPr>
        <p:grpSpPr>
          <a:xfrm>
            <a:off x="4115829" y="3892196"/>
            <a:ext cx="3960343" cy="195612"/>
            <a:chOff x="32963" y="463196"/>
            <a:chExt cx="3960343" cy="195612"/>
          </a:xfrm>
        </p:grpSpPr>
        <p:sp>
          <p:nvSpPr>
            <p:cNvPr id="25" name="Isosceles Triangle 24">
              <a:extLst>
                <a:ext uri="{FF2B5EF4-FFF2-40B4-BE49-F238E27FC236}">
                  <a16:creationId xmlns:a16="http://schemas.microsoft.com/office/drawing/2014/main" id="{D033CB06-76BF-4474-94FF-0931D9DD6EC9}"/>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6" name="Isosceles Triangle 25">
              <a:extLst>
                <a:ext uri="{FF2B5EF4-FFF2-40B4-BE49-F238E27FC236}">
                  <a16:creationId xmlns:a16="http://schemas.microsoft.com/office/drawing/2014/main" id="{0CA53F7D-AC96-4AA4-BA5D-F51B83BBFDE6}"/>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328DB9CA-809F-4A9C-88F6-80C8DE611B7D}"/>
              </a:ext>
            </a:extLst>
          </p:cNvPr>
          <p:cNvGrpSpPr/>
          <p:nvPr/>
        </p:nvGrpSpPr>
        <p:grpSpPr>
          <a:xfrm>
            <a:off x="8177287" y="3892196"/>
            <a:ext cx="3960343" cy="195612"/>
            <a:chOff x="32963" y="463196"/>
            <a:chExt cx="3960343" cy="195612"/>
          </a:xfrm>
        </p:grpSpPr>
        <p:sp>
          <p:nvSpPr>
            <p:cNvPr id="28" name="Isosceles Triangle 27">
              <a:extLst>
                <a:ext uri="{FF2B5EF4-FFF2-40B4-BE49-F238E27FC236}">
                  <a16:creationId xmlns:a16="http://schemas.microsoft.com/office/drawing/2014/main" id="{59E3D266-5411-4FE6-A72C-36B4B06C904C}"/>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9" name="Isosceles Triangle 28">
              <a:extLst>
                <a:ext uri="{FF2B5EF4-FFF2-40B4-BE49-F238E27FC236}">
                  <a16:creationId xmlns:a16="http://schemas.microsoft.com/office/drawing/2014/main" id="{477117DA-1D1F-4BF3-9008-8461DC2F2DDB}"/>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0" name="TextBox 39">
            <a:extLst>
              <a:ext uri="{FF2B5EF4-FFF2-40B4-BE49-F238E27FC236}">
                <a16:creationId xmlns:a16="http://schemas.microsoft.com/office/drawing/2014/main" id="{6F288345-815F-481E-8BFA-0AF5B7C31A8F}"/>
              </a:ext>
            </a:extLst>
          </p:cNvPr>
          <p:cNvSpPr txBox="1"/>
          <p:nvPr/>
        </p:nvSpPr>
        <p:spPr>
          <a:xfrm>
            <a:off x="4076702" y="5021680"/>
            <a:ext cx="4057650" cy="584775"/>
          </a:xfrm>
          <a:prstGeom prst="rect">
            <a:avLst/>
          </a:prstGeom>
          <a:noFill/>
        </p:spPr>
        <p:txBody>
          <a:bodyPr wrap="square" rtlCol="0">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32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Segoe UI Light" panose="020B0502040204020203" pitchFamily="34" charset="0"/>
                <a:cs typeface="Segoe UI Light"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Light" panose="020B0502040204020203" pitchFamily="34" charset="0"/>
                <a:ea typeface="+mn-ea"/>
                <a:cs typeface="Segoe UI Light" panose="020B0502040204020203" pitchFamily="34" charset="0"/>
              </a:rPr>
              <a:t>RECOVER</a:t>
            </a:r>
          </a:p>
        </p:txBody>
      </p:sp>
      <p:sp>
        <p:nvSpPr>
          <p:cNvPr id="41" name="TextBox 40">
            <a:extLst>
              <a:ext uri="{FF2B5EF4-FFF2-40B4-BE49-F238E27FC236}">
                <a16:creationId xmlns:a16="http://schemas.microsoft.com/office/drawing/2014/main" id="{8818B310-F2D7-4FE4-B308-3B5046C61A67}"/>
              </a:ext>
            </a:extLst>
          </p:cNvPr>
          <p:cNvSpPr txBox="1"/>
          <p:nvPr/>
        </p:nvSpPr>
        <p:spPr>
          <a:xfrm>
            <a:off x="8153404" y="5021680"/>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IMAGINE</a:t>
            </a:r>
          </a:p>
        </p:txBody>
      </p:sp>
      <p:sp>
        <p:nvSpPr>
          <p:cNvPr id="36" name="Freeform: Shape 35">
            <a:extLst>
              <a:ext uri="{FF2B5EF4-FFF2-40B4-BE49-F238E27FC236}">
                <a16:creationId xmlns:a16="http://schemas.microsoft.com/office/drawing/2014/main" id="{A52B8C24-FBEF-4362-AD2C-DED02C11D7C3}"/>
              </a:ext>
            </a:extLst>
          </p:cNvPr>
          <p:cNvSpPr/>
          <p:nvPr/>
        </p:nvSpPr>
        <p:spPr>
          <a:xfrm>
            <a:off x="0"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37" name="Isosceles Triangle 36">
            <a:extLst>
              <a:ext uri="{FF2B5EF4-FFF2-40B4-BE49-F238E27FC236}">
                <a16:creationId xmlns:a16="http://schemas.microsoft.com/office/drawing/2014/main" id="{1784D459-F9FC-4D44-9F3E-3A64D7ACFD9D}"/>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38" name="Group 37">
            <a:extLst>
              <a:ext uri="{FF2B5EF4-FFF2-40B4-BE49-F238E27FC236}">
                <a16:creationId xmlns:a16="http://schemas.microsoft.com/office/drawing/2014/main" id="{27277784-14C9-47A6-82B5-A7C149D84515}"/>
              </a:ext>
            </a:extLst>
          </p:cNvPr>
          <p:cNvGrpSpPr/>
          <p:nvPr/>
        </p:nvGrpSpPr>
        <p:grpSpPr>
          <a:xfrm>
            <a:off x="32963" y="3892196"/>
            <a:ext cx="3960343" cy="195612"/>
            <a:chOff x="32963" y="463196"/>
            <a:chExt cx="3960343" cy="195612"/>
          </a:xfrm>
        </p:grpSpPr>
        <p:sp>
          <p:nvSpPr>
            <p:cNvPr id="42" name="Isosceles Triangle 41">
              <a:extLst>
                <a:ext uri="{FF2B5EF4-FFF2-40B4-BE49-F238E27FC236}">
                  <a16:creationId xmlns:a16="http://schemas.microsoft.com/office/drawing/2014/main" id="{9CEBD325-8D26-4F62-8437-FBB424F01382}"/>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Isosceles Triangle 42">
              <a:extLst>
                <a:ext uri="{FF2B5EF4-FFF2-40B4-BE49-F238E27FC236}">
                  <a16:creationId xmlns:a16="http://schemas.microsoft.com/office/drawing/2014/main" id="{62D6A620-38EC-4B8F-868E-F1CE775B5546}"/>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8" name="RESPOND WHITE">
            <a:extLst>
              <a:ext uri="{FF2B5EF4-FFF2-40B4-BE49-F238E27FC236}">
                <a16:creationId xmlns:a16="http://schemas.microsoft.com/office/drawing/2014/main" id="{A415CEC0-E59F-4F28-B122-2CA7D132C1D8}"/>
              </a:ext>
            </a:extLst>
          </p:cNvPr>
          <p:cNvSpPr txBox="1"/>
          <p:nvPr/>
        </p:nvSpPr>
        <p:spPr>
          <a:xfrm>
            <a:off x="46" y="4091393"/>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SPOND</a:t>
            </a:r>
          </a:p>
        </p:txBody>
      </p:sp>
      <p:sp>
        <p:nvSpPr>
          <p:cNvPr id="49" name="RECOVER SUMMARY TEXT">
            <a:extLst>
              <a:ext uri="{FF2B5EF4-FFF2-40B4-BE49-F238E27FC236}">
                <a16:creationId xmlns:a16="http://schemas.microsoft.com/office/drawing/2014/main" id="{C6EECCD8-7564-474A-B80A-8BA74FE88E5D}"/>
              </a:ext>
            </a:extLst>
          </p:cNvPr>
          <p:cNvSpPr txBox="1"/>
          <p:nvPr/>
        </p:nvSpPr>
        <p:spPr>
          <a:xfrm>
            <a:off x="4552132" y="4821625"/>
            <a:ext cx="3083756" cy="1569660"/>
          </a:xfrm>
          <a:prstGeom prst="rect">
            <a:avLst/>
          </a:prstGeom>
          <a:noFill/>
        </p:spPr>
        <p:txBody>
          <a:bodyPr wrap="square" rtlCol="0">
            <a:spAutoFit/>
          </a:bodyPr>
          <a:lstStyle>
            <a:defPPr>
              <a:defRPr lang="en-US"/>
            </a:defPPr>
            <a:lvl1pPr algn="ctr">
              <a:defRPr sz="24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Build on lessons learned during crisis and transition to post-</a:t>
            </a:r>
            <a:r>
              <a:rPr kumimoji="0" lang="en-US" sz="2400" b="0" i="0" u="none" strike="noStrike" kern="1200" cap="none" spc="0" normalizeH="0" baseline="0" noProof="0" err="1">
                <a:ln>
                  <a:noFill/>
                </a:ln>
                <a:solidFill>
                  <a:srgbClr val="FFFFFF"/>
                </a:solidFill>
                <a:effectLst/>
                <a:uLnTx/>
                <a:uFillTx/>
                <a:latin typeface="Segoe UI Light"/>
                <a:ea typeface="+mn-ea"/>
                <a:cs typeface="+mn-cs"/>
              </a:rPr>
              <a:t>Covid</a:t>
            </a:r>
            <a:r>
              <a:rPr kumimoji="0" lang="en-US" sz="2400" b="0" i="0" u="none" strike="noStrike" kern="1200" cap="none" spc="0" normalizeH="0" baseline="0" noProof="0">
                <a:ln>
                  <a:noFill/>
                </a:ln>
                <a:solidFill>
                  <a:srgbClr val="FFFFFF"/>
                </a:solidFill>
                <a:effectLst/>
                <a:uLnTx/>
                <a:uFillTx/>
                <a:latin typeface="Segoe UI Light"/>
                <a:ea typeface="+mn-ea"/>
                <a:cs typeface="+mn-cs"/>
              </a:rPr>
              <a:t> world</a:t>
            </a:r>
          </a:p>
        </p:txBody>
      </p:sp>
      <p:grpSp>
        <p:nvGrpSpPr>
          <p:cNvPr id="97" name="HIDE AT START">
            <a:extLst>
              <a:ext uri="{FF2B5EF4-FFF2-40B4-BE49-F238E27FC236}">
                <a16:creationId xmlns:a16="http://schemas.microsoft.com/office/drawing/2014/main" id="{E95C7C2F-4CEE-4B8A-9D70-A05FF76C769C}"/>
              </a:ext>
            </a:extLst>
          </p:cNvPr>
          <p:cNvGrpSpPr/>
          <p:nvPr/>
        </p:nvGrpSpPr>
        <p:grpSpPr>
          <a:xfrm>
            <a:off x="-1" y="-1"/>
            <a:ext cx="12211055" cy="6858001"/>
            <a:chOff x="-1" y="-1"/>
            <a:chExt cx="12211055" cy="6858001"/>
          </a:xfrm>
        </p:grpSpPr>
        <p:pic>
          <p:nvPicPr>
            <p:cNvPr id="98" name="Picture 97">
              <a:extLst>
                <a:ext uri="{FF2B5EF4-FFF2-40B4-BE49-F238E27FC236}">
                  <a16:creationId xmlns:a16="http://schemas.microsoft.com/office/drawing/2014/main" id="{620F036E-6064-4630-A2F6-AA7E78010A2D}"/>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020" y="0"/>
              <a:ext cx="12186911" cy="3892195"/>
            </a:xfrm>
            <a:prstGeom prst="rect">
              <a:avLst/>
            </a:prstGeom>
          </p:spPr>
        </p:pic>
        <p:pic>
          <p:nvPicPr>
            <p:cNvPr id="99" name="RECOVER PICTURE">
              <a:extLst>
                <a:ext uri="{FF2B5EF4-FFF2-40B4-BE49-F238E27FC236}">
                  <a16:creationId xmlns:a16="http://schemas.microsoft.com/office/drawing/2014/main" id="{975CC166-F422-496C-B93C-F41ED778C9F2}"/>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 y="5327"/>
              <a:ext cx="12188951" cy="3877956"/>
            </a:xfrm>
            <a:prstGeom prst="rect">
              <a:avLst/>
            </a:prstGeom>
          </p:spPr>
        </p:pic>
        <p:sp>
          <p:nvSpPr>
            <p:cNvPr id="100" name="Rectangle 99">
              <a:extLst>
                <a:ext uri="{FF2B5EF4-FFF2-40B4-BE49-F238E27FC236}">
                  <a16:creationId xmlns:a16="http://schemas.microsoft.com/office/drawing/2014/main" id="{5B49B37B-BC1A-426A-B81A-7DD8CD39C8D8}"/>
                </a:ext>
              </a:extLst>
            </p:cNvPr>
            <p:cNvSpPr/>
            <p:nvPr/>
          </p:nvSpPr>
          <p:spPr>
            <a:xfrm>
              <a:off x="0" y="-1"/>
              <a:ext cx="12192000" cy="6858001"/>
            </a:xfrm>
            <a:prstGeom prst="rect">
              <a:avLst/>
            </a:prstGeom>
            <a:solidFill>
              <a:srgbClr val="262626">
                <a:alpha val="6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800" b="0" i="0" u="none" strike="noStrike" kern="1200" cap="none" spc="0" normalizeH="0" baseline="0" noProof="0">
                <a:ln>
                  <a:noFill/>
                </a:ln>
                <a:solidFill>
                  <a:srgbClr val="FFFFFF"/>
                </a:solidFill>
                <a:effectLst/>
                <a:uLnTx/>
                <a:uFillTx/>
                <a:latin typeface="Segoe UI"/>
                <a:ea typeface="+mn-ea"/>
                <a:cs typeface="+mn-cs"/>
              </a:endParaRPr>
            </a:p>
          </p:txBody>
        </p:sp>
        <p:sp>
          <p:nvSpPr>
            <p:cNvPr id="101" name="Freeform: Shape 100">
              <a:extLst>
                <a:ext uri="{FF2B5EF4-FFF2-40B4-BE49-F238E27FC236}">
                  <a16:creationId xmlns:a16="http://schemas.microsoft.com/office/drawing/2014/main" id="{2B3E1F96-9562-445C-B16E-8F66F057DCD9}"/>
                </a:ext>
              </a:extLst>
            </p:cNvPr>
            <p:cNvSpPr/>
            <p:nvPr/>
          </p:nvSpPr>
          <p:spPr>
            <a:xfrm>
              <a:off x="0"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2" name="Isosceles Triangle 101">
              <a:extLst>
                <a:ext uri="{FF2B5EF4-FFF2-40B4-BE49-F238E27FC236}">
                  <a16:creationId xmlns:a16="http://schemas.microsoft.com/office/drawing/2014/main" id="{8C4CCB36-3859-43E7-86D6-E1F661EBFE4A}"/>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3" name="Freeform: Shape 102">
              <a:extLst>
                <a:ext uri="{FF2B5EF4-FFF2-40B4-BE49-F238E27FC236}">
                  <a16:creationId xmlns:a16="http://schemas.microsoft.com/office/drawing/2014/main" id="{7D8BD7B8-02D3-4336-AB49-853472438DC8}"/>
                </a:ext>
              </a:extLst>
            </p:cNvPr>
            <p:cNvSpPr/>
            <p:nvPr/>
          </p:nvSpPr>
          <p:spPr>
            <a:xfrm>
              <a:off x="4062984"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4" name="Freeform: Shape 103">
              <a:extLst>
                <a:ext uri="{FF2B5EF4-FFF2-40B4-BE49-F238E27FC236}">
                  <a16:creationId xmlns:a16="http://schemas.microsoft.com/office/drawing/2014/main" id="{6B98F6B8-EBC7-4DAD-97B3-C0BB26DB45D7}"/>
                </a:ext>
              </a:extLst>
            </p:cNvPr>
            <p:cNvSpPr/>
            <p:nvPr/>
          </p:nvSpPr>
          <p:spPr>
            <a:xfrm>
              <a:off x="8125967" y="3640667"/>
              <a:ext cx="4062984" cy="3217333"/>
            </a:xfrm>
            <a:custGeom>
              <a:avLst/>
              <a:gdLst>
                <a:gd name="connsiteX0" fmla="*/ 0 w 4045058"/>
                <a:gd name="connsiteY0" fmla="*/ 249408 h 3217333"/>
                <a:gd name="connsiteX1" fmla="*/ 4045058 w 4045058"/>
                <a:gd name="connsiteY1" fmla="*/ 249408 h 3217333"/>
                <a:gd name="connsiteX2" fmla="*/ 4045058 w 4045058"/>
                <a:gd name="connsiteY2" fmla="*/ 3217333 h 3217333"/>
                <a:gd name="connsiteX3" fmla="*/ 0 w 4045058"/>
                <a:gd name="connsiteY3" fmla="*/ 3217333 h 3217333"/>
                <a:gd name="connsiteX4" fmla="*/ 2022529 w 4045058"/>
                <a:gd name="connsiteY4" fmla="*/ 0 h 3217333"/>
                <a:gd name="connsiteX5" fmla="*/ 2234195 w 4045058"/>
                <a:gd name="connsiteY5" fmla="*/ 249407 h 3217333"/>
                <a:gd name="connsiteX6" fmla="*/ 1810862 w 4045058"/>
                <a:gd name="connsiteY6" fmla="*/ 249407 h 321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5058" h="3217333">
                  <a:moveTo>
                    <a:pt x="0" y="249408"/>
                  </a:moveTo>
                  <a:lnTo>
                    <a:pt x="4045058" y="249408"/>
                  </a:lnTo>
                  <a:lnTo>
                    <a:pt x="4045058" y="3217333"/>
                  </a:lnTo>
                  <a:lnTo>
                    <a:pt x="0" y="3217333"/>
                  </a:lnTo>
                  <a:close/>
                  <a:moveTo>
                    <a:pt x="2022529" y="0"/>
                  </a:moveTo>
                  <a:lnTo>
                    <a:pt x="2234195" y="249407"/>
                  </a:lnTo>
                  <a:lnTo>
                    <a:pt x="1810862" y="249407"/>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5" name="Isosceles Triangle 104">
              <a:extLst>
                <a:ext uri="{FF2B5EF4-FFF2-40B4-BE49-F238E27FC236}">
                  <a16:creationId xmlns:a16="http://schemas.microsoft.com/office/drawing/2014/main" id="{16DC9859-B2AE-4364-A54A-A969EA94FEE7}"/>
                </a:ext>
              </a:extLst>
            </p:cNvPr>
            <p:cNvSpPr/>
            <p:nvPr/>
          </p:nvSpPr>
          <p:spPr>
            <a:xfrm>
              <a:off x="8056289"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6" name="Isosceles Triangle 105">
              <a:extLst>
                <a:ext uri="{FF2B5EF4-FFF2-40B4-BE49-F238E27FC236}">
                  <a16:creationId xmlns:a16="http://schemas.microsoft.com/office/drawing/2014/main" id="{00EF4B46-176C-4CA8-B6BC-5E33DBC8FD11}"/>
                </a:ext>
              </a:extLst>
            </p:cNvPr>
            <p:cNvSpPr/>
            <p:nvPr/>
          </p:nvSpPr>
          <p:spPr>
            <a:xfrm>
              <a:off x="12119272"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07" name="Group 106">
              <a:extLst>
                <a:ext uri="{FF2B5EF4-FFF2-40B4-BE49-F238E27FC236}">
                  <a16:creationId xmlns:a16="http://schemas.microsoft.com/office/drawing/2014/main" id="{6EFD7500-3F35-4AD9-B2D8-C774A8659412}"/>
                </a:ext>
              </a:extLst>
            </p:cNvPr>
            <p:cNvGrpSpPr/>
            <p:nvPr/>
          </p:nvGrpSpPr>
          <p:grpSpPr>
            <a:xfrm>
              <a:off x="32963" y="3892196"/>
              <a:ext cx="3960343" cy="195612"/>
              <a:chOff x="32963" y="463196"/>
              <a:chExt cx="3960343" cy="195612"/>
            </a:xfrm>
          </p:grpSpPr>
          <p:sp>
            <p:nvSpPr>
              <p:cNvPr id="122" name="Isosceles Triangle 121">
                <a:extLst>
                  <a:ext uri="{FF2B5EF4-FFF2-40B4-BE49-F238E27FC236}">
                    <a16:creationId xmlns:a16="http://schemas.microsoft.com/office/drawing/2014/main" id="{426361BE-9D1A-4F1C-860A-5DFFFD3A52A3}"/>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3" name="Isosceles Triangle 122">
                <a:extLst>
                  <a:ext uri="{FF2B5EF4-FFF2-40B4-BE49-F238E27FC236}">
                    <a16:creationId xmlns:a16="http://schemas.microsoft.com/office/drawing/2014/main" id="{B0AE09BC-A2F3-4E43-96AE-0A13555DAC1C}"/>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8" name="Group 107">
              <a:extLst>
                <a:ext uri="{FF2B5EF4-FFF2-40B4-BE49-F238E27FC236}">
                  <a16:creationId xmlns:a16="http://schemas.microsoft.com/office/drawing/2014/main" id="{346CE62B-1E67-43F8-BF63-0AC81C31C7AC}"/>
                </a:ext>
              </a:extLst>
            </p:cNvPr>
            <p:cNvGrpSpPr/>
            <p:nvPr/>
          </p:nvGrpSpPr>
          <p:grpSpPr>
            <a:xfrm>
              <a:off x="4115829" y="3892196"/>
              <a:ext cx="3960343" cy="195612"/>
              <a:chOff x="32963" y="463196"/>
              <a:chExt cx="3960343" cy="195612"/>
            </a:xfrm>
          </p:grpSpPr>
          <p:sp>
            <p:nvSpPr>
              <p:cNvPr id="120" name="Isosceles Triangle 119">
                <a:extLst>
                  <a:ext uri="{FF2B5EF4-FFF2-40B4-BE49-F238E27FC236}">
                    <a16:creationId xmlns:a16="http://schemas.microsoft.com/office/drawing/2014/main" id="{44D1A704-FBF7-44EA-9899-41D0F83CC42D}"/>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1" name="Isosceles Triangle 120">
                <a:extLst>
                  <a:ext uri="{FF2B5EF4-FFF2-40B4-BE49-F238E27FC236}">
                    <a16:creationId xmlns:a16="http://schemas.microsoft.com/office/drawing/2014/main" id="{60A891EA-BD50-481B-8598-C08BD705886B}"/>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09" name="Group 108">
              <a:extLst>
                <a:ext uri="{FF2B5EF4-FFF2-40B4-BE49-F238E27FC236}">
                  <a16:creationId xmlns:a16="http://schemas.microsoft.com/office/drawing/2014/main" id="{AB69E5D4-714E-41BE-AA2C-E75C38DDE70D}"/>
                </a:ext>
              </a:extLst>
            </p:cNvPr>
            <p:cNvGrpSpPr/>
            <p:nvPr/>
          </p:nvGrpSpPr>
          <p:grpSpPr>
            <a:xfrm>
              <a:off x="8177287" y="3892196"/>
              <a:ext cx="3960343" cy="195612"/>
              <a:chOff x="32963" y="463196"/>
              <a:chExt cx="3960343" cy="195612"/>
            </a:xfrm>
          </p:grpSpPr>
          <p:sp>
            <p:nvSpPr>
              <p:cNvPr id="118" name="Isosceles Triangle 117">
                <a:extLst>
                  <a:ext uri="{FF2B5EF4-FFF2-40B4-BE49-F238E27FC236}">
                    <a16:creationId xmlns:a16="http://schemas.microsoft.com/office/drawing/2014/main" id="{30EFF0A6-B99B-4FA6-97CF-2352F445F03A}"/>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9" name="Isosceles Triangle 118">
                <a:extLst>
                  <a:ext uri="{FF2B5EF4-FFF2-40B4-BE49-F238E27FC236}">
                    <a16:creationId xmlns:a16="http://schemas.microsoft.com/office/drawing/2014/main" id="{E3B6E804-637E-4E31-9CBA-903EF3D617DF}"/>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0" name="TextBox 109">
              <a:extLst>
                <a:ext uri="{FF2B5EF4-FFF2-40B4-BE49-F238E27FC236}">
                  <a16:creationId xmlns:a16="http://schemas.microsoft.com/office/drawing/2014/main" id="{90BBE7EE-9D75-42AD-AB30-5FE1A5572113}"/>
                </a:ext>
              </a:extLst>
            </p:cNvPr>
            <p:cNvSpPr txBox="1"/>
            <p:nvPr/>
          </p:nvSpPr>
          <p:spPr>
            <a:xfrm>
              <a:off x="8153404" y="5021680"/>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IMAGINE</a:t>
              </a:r>
            </a:p>
          </p:txBody>
        </p:sp>
        <p:sp>
          <p:nvSpPr>
            <p:cNvPr id="111" name="Isosceles Triangle 110">
              <a:extLst>
                <a:ext uri="{FF2B5EF4-FFF2-40B4-BE49-F238E27FC236}">
                  <a16:creationId xmlns:a16="http://schemas.microsoft.com/office/drawing/2014/main" id="{91B0BF24-7A26-4554-8AC2-D657E80FA171}"/>
                </a:ext>
              </a:extLst>
            </p:cNvPr>
            <p:cNvSpPr/>
            <p:nvPr/>
          </p:nvSpPr>
          <p:spPr>
            <a:xfrm>
              <a:off x="3993306" y="4285281"/>
              <a:ext cx="69679" cy="2572719"/>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nvGrpSpPr>
            <p:cNvPr id="112" name="Group 111">
              <a:extLst>
                <a:ext uri="{FF2B5EF4-FFF2-40B4-BE49-F238E27FC236}">
                  <a16:creationId xmlns:a16="http://schemas.microsoft.com/office/drawing/2014/main" id="{BAD10989-7FEF-4207-A424-D355CA1C3161}"/>
                </a:ext>
              </a:extLst>
            </p:cNvPr>
            <p:cNvGrpSpPr/>
            <p:nvPr/>
          </p:nvGrpSpPr>
          <p:grpSpPr>
            <a:xfrm>
              <a:off x="32963" y="3892196"/>
              <a:ext cx="3960343" cy="195612"/>
              <a:chOff x="32963" y="463196"/>
              <a:chExt cx="3960343" cy="195612"/>
            </a:xfrm>
          </p:grpSpPr>
          <p:sp>
            <p:nvSpPr>
              <p:cNvPr id="116" name="Isosceles Triangle 115">
                <a:extLst>
                  <a:ext uri="{FF2B5EF4-FFF2-40B4-BE49-F238E27FC236}">
                    <a16:creationId xmlns:a16="http://schemas.microsoft.com/office/drawing/2014/main" id="{AF303234-5496-4EA5-ABEF-73276A266691}"/>
                  </a:ext>
                </a:extLst>
              </p:cNvPr>
              <p:cNvSpPr/>
              <p:nvPr/>
            </p:nvSpPr>
            <p:spPr>
              <a:xfrm flipV="1">
                <a:off x="2297520" y="463197"/>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17" name="Isosceles Triangle 116">
                <a:extLst>
                  <a:ext uri="{FF2B5EF4-FFF2-40B4-BE49-F238E27FC236}">
                    <a16:creationId xmlns:a16="http://schemas.microsoft.com/office/drawing/2014/main" id="{7D49965B-AE22-41D2-9569-DADD1AFD3FE5}"/>
                  </a:ext>
                </a:extLst>
              </p:cNvPr>
              <p:cNvSpPr/>
              <p:nvPr/>
            </p:nvSpPr>
            <p:spPr>
              <a:xfrm flipH="1" flipV="1">
                <a:off x="32963" y="463196"/>
                <a:ext cx="1695786" cy="195611"/>
              </a:xfrm>
              <a:prstGeom prst="triangle">
                <a:avLst>
                  <a:gd name="adj" fmla="val 100000"/>
                </a:avLst>
              </a:prstGeom>
              <a:gradFill flip="none" rotWithShape="1">
                <a:gsLst>
                  <a:gs pos="83000">
                    <a:schemeClr val="bg2">
                      <a:lumMod val="25000"/>
                      <a:alpha val="5000"/>
                    </a:schemeClr>
                  </a:gs>
                  <a:gs pos="0">
                    <a:schemeClr val="bg2">
                      <a:lumMod val="25000"/>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3" name="RECOVER SUMMARY TEXT">
              <a:extLst>
                <a:ext uri="{FF2B5EF4-FFF2-40B4-BE49-F238E27FC236}">
                  <a16:creationId xmlns:a16="http://schemas.microsoft.com/office/drawing/2014/main" id="{226108D6-7B78-4EED-8B41-69EF770A6C7A}"/>
                </a:ext>
              </a:extLst>
            </p:cNvPr>
            <p:cNvSpPr txBox="1"/>
            <p:nvPr/>
          </p:nvSpPr>
          <p:spPr>
            <a:xfrm>
              <a:off x="4552132" y="4821625"/>
              <a:ext cx="3083756" cy="1569660"/>
            </a:xfrm>
            <a:prstGeom prst="rect">
              <a:avLst/>
            </a:prstGeom>
            <a:noFill/>
          </p:spPr>
          <p:txBody>
            <a:bodyPr wrap="square" rtlCol="0">
              <a:spAutoFit/>
            </a:bodyPr>
            <a:lstStyle>
              <a:defPPr>
                <a:defRPr lang="en-US"/>
              </a:defPPr>
              <a:lvl1pPr algn="ctr">
                <a:defRPr sz="2400">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Light"/>
                  <a:ea typeface="+mn-ea"/>
                  <a:cs typeface="+mn-cs"/>
                </a:rPr>
                <a:t>Build on lessons learned during crisis and transition to post-</a:t>
              </a:r>
              <a:r>
                <a:rPr kumimoji="0" lang="en-US" sz="2400" b="0" i="0" u="none" strike="noStrike" kern="1200" cap="none" spc="0" normalizeH="0" baseline="0" noProof="0" err="1">
                  <a:ln>
                    <a:noFill/>
                  </a:ln>
                  <a:solidFill>
                    <a:srgbClr val="FFFFFF"/>
                  </a:solidFill>
                  <a:effectLst/>
                  <a:uLnTx/>
                  <a:uFillTx/>
                  <a:latin typeface="Segoe UI Light"/>
                  <a:ea typeface="+mn-ea"/>
                  <a:cs typeface="+mn-cs"/>
                </a:rPr>
                <a:t>Covid</a:t>
              </a:r>
              <a:r>
                <a:rPr kumimoji="0" lang="en-US" sz="2400" b="0" i="0" u="none" strike="noStrike" kern="1200" cap="none" spc="0" normalizeH="0" baseline="0" noProof="0">
                  <a:ln>
                    <a:noFill/>
                  </a:ln>
                  <a:solidFill>
                    <a:srgbClr val="FFFFFF"/>
                  </a:solidFill>
                  <a:effectLst/>
                  <a:uLnTx/>
                  <a:uFillTx/>
                  <a:latin typeface="Segoe UI Light"/>
                  <a:ea typeface="+mn-ea"/>
                  <a:cs typeface="+mn-cs"/>
                </a:rPr>
                <a:t> world</a:t>
              </a:r>
            </a:p>
          </p:txBody>
        </p:sp>
        <p:sp>
          <p:nvSpPr>
            <p:cNvPr id="114" name="TextBox 113">
              <a:extLst>
                <a:ext uri="{FF2B5EF4-FFF2-40B4-BE49-F238E27FC236}">
                  <a16:creationId xmlns:a16="http://schemas.microsoft.com/office/drawing/2014/main" id="{6F4CC5A8-D58E-4678-864F-F59FF9C9949B}"/>
                </a:ext>
              </a:extLst>
            </p:cNvPr>
            <p:cNvSpPr txBox="1"/>
            <p:nvPr/>
          </p:nvSpPr>
          <p:spPr>
            <a:xfrm>
              <a:off x="4076748" y="4091392"/>
              <a:ext cx="4057650" cy="584775"/>
            </a:xfrm>
            <a:prstGeom prst="rect">
              <a:avLst/>
            </a:prstGeom>
            <a:noFill/>
          </p:spPr>
          <p:txBody>
            <a:bodyPr wrap="square" rtlCol="0">
              <a:spAutoFit/>
            </a:bodyPr>
            <a:lstStyle>
              <a:defPPr>
                <a:defRPr lang="en-US"/>
              </a:defPPr>
              <a:lvl1pPr marR="0" lvl="0" indent="0" algn="ctr" defTabSz="914367" fontAlgn="auto">
                <a:lnSpc>
                  <a:spcPct val="100000"/>
                </a:lnSpc>
                <a:spcBef>
                  <a:spcPts val="0"/>
                </a:spcBef>
                <a:spcAft>
                  <a:spcPts val="0"/>
                </a:spcAft>
                <a:buClrTx/>
                <a:buSzTx/>
                <a:buFontTx/>
                <a:buNone/>
                <a:tabLst/>
                <a:defRPr kumimoji="0" sz="3200" b="1" i="0" u="none" strike="noStrike" cap="none" spc="0" normalizeH="0" baseline="0">
                  <a:ln>
                    <a:noFill/>
                  </a:ln>
                  <a:solidFill>
                    <a:schemeClr val="bg1"/>
                  </a:solidFill>
                  <a:effectLst>
                    <a:outerShdw blurRad="38100" dist="38100" dir="2700000" algn="tl">
                      <a:srgbClr val="000000">
                        <a:alpha val="43137"/>
                      </a:srgbClr>
                    </a:outerShdw>
                  </a:effectLst>
                  <a:uLnTx/>
                  <a:uFillTx/>
                  <a:latin typeface="Segoe UI Light" panose="020B0502040204020203" pitchFamily="34" charset="0"/>
                  <a:cs typeface="Segoe UI Light" panose="020B0502040204020203" pitchFamily="34" charset="0"/>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Segoe UI Light" panose="020B0502040204020203" pitchFamily="34" charset="0"/>
                  <a:ea typeface="+mn-ea"/>
                  <a:cs typeface="Segoe UI Light" panose="020B0502040204020203" pitchFamily="34" charset="0"/>
                </a:rPr>
                <a:t>RECOVER</a:t>
              </a:r>
            </a:p>
          </p:txBody>
        </p:sp>
        <p:sp>
          <p:nvSpPr>
            <p:cNvPr id="115" name="RESPOND WHITE">
              <a:extLst>
                <a:ext uri="{FF2B5EF4-FFF2-40B4-BE49-F238E27FC236}">
                  <a16:creationId xmlns:a16="http://schemas.microsoft.com/office/drawing/2014/main" id="{984A97FF-0A55-46E5-AE90-255ACDE5E870}"/>
                </a:ext>
              </a:extLst>
            </p:cNvPr>
            <p:cNvSpPr txBox="1"/>
            <p:nvPr/>
          </p:nvSpPr>
          <p:spPr>
            <a:xfrm>
              <a:off x="92" y="5021612"/>
              <a:ext cx="4057650" cy="584775"/>
            </a:xfrm>
            <a:prstGeom prst="rect">
              <a:avLst/>
            </a:prstGeom>
            <a:noFill/>
          </p:spPr>
          <p:txBody>
            <a:bodyPr wrap="square"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E7E6E6">
                      <a:lumMod val="50000"/>
                    </a:srgbClr>
                  </a:solidFill>
                  <a:effectLst/>
                  <a:uLnTx/>
                  <a:uFillTx/>
                  <a:latin typeface="Segoe UI Light" panose="020B0502040204020203" pitchFamily="34" charset="0"/>
                  <a:ea typeface="+mn-ea"/>
                  <a:cs typeface="Segoe UI Light" panose="020B0502040204020203" pitchFamily="34" charset="0"/>
                </a:rPr>
                <a:t>RESPOND</a:t>
              </a:r>
            </a:p>
          </p:txBody>
        </p:sp>
      </p:grpSp>
    </p:spTree>
    <p:extLst>
      <p:ext uri="{BB962C8B-B14F-4D97-AF65-F5344CB8AC3E}">
        <p14:creationId xmlns:p14="http://schemas.microsoft.com/office/powerpoint/2010/main" val="1279221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7"/>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97"/>
                                        </p:tgtEl>
                                        <p:attrNameLst>
                                          <p:attrName>style.visibility</p:attrName>
                                        </p:attrNameLst>
                                      </p:cBhvr>
                                      <p:to>
                                        <p:strVal val="hidden"/>
                                      </p:to>
                                    </p:set>
                                  </p:childTnLst>
                                </p:cTn>
                              </p:par>
                              <p:par>
                                <p:cTn id="9" presetID="64" presetClass="path" presetSubtype="0" accel="50000" decel="50000" fill="hold" grpId="0" nodeType="withEffect">
                                  <p:stCondLst>
                                    <p:cond delay="0"/>
                                  </p:stCondLst>
                                  <p:childTnLst>
                                    <p:animMotion origin="layout" path="M 3.75E-6 1.48148E-6 L 3.75E-6 -0.13565 " pathEditMode="relative" rAng="0" ptsTypes="AA">
                                      <p:cBhvr>
                                        <p:cTn id="10" dur="2000" fill="hold"/>
                                        <p:tgtEl>
                                          <p:spTgt spid="40"/>
                                        </p:tgtEl>
                                        <p:attrNameLst>
                                          <p:attrName>ppt_x</p:attrName>
                                          <p:attrName>ppt_y</p:attrName>
                                        </p:attrNameLst>
                                      </p:cBhvr>
                                      <p:rCtr x="0" y="-6782"/>
                                    </p:animMotion>
                                  </p:childTnLst>
                                </p:cTn>
                              </p:par>
                              <p:par>
                                <p:cTn id="11" presetID="42" presetClass="path" presetSubtype="0" accel="50000" decel="50000" fill="hold" grpId="0" nodeType="withEffect">
                                  <p:stCondLst>
                                    <p:cond delay="0"/>
                                  </p:stCondLst>
                                  <p:childTnLst>
                                    <p:animMotion origin="layout" path="M 3.75E-6 -3.7037E-7 L 3.75E-6 0.13564 " pathEditMode="relative" rAng="0" ptsTypes="AA">
                                      <p:cBhvr>
                                        <p:cTn id="12" dur="2000" fill="hold"/>
                                        <p:tgtEl>
                                          <p:spTgt spid="48"/>
                                        </p:tgtEl>
                                        <p:attrNameLst>
                                          <p:attrName>ppt_x</p:attrName>
                                          <p:attrName>ppt_y</p:attrName>
                                        </p:attrNameLst>
                                      </p:cBhvr>
                                      <p:rCtr x="0" y="6667"/>
                                    </p:animMotion>
                                  </p:childTnLst>
                                </p:cTn>
                              </p:par>
                              <p:par>
                                <p:cTn id="13" presetID="10"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300"/>
                                        <p:tgtEl>
                                          <p:spTgt spid="4"/>
                                        </p:tgtEl>
                                      </p:cBhvr>
                                    </p:animEffect>
                                  </p:childTnLst>
                                </p:cTn>
                              </p:par>
                              <p:par>
                                <p:cTn id="16" presetID="22" presetClass="exit" presetSubtype="1" fill="hold" grpId="0" nodeType="withEffect">
                                  <p:stCondLst>
                                    <p:cond delay="0"/>
                                  </p:stCondLst>
                                  <p:childTnLst>
                                    <p:animEffect transition="out" filter="wipe(up)">
                                      <p:cBhvr>
                                        <p:cTn id="17" dur="1250"/>
                                        <p:tgtEl>
                                          <p:spTgt spid="36"/>
                                        </p:tgtEl>
                                      </p:cBhvr>
                                    </p:animEffect>
                                    <p:set>
                                      <p:cBhvr>
                                        <p:cTn id="18" dur="1" fill="hold">
                                          <p:stCondLst>
                                            <p:cond delay="1249"/>
                                          </p:stCondLst>
                                        </p:cTn>
                                        <p:tgtEl>
                                          <p:spTgt spid="36"/>
                                        </p:tgtEl>
                                        <p:attrNameLst>
                                          <p:attrName>style.visibility</p:attrName>
                                        </p:attrNameLst>
                                      </p:cBhvr>
                                      <p:to>
                                        <p:strVal val="hidden"/>
                                      </p:to>
                                    </p:set>
                                  </p:childTnLst>
                                </p:cTn>
                              </p:par>
                              <p:par>
                                <p:cTn id="19" presetID="22" presetClass="entr" presetSubtype="4"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wipe(down)">
                                      <p:cBhvr>
                                        <p:cTn id="21" dur="1250"/>
                                        <p:tgtEl>
                                          <p:spTgt spid="13"/>
                                        </p:tgtEl>
                                      </p:cBhvr>
                                    </p:animEffect>
                                  </p:childTnLst>
                                </p:cTn>
                              </p:par>
                              <p:par>
                                <p:cTn id="22" presetID="10" presetClass="entr" presetSubtype="0" fill="hold" grpId="0" nodeType="withEffect">
                                  <p:stCondLst>
                                    <p:cond delay="140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75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40" grpId="0"/>
      <p:bldP spid="36" grpId="0" animBg="1"/>
      <p:bldP spid="48" grpId="0"/>
      <p:bldP spid="4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6aeq8wTG0mIJa6nsZ4E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wGwO3HDa0uzipzlDhBDTQ"/>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285f70a5-c70e-4792-acf6-99828bf5b28a&quot;,&quot;TimeStamp&quot;:&quot;2017-06-19T10:50:06.9622553-07:00&quot;}"/>
</p:tagLst>
</file>

<file path=ppt/theme/theme1.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91E98D4F-D377-1D4C-9F47-39EE5D97A4C5}" vid="{26B8182C-BC4A-544B-8313-35D84F553FAF}"/>
    </a:ext>
  </a:extLst>
</a:theme>
</file>

<file path=ppt/theme/theme10.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4.xml><?xml version="1.0" encoding="utf-8"?>
<a:theme xmlns:a="http://schemas.openxmlformats.org/drawingml/2006/main" name="1_Office Theme">
  <a:themeElements>
    <a:clrScheme name="Custom 2">
      <a:dk1>
        <a:srgbClr val="FFFFFF"/>
      </a:dk1>
      <a:lt1>
        <a:srgbClr val="FFFFFF"/>
      </a:lt1>
      <a:dk2>
        <a:srgbClr val="C4A6F0"/>
      </a:dk2>
      <a:lt2>
        <a:srgbClr val="E7E6E6"/>
      </a:lt2>
      <a:accent1>
        <a:srgbClr val="008AD1"/>
      </a:accent1>
      <a:accent2>
        <a:srgbClr val="D53F28"/>
      </a:accent2>
      <a:accent3>
        <a:srgbClr val="585858"/>
      </a:accent3>
      <a:accent4>
        <a:srgbClr val="FAA31B"/>
      </a:accent4>
      <a:accent5>
        <a:srgbClr val="7FBC41"/>
      </a:accent5>
      <a:accent6>
        <a:srgbClr val="007237"/>
      </a:accent6>
      <a:hlink>
        <a:srgbClr val="0563C1"/>
      </a:hlink>
      <a:folHlink>
        <a:srgbClr val="954F72"/>
      </a:folHlink>
    </a:clrScheme>
    <a:fontScheme name="THREE CATS">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6.xml><?xml version="1.0" encoding="utf-8"?>
<a:theme xmlns:a="http://schemas.openxmlformats.org/drawingml/2006/main" name="2_Office Theme">
  <a:themeElements>
    <a:clrScheme name="Custom 1">
      <a:dk1>
        <a:sysClr val="windowText" lastClr="000000"/>
      </a:dk1>
      <a:lt1>
        <a:sysClr val="window" lastClr="FFFFFF"/>
      </a:lt1>
      <a:dk2>
        <a:srgbClr val="44546A"/>
      </a:dk2>
      <a:lt2>
        <a:srgbClr val="E7E6E6"/>
      </a:lt2>
      <a:accent1>
        <a:srgbClr val="008AD1"/>
      </a:accent1>
      <a:accent2>
        <a:srgbClr val="D53F28"/>
      </a:accent2>
      <a:accent3>
        <a:srgbClr val="585858"/>
      </a:accent3>
      <a:accent4>
        <a:srgbClr val="FAA31B"/>
      </a:accent4>
      <a:accent5>
        <a:srgbClr val="7FBC41"/>
      </a:accent5>
      <a:accent6>
        <a:srgbClr val="007237"/>
      </a:accent6>
      <a:hlink>
        <a:srgbClr val="86D6FF"/>
      </a:hlink>
      <a:folHlink>
        <a:srgbClr val="954F72"/>
      </a:folHlink>
    </a:clrScheme>
    <a:fontScheme name="Microsoft Standard">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Microsoft Education">
      <a:dk1>
        <a:sysClr val="windowText" lastClr="000000"/>
      </a:dk1>
      <a:lt1>
        <a:sysClr val="window" lastClr="FFFFFF"/>
      </a:lt1>
      <a:dk2>
        <a:srgbClr val="44546A"/>
      </a:dk2>
      <a:lt2>
        <a:srgbClr val="E7E6E6"/>
      </a:lt2>
      <a:accent1>
        <a:srgbClr val="008AD1"/>
      </a:accent1>
      <a:accent2>
        <a:srgbClr val="D53F28"/>
      </a:accent2>
      <a:accent3>
        <a:srgbClr val="585858"/>
      </a:accent3>
      <a:accent4>
        <a:srgbClr val="FAA31B"/>
      </a:accent4>
      <a:accent5>
        <a:srgbClr val="7FBC41"/>
      </a:accent5>
      <a:accent6>
        <a:srgbClr val="007237"/>
      </a:accent6>
      <a:hlink>
        <a:srgbClr val="0563C1"/>
      </a:hlink>
      <a:folHlink>
        <a:srgbClr val="954F72"/>
      </a:folHlink>
    </a:clrScheme>
    <a:fontScheme name="MICROSOFT EDU">
      <a:majorFont>
        <a:latin typeface="Segoe UI"/>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Office Theme">
  <a:themeElements>
    <a:clrScheme name="Custom 1">
      <a:dk1>
        <a:sysClr val="windowText" lastClr="000000"/>
      </a:dk1>
      <a:lt1>
        <a:sysClr val="window" lastClr="FFFFFF"/>
      </a:lt1>
      <a:dk2>
        <a:srgbClr val="44546A"/>
      </a:dk2>
      <a:lt2>
        <a:srgbClr val="E7E6E6"/>
      </a:lt2>
      <a:accent1>
        <a:srgbClr val="008AD1"/>
      </a:accent1>
      <a:accent2>
        <a:srgbClr val="D53F28"/>
      </a:accent2>
      <a:accent3>
        <a:srgbClr val="585858"/>
      </a:accent3>
      <a:accent4>
        <a:srgbClr val="FAA31B"/>
      </a:accent4>
      <a:accent5>
        <a:srgbClr val="7FBC41"/>
      </a:accent5>
      <a:accent6>
        <a:srgbClr val="007237"/>
      </a:accent6>
      <a:hlink>
        <a:srgbClr val="86D6FF"/>
      </a:hlink>
      <a:folHlink>
        <a:srgbClr val="954F72"/>
      </a:folHlink>
    </a:clrScheme>
    <a:fontScheme name="Microsoft Standard">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White Template">
  <a:themeElements>
    <a:clrScheme name="Custom 9">
      <a:dk1>
        <a:srgbClr val="000000"/>
      </a:dk1>
      <a:lt1>
        <a:srgbClr val="FFFFFF"/>
      </a:lt1>
      <a:dk2>
        <a:srgbClr val="3B2E58"/>
      </a:dk2>
      <a:lt2>
        <a:srgbClr val="E6E6E6"/>
      </a:lt2>
      <a:accent1>
        <a:srgbClr val="8661C5"/>
      </a:accent1>
      <a:accent2>
        <a:srgbClr val="3B2E58"/>
      </a:accent2>
      <a:accent3>
        <a:srgbClr val="D59DFF"/>
      </a:accent3>
      <a:accent4>
        <a:srgbClr val="0078D4"/>
      </a:accent4>
      <a:accent5>
        <a:srgbClr val="243A5E"/>
      </a:accent5>
      <a:accent6>
        <a:srgbClr val="737373"/>
      </a:accent6>
      <a:hlink>
        <a:srgbClr val="0070C0"/>
      </a:hlink>
      <a:folHlink>
        <a:srgbClr val="87CB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7.potx" id="{B80AB629-CAA1-4337-885D-E45863E95C35}" vid="{5BDB2DC5-0E10-4801-9011-790B6DCE6DA0}"/>
    </a:ext>
  </a:extLst>
</a:theme>
</file>

<file path=ppt/theme/themeOverride1.xml><?xml version="1.0" encoding="utf-8"?>
<a:themeOverride xmlns:a="http://schemas.openxmlformats.org/drawingml/2006/main">
  <a:clrScheme name="Microsoft Education">
    <a:dk1>
      <a:sysClr val="windowText" lastClr="000000"/>
    </a:dk1>
    <a:lt1>
      <a:sysClr val="window" lastClr="FFFFFF"/>
    </a:lt1>
    <a:dk2>
      <a:srgbClr val="44546A"/>
    </a:dk2>
    <a:lt2>
      <a:srgbClr val="E7E6E6"/>
    </a:lt2>
    <a:accent1>
      <a:srgbClr val="008AD1"/>
    </a:accent1>
    <a:accent2>
      <a:srgbClr val="D53F28"/>
    </a:accent2>
    <a:accent3>
      <a:srgbClr val="585858"/>
    </a:accent3>
    <a:accent4>
      <a:srgbClr val="FAA31B"/>
    </a:accent4>
    <a:accent5>
      <a:srgbClr val="7FBC41"/>
    </a:accent5>
    <a:accent6>
      <a:srgbClr val="00723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3" ma:contentTypeDescription="Create a new document." ma:contentTypeScope="" ma:versionID="f0876370c90de824ab54c09b0bd2a056">
  <xsd:schema xmlns:xsd="http://www.w3.org/2001/XMLSchema" xmlns:xs="http://www.w3.org/2001/XMLSchema" xmlns:p="http://schemas.microsoft.com/office/2006/metadata/properties" xmlns:ns3="630a2e83-186a-4a0f-ab27-bee8a8096abc" targetNamespace="http://schemas.microsoft.com/office/2006/metadata/properties" ma:root="true" ma:fieldsID="a2a3b5ed8b4accd7c8a398d0cb075271" ns3:_="">
    <xsd:import namespace="630a2e83-186a-4a0f-ab27-bee8a8096abc"/>
    <xsd:element name="properties">
      <xsd:complexType>
        <xsd:sequence>
          <xsd:element name="documentManagement">
            <xsd:complexType>
              <xsd:all>
                <xsd:element ref="ns3:SharedWithUsers"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a2e83-186a-4a0f-ab27-bee8a8096ab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630a2e83-186a-4a0f-ab27-bee8a8096abc"/>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330841A-A209-44E7-824E-9DDB4DE0DC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a2e83-186a-4a0f-ab27-bee8a8096a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NTK2022-template</Template>
  <TotalTime>0</TotalTime>
  <Words>2563</Words>
  <Application>Microsoft Office PowerPoint</Application>
  <PresentationFormat>Widescreen</PresentationFormat>
  <Paragraphs>411</Paragraphs>
  <Slides>25</Slides>
  <Notes>18</Notes>
  <HiddenSlides>0</HiddenSlides>
  <MMClips>0</MMClips>
  <ScaleCrop>false</ScaleCrop>
  <HeadingPairs>
    <vt:vector size="6" baseType="variant">
      <vt:variant>
        <vt:lpstr>Fonts Used</vt:lpstr>
      </vt:variant>
      <vt:variant>
        <vt:i4>9</vt:i4>
      </vt:variant>
      <vt:variant>
        <vt:lpstr>Theme</vt:lpstr>
      </vt:variant>
      <vt:variant>
        <vt:i4>10</vt:i4>
      </vt:variant>
      <vt:variant>
        <vt:lpstr>Slide Titles</vt:lpstr>
      </vt:variant>
      <vt:variant>
        <vt:i4>25</vt:i4>
      </vt:variant>
    </vt:vector>
  </HeadingPairs>
  <TitlesOfParts>
    <vt:vector size="44" baseType="lpstr">
      <vt:lpstr>Arial</vt:lpstr>
      <vt:lpstr>Calibri</vt:lpstr>
      <vt:lpstr>Calibri Light</vt:lpstr>
      <vt:lpstr>Consolas</vt:lpstr>
      <vt:lpstr>Segoe UI</vt:lpstr>
      <vt:lpstr>Segoe UI Light</vt:lpstr>
      <vt:lpstr>Segoe UI Semibold</vt:lpstr>
      <vt:lpstr>Segoe UI Semilight</vt:lpstr>
      <vt:lpstr>Wingdings</vt:lpstr>
      <vt:lpstr>WHITE TEMPLATE</vt:lpstr>
      <vt:lpstr>Office Theme</vt:lpstr>
      <vt:lpstr>3_Office Theme</vt:lpstr>
      <vt:lpstr>1_Office Theme</vt:lpstr>
      <vt:lpstr>1_White Template</vt:lpstr>
      <vt:lpstr>2_Office Theme</vt:lpstr>
      <vt:lpstr>4_Office Theme</vt:lpstr>
      <vt:lpstr>5_Office Theme</vt:lpstr>
      <vt:lpstr>2_White Template</vt:lpstr>
      <vt:lpstr>6_Office Theme</vt:lpstr>
      <vt:lpstr>Trendovi i mogućnosti uz digitalnu transformaciju u edukaciji</vt:lpstr>
      <vt:lpstr>PowerPoint Presentation</vt:lpstr>
      <vt:lpstr>To learning continuity</vt:lpstr>
      <vt:lpstr>PowerPoint Presentation</vt:lpstr>
      <vt:lpstr>Learning loss = earning lo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eparing the class of 2030  The future of learning will be student centric: social, personalized and supported by technology.</vt:lpstr>
      <vt:lpstr>Microsoft has a clear technology roadmap for Education Policy Makers</vt:lpstr>
      <vt:lpstr>Microsoft Education Transformation Framework</vt:lpstr>
      <vt:lpstr>PowerPoint Presentation</vt:lpstr>
      <vt:lpstr>PowerPoint Presentation</vt:lpstr>
      <vt:lpstr>PowerPoint Presentation</vt:lpstr>
      <vt:lpstr>PowerPoint Presentation</vt:lpstr>
      <vt:lpstr>PowerPoint Presentation</vt:lpstr>
      <vt:lpstr>PowerPoint Presentation</vt:lpstr>
      <vt:lpstr>Najlepša Hvala!</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Event name&gt;</dc:subject>
  <dc:creator>Oliver Zofic</dc:creator>
  <cp:keywords/>
  <dc:description/>
  <cp:lastModifiedBy>Oliver Zofic</cp:lastModifiedBy>
  <cp:revision>1</cp:revision>
  <dcterms:created xsi:type="dcterms:W3CDTF">2022-09-25T06:32:28Z</dcterms:created>
  <dcterms:modified xsi:type="dcterms:W3CDTF">2022-10-26T08:5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Owner">
    <vt:lpwstr>maryfj@microsoft.com</vt:lpwstr>
  </property>
  <property fmtid="{D5CDD505-2E9C-101B-9397-08002B2CF9AE}" pid="15" name="MSIP_Label_f42aa342-8706-4288-bd11-ebb85995028c_SetDate">
    <vt:lpwstr>2017-08-29T14:27:20.8568347-07: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ies>
</file>